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s/slide2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.xml" ContentType="application/vnd.openxmlformats-officedocument.presentationml.slide+xml"/>
  <Override PartName="/ppt/slides/slide11.xml" ContentType="application/vnd.openxmlformats-officedocument.presentationml.slide+xml"/>
  <Override PartName="/ppt/slides/slide10.xml" ContentType="application/vnd.openxmlformats-officedocument.presentationml.slide+xml"/>
  <Override PartName="/ppt/slides/slide9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19.xml" ContentType="application/vnd.openxmlformats-officedocument.presentationml.slide+xml"/>
  <Override PartName="/ppt/slides/slide18.xml" ContentType="application/vnd.openxmlformats-officedocument.presentationml.slide+xml"/>
  <Override PartName="/ppt/slides/slide26.xml" ContentType="application/vnd.openxmlformats-officedocument.presentationml.slide+xml"/>
  <Override PartName="/ppt/slides/slide25.xml" ContentType="application/vnd.openxmlformats-officedocument.presentationml.slide+xml"/>
  <Override PartName="/ppt/slides/slide20.xml" ContentType="application/vnd.openxmlformats-officedocument.presentationml.slide+xml"/>
  <Override PartName="/ppt/slides/slide24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1.xml" ContentType="application/vnd.openxmlformats-officedocument.presentationml.slide+xml"/>
  <Override PartName="/ppt/notesSlides/notesSlide6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1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3.xml" ContentType="application/vnd.openxmlformats-officedocument.presentationml.notesSlide+xml"/>
  <Override PartName="/ppt/slideLayouts/slideLayout4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1.xml" ContentType="application/vnd.openxmlformats-officedocument.presentationml.notes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commentAuthors.xml" ContentType="application/vnd.openxmlformats-officedocument.presentationml.commentAuthors+xml"/>
  <Override PartName="/ppt/theme/themeOverride1.xml" ContentType="application/vnd.openxmlformats-officedocument.themeOverride+xml"/>
  <Override PartName="/ppt/charts/chart1.xml" ContentType="application/vnd.openxmlformats-officedocument.drawingml.chart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gs/tag1.xml" ContentType="application/vnd.openxmlformats-officedocument.presentationml.tags+xml"/>
  <Override PartName="/ppt/tags/tag11.xml" ContentType="application/vnd.openxmlformats-officedocument.presentationml.tags+xml"/>
  <Override PartName="/ppt/tags/tag5.xml" ContentType="application/vnd.openxmlformats-officedocument.presentationml.tags+xml"/>
  <Override PartName="/ppt/tags/tag3.xml" ContentType="application/vnd.openxmlformats-officedocument.presentationml.tags+xml"/>
  <Override PartName="/ppt/tags/tag10.xml" ContentType="application/vnd.openxmlformats-officedocument.presentationml.tags+xml"/>
  <Override PartName="/ppt/tags/tag9.xml" ContentType="application/vnd.openxmlformats-officedocument.presentationml.tags+xml"/>
  <Override PartName="/ppt/tags/tag8.xml" ContentType="application/vnd.openxmlformats-officedocument.presentationml.tags+xml"/>
  <Override PartName="/ppt/tags/tag7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6.xml" ContentType="application/vnd.openxmlformats-officedocument.presentationml.tags+xml"/>
  <Override PartName="/ppt/tags/tag4.xml" ContentType="application/vnd.openxmlformats-officedocument.presentationml.tags+xml"/>
  <Override PartName="/ppt/tags/tag2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660" r:id="rId1"/>
  </p:sldMasterIdLst>
  <p:notesMasterIdLst>
    <p:notesMasterId r:id="rId28"/>
  </p:notesMasterIdLst>
  <p:handoutMasterIdLst>
    <p:handoutMasterId r:id="rId29"/>
  </p:handoutMasterIdLst>
  <p:sldIdLst>
    <p:sldId id="485" r:id="rId2"/>
    <p:sldId id="328" r:id="rId3"/>
    <p:sldId id="497" r:id="rId4"/>
    <p:sldId id="477" r:id="rId5"/>
    <p:sldId id="487" r:id="rId6"/>
    <p:sldId id="488" r:id="rId7"/>
    <p:sldId id="498" r:id="rId8"/>
    <p:sldId id="506" r:id="rId9"/>
    <p:sldId id="509" r:id="rId10"/>
    <p:sldId id="503" r:id="rId11"/>
    <p:sldId id="502" r:id="rId12"/>
    <p:sldId id="501" r:id="rId13"/>
    <p:sldId id="500" r:id="rId14"/>
    <p:sldId id="499" r:id="rId15"/>
    <p:sldId id="507" r:id="rId16"/>
    <p:sldId id="516" r:id="rId17"/>
    <p:sldId id="517" r:id="rId18"/>
    <p:sldId id="511" r:id="rId19"/>
    <p:sldId id="519" r:id="rId20"/>
    <p:sldId id="521" r:id="rId21"/>
    <p:sldId id="512" r:id="rId22"/>
    <p:sldId id="513" r:id="rId23"/>
    <p:sldId id="514" r:id="rId24"/>
    <p:sldId id="508" r:id="rId25"/>
    <p:sldId id="515" r:id="rId26"/>
    <p:sldId id="489" r:id="rId27"/>
  </p:sldIdLst>
  <p:sldSz cx="9144000" cy="6858000" type="screen4x3"/>
  <p:notesSz cx="6735763" cy="9866313"/>
  <p:embeddedFontLst>
    <p:embeddedFont>
      <p:font typeface="ＭＳ Ｐゴシック" panose="020B0600070205080204" pitchFamily="34" charset="-128"/>
      <p:regular r:id="rId30"/>
    </p:embeddedFont>
    <p:embeddedFont>
      <p:font typeface="Calibri" panose="020F0502020204030204" pitchFamily="34" charset="0"/>
      <p:regular r:id="rId31"/>
      <p:bold r:id="rId32"/>
      <p:italic r:id="rId33"/>
      <p:boldItalic r:id="rId34"/>
    </p:embeddedFont>
    <p:embeddedFont>
      <p:font typeface="Arial Narrow" panose="020B0606020202030204" pitchFamily="34" charset="0"/>
      <p:regular r:id="rId35"/>
      <p:bold r:id="rId36"/>
      <p:italic r:id="rId37"/>
      <p:boldItalic r:id="rId38"/>
    </p:embeddedFont>
  </p:embeddedFontLst>
  <p:custDataLst>
    <p:tags r:id="rId39"/>
  </p:custDataLst>
  <p:defaultTextStyle>
    <a:defPPr>
      <a:defRPr lang="tr-T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 " initials="MSOffice" lastIdx="3" clrIdx="0"/>
  <p:cmAuthor id="1" name="Katrin Eckmans" initials="KE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EAEA"/>
    <a:srgbClr val="152A45"/>
    <a:srgbClr val="00529C"/>
    <a:srgbClr val="CC3300"/>
    <a:srgbClr val="068EC8"/>
    <a:srgbClr val="182A47"/>
    <a:srgbClr val="C00000"/>
    <a:srgbClr val="BCBDC0"/>
    <a:srgbClr val="7DA9DF"/>
    <a:srgbClr val="558ED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8FD4443E-F989-4FC4-A0C8-D5A2AF1F390B}" styleName="Dark Style 1 - Acc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385" autoAdjust="0"/>
    <p:restoredTop sz="94764" autoAdjust="0"/>
  </p:normalViewPr>
  <p:slideViewPr>
    <p:cSldViewPr snapToObjects="1">
      <p:cViewPr>
        <p:scale>
          <a:sx n="70" d="100"/>
          <a:sy n="70" d="100"/>
        </p:scale>
        <p:origin x="-516" y="-78"/>
      </p:cViewPr>
      <p:guideLst>
        <p:guide orient="horz" pos="709"/>
        <p:guide orient="horz" pos="3929"/>
        <p:guide orient="horz" pos="799"/>
        <p:guide orient="horz" pos="1147"/>
        <p:guide orient="horz" pos="3702"/>
        <p:guide pos="5602"/>
        <p:guide pos="158"/>
        <p:guide pos="183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30" d="100"/>
        <a:sy n="130" d="100"/>
      </p:scale>
      <p:origin x="0" y="9684"/>
    </p:cViewPr>
  </p:sorterViewPr>
  <p:notesViewPr>
    <p:cSldViewPr snapToObjects="1">
      <p:cViewPr varScale="1">
        <p:scale>
          <a:sx n="73" d="100"/>
          <a:sy n="73" d="100"/>
        </p:scale>
        <p:origin x="-3330" y="-120"/>
      </p:cViewPr>
      <p:guideLst>
        <p:guide orient="horz" pos="3108"/>
        <p:guide pos="212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gs" Target="tags/tag1.xml"/><Relationship Id="rId21" Type="http://schemas.openxmlformats.org/officeDocument/2006/relationships/slide" Target="slides/slide20.xml"/><Relationship Id="rId34" Type="http://schemas.openxmlformats.org/officeDocument/2006/relationships/font" Target="fonts/font5.fntdata"/><Relationship Id="rId42" Type="http://schemas.openxmlformats.org/officeDocument/2006/relationships/viewProps" Target="viewProps.xml"/><Relationship Id="rId47" Type="http://schemas.openxmlformats.org/officeDocument/2006/relationships/customXml" Target="../customXml/item3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3.fntdata"/><Relationship Id="rId37" Type="http://schemas.openxmlformats.org/officeDocument/2006/relationships/font" Target="fonts/font8.fntdata"/><Relationship Id="rId40" Type="http://schemas.openxmlformats.org/officeDocument/2006/relationships/commentAuthors" Target="commentAuthors.xml"/><Relationship Id="rId45" Type="http://schemas.openxmlformats.org/officeDocument/2006/relationships/customXml" Target="../customXml/item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36" Type="http://schemas.openxmlformats.org/officeDocument/2006/relationships/font" Target="fonts/font7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2.fntdata"/><Relationship Id="rId4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font" Target="fonts/font1.fntdata"/><Relationship Id="rId35" Type="http://schemas.openxmlformats.org/officeDocument/2006/relationships/font" Target="fonts/font6.fntdata"/><Relationship Id="rId43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font" Target="fonts/font4.fntdata"/><Relationship Id="rId38" Type="http://schemas.openxmlformats.org/officeDocument/2006/relationships/font" Target="fonts/font9.fntdata"/><Relationship Id="rId46" Type="http://schemas.openxmlformats.org/officeDocument/2006/relationships/customXml" Target="../customXml/item2.xml"/><Relationship Id="rId20" Type="http://schemas.openxmlformats.org/officeDocument/2006/relationships/slide" Target="slides/slide19.xml"/><Relationship Id="rId41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C:\Yucel\G&#252;nl&#252;k%20&#199;al&#305;&#351;malar\Havac&#305;l&#305;k%20Paz\AYT%20Trend.xlsx" TargetMode="External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tr-T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areaChart>
        <c:grouping val="standard"/>
        <c:varyColors val="0"/>
        <c:ser>
          <c:idx val="0"/>
          <c:order val="0"/>
          <c:tx>
            <c:strRef>
              <c:f>'AYT Trend'!$A$5</c:f>
              <c:strCache>
                <c:ptCount val="1"/>
                <c:pt idx="0">
                  <c:v>Domestic + Int.</c:v>
                </c:pt>
              </c:strCache>
            </c:strRef>
          </c:tx>
          <c:spPr>
            <a:solidFill>
              <a:srgbClr val="1F497D">
                <a:lumMod val="40000"/>
                <a:lumOff val="60000"/>
              </a:srgbClr>
            </a:solidFill>
          </c:spPr>
          <c:cat>
            <c:numRef>
              <c:f>'AYT Trend'!$B$2:$AA$2</c:f>
              <c:numCache>
                <c:formatCode>General</c:formatCode>
                <c:ptCount val="26"/>
                <c:pt idx="0">
                  <c:v>1999</c:v>
                </c:pt>
                <c:pt idx="1">
                  <c:v>2000</c:v>
                </c:pt>
                <c:pt idx="2">
                  <c:v>2001</c:v>
                </c:pt>
                <c:pt idx="3">
                  <c:v>2002</c:v>
                </c:pt>
                <c:pt idx="4">
                  <c:v>2003</c:v>
                </c:pt>
                <c:pt idx="5">
                  <c:v>2004</c:v>
                </c:pt>
                <c:pt idx="6">
                  <c:v>2005</c:v>
                </c:pt>
                <c:pt idx="7">
                  <c:v>2006</c:v>
                </c:pt>
                <c:pt idx="8">
                  <c:v>2007</c:v>
                </c:pt>
                <c:pt idx="9">
                  <c:v>2008</c:v>
                </c:pt>
                <c:pt idx="10">
                  <c:v>2009</c:v>
                </c:pt>
                <c:pt idx="11">
                  <c:v>2010</c:v>
                </c:pt>
                <c:pt idx="12">
                  <c:v>2011</c:v>
                </c:pt>
                <c:pt idx="13">
                  <c:v>2012</c:v>
                </c:pt>
                <c:pt idx="14">
                  <c:v>2013</c:v>
                </c:pt>
                <c:pt idx="15">
                  <c:v>2014</c:v>
                </c:pt>
                <c:pt idx="16">
                  <c:v>2015</c:v>
                </c:pt>
                <c:pt idx="17">
                  <c:v>2016</c:v>
                </c:pt>
                <c:pt idx="18">
                  <c:v>2017</c:v>
                </c:pt>
                <c:pt idx="19">
                  <c:v>2018</c:v>
                </c:pt>
                <c:pt idx="20">
                  <c:v>2019</c:v>
                </c:pt>
                <c:pt idx="21">
                  <c:v>2020</c:v>
                </c:pt>
                <c:pt idx="22">
                  <c:v>2021</c:v>
                </c:pt>
                <c:pt idx="23">
                  <c:v>2022</c:v>
                </c:pt>
                <c:pt idx="24">
                  <c:v>2023</c:v>
                </c:pt>
                <c:pt idx="25">
                  <c:v>2024</c:v>
                </c:pt>
              </c:numCache>
            </c:numRef>
          </c:cat>
          <c:val>
            <c:numRef>
              <c:f>'AYT Trend'!$B$5:$AA$5</c:f>
              <c:numCache>
                <c:formatCode>#,##0.00</c:formatCode>
                <c:ptCount val="26"/>
                <c:pt idx="0">
                  <c:v>4.8569620000000002</c:v>
                </c:pt>
                <c:pt idx="1">
                  <c:v>7.4566520000000018</c:v>
                </c:pt>
                <c:pt idx="2">
                  <c:v>9.1704690000000006</c:v>
                </c:pt>
                <c:pt idx="3">
                  <c:v>10.334951</c:v>
                </c:pt>
                <c:pt idx="4">
                  <c:v>10.371600000000004</c:v>
                </c:pt>
                <c:pt idx="5">
                  <c:v>13.656053</c:v>
                </c:pt>
                <c:pt idx="6">
                  <c:v>15.864893</c:v>
                </c:pt>
                <c:pt idx="7">
                  <c:v>14.642043000000001</c:v>
                </c:pt>
                <c:pt idx="8">
                  <c:v>17.710384999999999</c:v>
                </c:pt>
                <c:pt idx="9">
                  <c:v>18.789256999999992</c:v>
                </c:pt>
                <c:pt idx="10">
                  <c:v>18.34569299999999</c:v>
                </c:pt>
                <c:pt idx="11">
                  <c:v>22.1</c:v>
                </c:pt>
                <c:pt idx="12">
                  <c:v>25.020000000000003</c:v>
                </c:pt>
                <c:pt idx="13">
                  <c:v>25.09</c:v>
                </c:pt>
                <c:pt idx="14">
                  <c:v>27.009999999999991</c:v>
                </c:pt>
                <c:pt idx="15">
                  <c:v>28</c:v>
                </c:pt>
                <c:pt idx="16">
                  <c:v>29.419999999999995</c:v>
                </c:pt>
                <c:pt idx="17">
                  <c:v>30.75</c:v>
                </c:pt>
                <c:pt idx="18">
                  <c:v>32.14</c:v>
                </c:pt>
                <c:pt idx="19">
                  <c:v>33.520000000000003</c:v>
                </c:pt>
                <c:pt idx="20">
                  <c:v>34.9</c:v>
                </c:pt>
                <c:pt idx="21">
                  <c:v>36.14</c:v>
                </c:pt>
                <c:pt idx="22">
                  <c:v>37.42</c:v>
                </c:pt>
                <c:pt idx="23">
                  <c:v>38.75</c:v>
                </c:pt>
                <c:pt idx="24">
                  <c:v>40.11</c:v>
                </c:pt>
                <c:pt idx="25">
                  <c:v>41.47000000000000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9831680"/>
        <c:axId val="32800064"/>
      </c:areaChart>
      <c:catAx>
        <c:axId val="1098316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 b="1">
                <a:latin typeface="Arial" pitchFamily="34" charset="0"/>
                <a:cs typeface="Arial" pitchFamily="34" charset="0"/>
              </a:defRPr>
            </a:pPr>
            <a:endParaRPr lang="tr-TR"/>
          </a:p>
        </c:txPr>
        <c:crossAx val="32800064"/>
        <c:crosses val="autoZero"/>
        <c:auto val="1"/>
        <c:lblAlgn val="ctr"/>
        <c:lblOffset val="100"/>
        <c:tickLblSkip val="3"/>
        <c:noMultiLvlLbl val="0"/>
      </c:catAx>
      <c:valAx>
        <c:axId val="32800064"/>
        <c:scaling>
          <c:orientation val="minMax"/>
        </c:scaling>
        <c:delete val="0"/>
        <c:axPos val="l"/>
        <c:majorGridlines>
          <c:spPr>
            <a:ln>
              <a:prstDash val="dash"/>
            </a:ln>
          </c:spPr>
        </c:majorGridlines>
        <c:numFmt formatCode="#,##0" sourceLinked="0"/>
        <c:majorTickMark val="out"/>
        <c:minorTickMark val="none"/>
        <c:tickLblPos val="nextTo"/>
        <c:txPr>
          <a:bodyPr/>
          <a:lstStyle/>
          <a:p>
            <a:pPr>
              <a:defRPr b="1">
                <a:latin typeface="Arial" pitchFamily="34" charset="0"/>
                <a:cs typeface="Arial" pitchFamily="34" charset="0"/>
              </a:defRPr>
            </a:pPr>
            <a:endParaRPr lang="tr-TR"/>
          </a:p>
        </c:txPr>
        <c:crossAx val="109831680"/>
        <c:crosses val="autoZero"/>
        <c:crossBetween val="midCat"/>
      </c:valAx>
      <c:spPr>
        <a:noFill/>
      </c:spPr>
    </c:plotArea>
    <c:plotVisOnly val="1"/>
    <c:dispBlanksAs val="gap"/>
    <c:showDLblsOverMax val="0"/>
  </c:chart>
  <c:spPr>
    <a:noFill/>
    <a:ln>
      <a:noFill/>
    </a:ln>
  </c:sp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19413" cy="493713"/>
          </a:xfrm>
          <a:prstGeom prst="rect">
            <a:avLst/>
          </a:prstGeom>
        </p:spPr>
        <p:txBody>
          <a:bodyPr vert="horz" lIns="91411" tIns="45705" rIns="91411" bIns="45705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tr-TR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14763" y="1"/>
            <a:ext cx="2919412" cy="493713"/>
          </a:xfrm>
          <a:prstGeom prst="rect">
            <a:avLst/>
          </a:prstGeom>
        </p:spPr>
        <p:txBody>
          <a:bodyPr vert="horz" lIns="91411" tIns="45705" rIns="91411" bIns="45705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B8DAE42E-AFAC-4C84-88BA-14F6AC6C9716}" type="datetimeFigureOut">
              <a:rPr lang="tr-TR"/>
              <a:pPr>
                <a:defRPr/>
              </a:pPr>
              <a:t>16.10.2015</a:t>
            </a:fld>
            <a:endParaRPr lang="tr-TR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371013"/>
            <a:ext cx="2919413" cy="493712"/>
          </a:xfrm>
          <a:prstGeom prst="rect">
            <a:avLst/>
          </a:prstGeom>
        </p:spPr>
        <p:txBody>
          <a:bodyPr vert="horz" lIns="91411" tIns="45705" rIns="91411" bIns="45705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tr-T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14763" y="9371013"/>
            <a:ext cx="2919412" cy="493712"/>
          </a:xfrm>
          <a:prstGeom prst="rect">
            <a:avLst/>
          </a:prstGeom>
        </p:spPr>
        <p:txBody>
          <a:bodyPr vert="horz" lIns="91411" tIns="45705" rIns="91411" bIns="45705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AB8D127-508F-4D86-B969-46FAE5F15C06}" type="slidenum">
              <a:rPr lang="tr-TR"/>
              <a:pPr>
                <a:defRPr/>
              </a:pPr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4244131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19413" cy="493713"/>
          </a:xfrm>
          <a:prstGeom prst="rect">
            <a:avLst/>
          </a:prstGeom>
        </p:spPr>
        <p:txBody>
          <a:bodyPr vert="horz" lIns="91411" tIns="45705" rIns="91411" bIns="45705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tr-T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4763" y="1"/>
            <a:ext cx="2919412" cy="493713"/>
          </a:xfrm>
          <a:prstGeom prst="rect">
            <a:avLst/>
          </a:prstGeom>
        </p:spPr>
        <p:txBody>
          <a:bodyPr vert="horz" lIns="91411" tIns="45705" rIns="91411" bIns="45705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EA5F77E3-C691-490F-BB3C-456311F7E3A4}" type="datetimeFigureOut">
              <a:rPr lang="tr-TR"/>
              <a:pPr>
                <a:defRPr/>
              </a:pPr>
              <a:t>16.10.2015</a:t>
            </a:fld>
            <a:endParaRPr lang="tr-TR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1700" y="739775"/>
            <a:ext cx="493236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11" tIns="45705" rIns="91411" bIns="45705" rtlCol="0" anchor="ctr"/>
          <a:lstStyle/>
          <a:p>
            <a:pPr lvl="0"/>
            <a:endParaRPr lang="tr-TR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3101" y="4686300"/>
            <a:ext cx="5389563" cy="4440238"/>
          </a:xfrm>
          <a:prstGeom prst="rect">
            <a:avLst/>
          </a:prstGeom>
        </p:spPr>
        <p:txBody>
          <a:bodyPr vert="horz" lIns="91411" tIns="45705" rIns="91411" bIns="45705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tr-TR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371013"/>
            <a:ext cx="2919413" cy="493712"/>
          </a:xfrm>
          <a:prstGeom prst="rect">
            <a:avLst/>
          </a:prstGeom>
        </p:spPr>
        <p:txBody>
          <a:bodyPr vert="horz" lIns="91411" tIns="45705" rIns="91411" bIns="45705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tr-T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4763" y="9371013"/>
            <a:ext cx="2919412" cy="493712"/>
          </a:xfrm>
          <a:prstGeom prst="rect">
            <a:avLst/>
          </a:prstGeom>
        </p:spPr>
        <p:txBody>
          <a:bodyPr vert="horz" lIns="91411" tIns="45705" rIns="91411" bIns="45705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E441A20A-BE3A-42B7-89D3-B857564036A2}" type="slidenum">
              <a:rPr lang="tr-TR"/>
              <a:pPr>
                <a:defRPr/>
              </a:pPr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306931106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386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 smtClean="0"/>
          </a:p>
        </p:txBody>
      </p:sp>
      <p:sp>
        <p:nvSpPr>
          <p:cNvPr id="16387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11BFB7C-A756-4467-ABC3-5DF04C1CDE6D}" type="slidenum">
              <a:rPr lang="tr-TR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tr-TR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3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4034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 smtClean="0"/>
          </a:p>
        </p:txBody>
      </p:sp>
      <p:sp>
        <p:nvSpPr>
          <p:cNvPr id="33795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F5B5FAB-AF4D-4DF4-A985-987DA842E49E}" type="slidenum">
              <a:rPr lang="tr-TR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2</a:t>
            </a:fld>
            <a:endParaRPr lang="tr-TR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1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0962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 smtClean="0"/>
          </a:p>
        </p:txBody>
      </p:sp>
      <p:sp>
        <p:nvSpPr>
          <p:cNvPr id="40963" name="Slide Number Placeholder 3"/>
          <p:cNvSpPr txBox="1">
            <a:spLocks noGrp="1"/>
          </p:cNvSpPr>
          <p:nvPr/>
        </p:nvSpPr>
        <p:spPr bwMode="auto">
          <a:xfrm>
            <a:off x="3814763" y="9371013"/>
            <a:ext cx="2919412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1" tIns="45705" rIns="91411" bIns="45705" anchor="b"/>
          <a:lstStyle/>
          <a:p>
            <a:pPr algn="r"/>
            <a:fld id="{DF0F991C-A047-4DF2-9AE4-5AA9D5B10B61}" type="slidenum">
              <a:rPr lang="tr-TR" sz="1200">
                <a:latin typeface="Calibri" pitchFamily="34" charset="0"/>
              </a:rPr>
              <a:pPr algn="r"/>
              <a:t>13</a:t>
            </a:fld>
            <a:endParaRPr lang="tr-TR" sz="120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3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4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 smtClean="0"/>
          </a:p>
        </p:txBody>
      </p:sp>
      <p:sp>
        <p:nvSpPr>
          <p:cNvPr id="28675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3D494D9-B712-4326-8BAA-D7EBA78006E0}" type="slidenum">
              <a:rPr lang="tr-TR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4</a:t>
            </a:fld>
            <a:endParaRPr lang="tr-TR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 smtClean="0"/>
          </a:p>
        </p:txBody>
      </p:sp>
      <p:sp>
        <p:nvSpPr>
          <p:cNvPr id="18435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65126C0-23BE-4942-94EF-2A48F2B15AF2}" type="slidenum">
              <a:rPr lang="tr-TR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5</a:t>
            </a:fld>
            <a:endParaRPr lang="tr-TR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 smtClean="0"/>
          </a:p>
        </p:txBody>
      </p:sp>
      <p:sp>
        <p:nvSpPr>
          <p:cNvPr id="18435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65126C0-23BE-4942-94EF-2A48F2B15AF2}" type="slidenum">
              <a:rPr lang="tr-TR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4</a:t>
            </a:fld>
            <a:endParaRPr lang="tr-TR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849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6850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 smtClean="0"/>
          </a:p>
        </p:txBody>
      </p:sp>
      <p:sp>
        <p:nvSpPr>
          <p:cNvPr id="88067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55E0131-313B-4387-99B6-5CCD9E652F8F}" type="slidenum">
              <a:rPr lang="tr-TR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6</a:t>
            </a:fld>
            <a:endParaRPr lang="tr-TR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 smtClean="0"/>
          </a:p>
        </p:txBody>
      </p:sp>
      <p:sp>
        <p:nvSpPr>
          <p:cNvPr id="18435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65126C0-23BE-4942-94EF-2A48F2B15AF2}" type="slidenum">
              <a:rPr lang="tr-TR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tr-TR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482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 smtClean="0"/>
          </a:p>
        </p:txBody>
      </p:sp>
      <p:sp>
        <p:nvSpPr>
          <p:cNvPr id="20483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1748C83-8A89-4DDF-929C-F8B938AF3130}" type="slidenum">
              <a:rPr lang="tr-TR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tr-TR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2530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 smtClean="0"/>
          </a:p>
        </p:txBody>
      </p:sp>
      <p:sp>
        <p:nvSpPr>
          <p:cNvPr id="24579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A2B3C41-8E3A-472C-9CFB-071BF79752F0}" type="slidenum">
              <a:rPr lang="tr-TR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tr-TR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6626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 smtClean="0"/>
          </a:p>
        </p:txBody>
      </p:sp>
      <p:sp>
        <p:nvSpPr>
          <p:cNvPr id="26627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80F46A3-D42A-4EFF-B10C-0EF3CCED1636}" type="slidenum">
              <a:rPr lang="tr-TR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6</a:t>
            </a:fld>
            <a:endParaRPr lang="tr-TR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 smtClean="0"/>
          </a:p>
        </p:txBody>
      </p:sp>
      <p:sp>
        <p:nvSpPr>
          <p:cNvPr id="18435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65126C0-23BE-4942-94EF-2A48F2B15AF2}" type="slidenum">
              <a:rPr lang="tr-TR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lang="tr-TR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3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4274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 smtClean="0"/>
          </a:p>
        </p:txBody>
      </p:sp>
      <p:sp>
        <p:nvSpPr>
          <p:cNvPr id="48131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46EC1AC-7B4A-48B8-8296-6479F2CC6A70}" type="slidenum">
              <a:rPr lang="tr-TR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tr-TR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29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8130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 smtClean="0"/>
          </a:p>
        </p:txBody>
      </p:sp>
      <p:sp>
        <p:nvSpPr>
          <p:cNvPr id="37891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B1A59BE-AE0C-4F71-B6EB-522A1B35261C}" type="slidenum">
              <a:rPr lang="tr-TR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0</a:t>
            </a:fld>
            <a:endParaRPr lang="tr-TR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29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8130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 smtClean="0"/>
          </a:p>
        </p:txBody>
      </p:sp>
      <p:sp>
        <p:nvSpPr>
          <p:cNvPr id="37891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B1A59BE-AE0C-4F71-B6EB-522A1B35261C}" type="slidenum">
              <a:rPr lang="tr-TR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1</a:t>
            </a:fld>
            <a:endParaRPr lang="tr-TR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2704" y="6381328"/>
            <a:ext cx="1905000" cy="457200"/>
          </a:xfrm>
          <a:ln/>
        </p:spPr>
        <p:txBody>
          <a:bodyPr/>
          <a:lstStyle>
            <a:lvl1pPr algn="l">
              <a:defRPr sz="1200">
                <a:latin typeface="Arial Narrow" pitchFamily="34" charset="0"/>
              </a:defRPr>
            </a:lvl1pPr>
          </a:lstStyle>
          <a:p>
            <a:pPr>
              <a:defRPr/>
            </a:pPr>
            <a:fld id="{4A691ECD-3C5D-4903-BA94-648BA1B5202F}" type="slidenum">
              <a:rPr lang="tr-TR" smtClean="0"/>
              <a:pPr>
                <a:defRPr/>
              </a:pPr>
              <a:t>‹#›</a:t>
            </a:fld>
            <a:endParaRPr lang="tr-TR" dirty="0"/>
          </a:p>
        </p:txBody>
      </p:sp>
      <p:sp>
        <p:nvSpPr>
          <p:cNvPr id="6" name="Title Placeholder 7"/>
          <p:cNvSpPr>
            <a:spLocks noGrp="1"/>
          </p:cNvSpPr>
          <p:nvPr>
            <p:ph type="title"/>
          </p:nvPr>
        </p:nvSpPr>
        <p:spPr>
          <a:xfrm>
            <a:off x="5004048" y="28159"/>
            <a:ext cx="4114800" cy="848141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>
            <a:lvl1pPr algn="r">
              <a:defRPr b="1">
                <a:latin typeface="Arial Narrow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tr-T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2704" y="6381328"/>
            <a:ext cx="1905000" cy="457200"/>
          </a:xfrm>
          <a:ln/>
        </p:spPr>
        <p:txBody>
          <a:bodyPr/>
          <a:lstStyle>
            <a:lvl1pPr algn="l">
              <a:defRPr>
                <a:latin typeface="Arial Narrow" pitchFamily="34" charset="0"/>
              </a:defRPr>
            </a:lvl1pPr>
          </a:lstStyle>
          <a:p>
            <a:pPr>
              <a:defRPr/>
            </a:pPr>
            <a:fld id="{4A691ECD-3C5D-4903-BA94-648BA1B5202F}" type="slidenum">
              <a:rPr lang="tr-TR" smtClean="0"/>
              <a:pPr>
                <a:defRPr/>
              </a:pPr>
              <a:t>‹#›</a:t>
            </a:fld>
            <a:endParaRPr lang="tr-TR" dirty="0"/>
          </a:p>
        </p:txBody>
      </p:sp>
      <p:sp>
        <p:nvSpPr>
          <p:cNvPr id="3" name="Title Placeholder 7"/>
          <p:cNvSpPr>
            <a:spLocks noGrp="1"/>
          </p:cNvSpPr>
          <p:nvPr>
            <p:ph type="title"/>
          </p:nvPr>
        </p:nvSpPr>
        <p:spPr>
          <a:xfrm>
            <a:off x="5004048" y="-53262"/>
            <a:ext cx="4114800" cy="92631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>
            <a:lvl1pPr>
              <a:defRPr lang="tr-TR" dirty="0"/>
            </a:lvl1pPr>
          </a:lstStyle>
          <a:p>
            <a:pPr lvl="0" algn="r"/>
            <a:r>
              <a:rPr lang="en-US" dirty="0" smtClean="0"/>
              <a:t>Click to edit Master title style</a:t>
            </a:r>
            <a:endParaRPr lang="tr-T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981200"/>
            <a:ext cx="7772400" cy="411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835F280-2ACC-4569-8756-7212BA1E3BA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72817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7"/>
          <p:cNvSpPr>
            <a:spLocks noGrp="1"/>
          </p:cNvSpPr>
          <p:nvPr>
            <p:ph type="title"/>
          </p:nvPr>
        </p:nvSpPr>
        <p:spPr>
          <a:xfrm>
            <a:off x="5004048" y="28159"/>
            <a:ext cx="4114800" cy="848141"/>
          </a:xfrm>
          <a:prstGeom prst="rect">
            <a:avLst/>
          </a:prstGeom>
        </p:spPr>
        <p:txBody>
          <a:bodyPr rtlCol="0" anchor="b">
            <a:normAutofit/>
          </a:bodyPr>
          <a:lstStyle>
            <a:lvl1pPr algn="r">
              <a:defRPr b="1">
                <a:latin typeface="Arial Narrow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tr-TR" dirty="0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3175" y="6381750"/>
            <a:ext cx="1905000" cy="457200"/>
          </a:xfrm>
        </p:spPr>
        <p:txBody>
          <a:bodyPr/>
          <a:lstStyle>
            <a:lvl1pPr algn="l">
              <a:defRPr sz="1200">
                <a:latin typeface="Arial Narrow" pitchFamily="34" charset="0"/>
              </a:defRPr>
            </a:lvl1pPr>
          </a:lstStyle>
          <a:p>
            <a:pPr>
              <a:defRPr/>
            </a:pPr>
            <a:fld id="{BFAB57CC-EDFD-413A-A50E-5FC18EDE93FA}" type="slidenum">
              <a:rPr lang="tr-TR"/>
              <a:pPr>
                <a:defRPr/>
              </a:pPr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34465612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3.png"/><Relationship Id="rId5" Type="http://schemas.openxmlformats.org/officeDocument/2006/relationships/theme" Target="../theme/theme1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7F7F7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5264492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107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47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901100"/>
            <a:ext cx="9143999" cy="5552236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835992"/>
            <a:ext cx="9144000" cy="5617344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4" name="Rectangle 3"/>
          <p:cNvSpPr/>
          <p:nvPr userDrawn="1"/>
        </p:nvSpPr>
        <p:spPr>
          <a:xfrm>
            <a:off x="0" y="-8626"/>
            <a:ext cx="9144000" cy="931652"/>
          </a:xfrm>
          <a:prstGeom prst="rect">
            <a:avLst/>
          </a:prstGeom>
          <a:solidFill>
            <a:srgbClr val="152A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9870" y="43904"/>
            <a:ext cx="2510286" cy="792088"/>
          </a:xfrm>
          <a:prstGeom prst="rect">
            <a:avLst/>
          </a:prstGeom>
          <a:solidFill>
            <a:schemeClr val="tx2">
              <a:lumMod val="50000"/>
            </a:schemeClr>
          </a:solidFill>
          <a:ln w="9525">
            <a:noFill/>
            <a:miter lim="800000"/>
            <a:headEnd/>
            <a:tailEnd/>
          </a:ln>
        </p:spPr>
      </p:pic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5004048" y="-53262"/>
            <a:ext cx="4114800" cy="926319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pPr lvl="0" algn="r"/>
            <a:r>
              <a:rPr lang="en-US" dirty="0" smtClean="0"/>
              <a:t>Click to edit Master title </a:t>
            </a:r>
            <a:r>
              <a:rPr lang="tr-TR" dirty="0" smtClean="0"/>
              <a:t>s</a:t>
            </a:r>
            <a:r>
              <a:rPr lang="en-US" dirty="0" err="1" smtClean="0"/>
              <a:t>tyle</a:t>
            </a:r>
            <a:endParaRPr lang="tr-TR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0" y="6381328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b="1" i="0" baseline="0"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pPr>
              <a:defRPr/>
            </a:pPr>
            <a:fld id="{66DE7819-7D19-48D3-BF5A-1C99FBAD6A9E}" type="slidenum">
              <a:rPr lang="tr-TR" smtClean="0"/>
              <a:pPr>
                <a:defRPr/>
              </a:pPr>
              <a:t>‹#›</a:t>
            </a:fld>
            <a:endParaRPr lang="tr-TR" dirty="0"/>
          </a:p>
        </p:txBody>
      </p:sp>
      <p:grpSp>
        <p:nvGrpSpPr>
          <p:cNvPr id="22" name="Group 21"/>
          <p:cNvGrpSpPr/>
          <p:nvPr userDrawn="1"/>
        </p:nvGrpSpPr>
        <p:grpSpPr>
          <a:xfrm>
            <a:off x="6958106" y="6379319"/>
            <a:ext cx="2131348" cy="470953"/>
            <a:chOff x="6464474" y="6387046"/>
            <a:chExt cx="2131348" cy="470953"/>
          </a:xfrm>
        </p:grpSpPr>
        <p:grpSp>
          <p:nvGrpSpPr>
            <p:cNvPr id="23" name="Group 22"/>
            <p:cNvGrpSpPr/>
            <p:nvPr userDrawn="1"/>
          </p:nvGrpSpPr>
          <p:grpSpPr>
            <a:xfrm>
              <a:off x="6464474" y="6387046"/>
              <a:ext cx="1046920" cy="470953"/>
              <a:chOff x="631825" y="2185988"/>
              <a:chExt cx="3101975" cy="1395412"/>
            </a:xfrm>
          </p:grpSpPr>
          <p:sp>
            <p:nvSpPr>
              <p:cNvPr id="27" name="Rounded Rectangle 26"/>
              <p:cNvSpPr/>
              <p:nvPr/>
            </p:nvSpPr>
            <p:spPr bwMode="auto">
              <a:xfrm>
                <a:off x="631825" y="2185988"/>
                <a:ext cx="3101975" cy="1395412"/>
              </a:xfrm>
              <a:prstGeom prst="roundRect">
                <a:avLst/>
              </a:prstGeom>
              <a:solidFill>
                <a:schemeClr val="bg1"/>
              </a:solidFill>
              <a:ln>
                <a:solidFill>
                  <a:srgbClr val="152A45"/>
                </a:solidFill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r-TR"/>
              </a:p>
            </p:txBody>
          </p:sp>
          <p:pic>
            <p:nvPicPr>
              <p:cNvPr id="28" name="Picture 22"/>
              <p:cNvPicPr>
                <a:picLocks noChangeAspect="1" noChangeArrowheads="1"/>
              </p:cNvPicPr>
              <p:nvPr/>
            </p:nvPicPr>
            <p:blipFill rotWithShape="1">
              <a:blip r:embed="rId12" cstate="print"/>
              <a:srcRect l="8341" t="6507" r="5621" b="19686"/>
              <a:stretch/>
            </p:blipFill>
            <p:spPr bwMode="auto">
              <a:xfrm>
                <a:off x="971601" y="2274818"/>
                <a:ext cx="2362726" cy="123790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grpSp>
          <p:nvGrpSpPr>
            <p:cNvPr id="24" name="Group 23"/>
            <p:cNvGrpSpPr/>
            <p:nvPr userDrawn="1"/>
          </p:nvGrpSpPr>
          <p:grpSpPr>
            <a:xfrm>
              <a:off x="7548902" y="6387046"/>
              <a:ext cx="1046920" cy="470953"/>
              <a:chOff x="5584825" y="2149475"/>
              <a:chExt cx="3101975" cy="1395413"/>
            </a:xfrm>
          </p:grpSpPr>
          <p:sp>
            <p:nvSpPr>
              <p:cNvPr id="25" name="Rounded Rectangle 24"/>
              <p:cNvSpPr/>
              <p:nvPr/>
            </p:nvSpPr>
            <p:spPr bwMode="auto">
              <a:xfrm>
                <a:off x="5584825" y="2149475"/>
                <a:ext cx="3101975" cy="1395413"/>
              </a:xfrm>
              <a:prstGeom prst="roundRect">
                <a:avLst/>
              </a:prstGeom>
              <a:solidFill>
                <a:schemeClr val="bg1"/>
              </a:solidFill>
              <a:ln>
                <a:solidFill>
                  <a:srgbClr val="152A45"/>
                </a:solidFill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r-TR"/>
              </a:p>
            </p:txBody>
          </p:sp>
          <p:pic>
            <p:nvPicPr>
              <p:cNvPr id="26" name="Picture 5" descr="New Picture"/>
              <p:cNvPicPr>
                <a:picLocks noChangeAspect="1" noChangeArrowheads="1"/>
              </p:cNvPicPr>
              <p:nvPr/>
            </p:nvPicPr>
            <p:blipFill rotWithShape="1">
              <a:blip r:embed="rId13" cstate="print"/>
              <a:srcRect l="2871" t="13270" b="5738"/>
              <a:stretch/>
            </p:blipFill>
            <p:spPr bwMode="auto">
              <a:xfrm>
                <a:off x="5947507" y="2438399"/>
                <a:ext cx="2307973" cy="94211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7" r:id="rId2"/>
    <p:sldLayoutId id="2147483668" r:id="rId3"/>
    <p:sldLayoutId id="2147483669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lang="tr-TR" sz="2800" b="1" baseline="0" dirty="0" smtClean="0">
          <a:solidFill>
            <a:schemeClr val="bg1"/>
          </a:solidFill>
          <a:latin typeface="Arial Narrow" pitchFamily="34" charset="0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18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1800" baseline="0">
          <a:solidFill>
            <a:schemeClr val="tx1"/>
          </a:solidFill>
          <a:latin typeface="Arial" pitchFamily="34" charset="0"/>
          <a:cs typeface="Arial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800" baseline="0">
          <a:solidFill>
            <a:schemeClr val="tx1"/>
          </a:solidFill>
          <a:latin typeface="Arial" pitchFamily="34" charset="0"/>
          <a:cs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800" baseline="0">
          <a:solidFill>
            <a:schemeClr val="tx1"/>
          </a:solidFill>
          <a:latin typeface="Arial" pitchFamily="34" charset="0"/>
          <a:cs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800" baseline="0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4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5.jpe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9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6.jpe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0.xml"/><Relationship Id="rId9" Type="http://schemas.microsoft.com/office/2007/relationships/hdphoto" Target="../media/hdphoto2.wdp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5.jpeg"/><Relationship Id="rId5" Type="http://schemas.openxmlformats.org/officeDocument/2006/relationships/image" Target="../media/image44.jpeg"/><Relationship Id="rId4" Type="http://schemas.openxmlformats.org/officeDocument/2006/relationships/image" Target="../media/image43.jpe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6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0.jpe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13" Type="http://schemas.openxmlformats.org/officeDocument/2006/relationships/image" Target="../media/image16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12" Type="http://schemas.openxmlformats.org/officeDocument/2006/relationships/image" Target="../media/image15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11" Type="http://schemas.openxmlformats.org/officeDocument/2006/relationships/image" Target="../media/image14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3.jpe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2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13" Type="http://schemas.openxmlformats.org/officeDocument/2006/relationships/image" Target="../media/image23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7.jpeg"/><Relationship Id="rId12" Type="http://schemas.openxmlformats.org/officeDocument/2006/relationships/image" Target="../media/image22.jpe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11" Type="http://schemas.openxmlformats.org/officeDocument/2006/relationships/image" Target="../media/image21.jpeg"/><Relationship Id="rId5" Type="http://schemas.openxmlformats.org/officeDocument/2006/relationships/oleObject" Target="../embeddings/oleObject4.bin"/><Relationship Id="rId15" Type="http://schemas.openxmlformats.org/officeDocument/2006/relationships/image" Target="../media/image5.png"/><Relationship Id="rId10" Type="http://schemas.openxmlformats.org/officeDocument/2006/relationships/image" Target="../media/image20.jpe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9.jpeg"/><Relationship Id="rId14" Type="http://schemas.openxmlformats.org/officeDocument/2006/relationships/image" Target="../media/image24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eg"/><Relationship Id="rId3" Type="http://schemas.openxmlformats.org/officeDocument/2006/relationships/image" Target="../media/image26.png"/><Relationship Id="rId7" Type="http://schemas.openxmlformats.org/officeDocument/2006/relationships/image" Target="../media/image30.jpe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png"/><Relationship Id="rId5" Type="http://schemas.openxmlformats.org/officeDocument/2006/relationships/image" Target="../media/image28.jpeg"/><Relationship Id="rId4" Type="http://schemas.openxmlformats.org/officeDocument/2006/relationships/image" Target="../media/image27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2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7.xml"/><Relationship Id="rId9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67754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8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7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5766" y="4653136"/>
            <a:ext cx="9159766" cy="1728192"/>
          </a:xfrm>
          <a:prstGeom prst="rect">
            <a:avLst/>
          </a:prstGeom>
          <a:solidFill>
            <a:srgbClr val="182A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4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8632"/>
          <a:stretch/>
        </p:blipFill>
        <p:spPr>
          <a:xfrm>
            <a:off x="-12591" y="908720"/>
            <a:ext cx="9160248" cy="3821816"/>
          </a:xfrm>
          <a:prstGeom prst="rect">
            <a:avLst/>
          </a:prstGeom>
        </p:spPr>
      </p:pic>
      <p:pic>
        <p:nvPicPr>
          <p:cNvPr id="266366" name="Picture 126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367"/>
          <a:stretch/>
        </p:blipFill>
        <p:spPr bwMode="auto">
          <a:xfrm>
            <a:off x="2962296" y="179496"/>
            <a:ext cx="6056908" cy="5852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Title 1"/>
          <p:cNvSpPr txBox="1">
            <a:spLocks/>
          </p:cNvSpPr>
          <p:nvPr/>
        </p:nvSpPr>
        <p:spPr bwMode="auto">
          <a:xfrm>
            <a:off x="167756" y="4797152"/>
            <a:ext cx="8796732" cy="12333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/>
          <a:lstStyle/>
          <a:p>
            <a:pPr>
              <a:spcBef>
                <a:spcPts val="600"/>
              </a:spcBef>
              <a:spcAft>
                <a:spcPts val="1200"/>
              </a:spcAft>
            </a:pPr>
            <a:r>
              <a:rPr lang="en-GB" sz="2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talya</a:t>
            </a:r>
            <a:r>
              <a:rPr lang="tr-TR" sz="2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irport - </a:t>
            </a:r>
            <a:r>
              <a:rPr lang="en-GB" sz="2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teway </a:t>
            </a:r>
            <a:r>
              <a:rPr lang="tr-TR" sz="2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the Turkish Riviera</a:t>
            </a:r>
          </a:p>
          <a:p>
            <a:pPr>
              <a:spcBef>
                <a:spcPts val="600"/>
              </a:spcBef>
            </a:pPr>
            <a:r>
              <a:rPr lang="tr-TR" sz="2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aşar DÖNGEL ,  </a:t>
            </a:r>
          </a:p>
          <a:p>
            <a:pPr>
              <a:spcBef>
                <a:spcPts val="600"/>
              </a:spcBef>
            </a:pPr>
            <a:r>
              <a:rPr lang="tr-TR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CF Airports, Member of the Board of Directors	</a:t>
            </a:r>
          </a:p>
          <a:p>
            <a:pPr>
              <a:spcBef>
                <a:spcPts val="600"/>
              </a:spcBef>
            </a:pPr>
            <a:r>
              <a:rPr lang="tr-TR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 October 2015</a:t>
            </a:r>
            <a:endParaRPr lang="en-GB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3786474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11734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78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91ECD-3C5D-4903-BA94-648BA1B5202F}" type="slidenum">
              <a:rPr lang="tr-TR" smtClean="0"/>
              <a:pPr/>
              <a:t>10</a:t>
            </a:fld>
            <a:endParaRPr lang="tr-TR" dirty="0"/>
          </a:p>
        </p:txBody>
      </p:sp>
      <p:sp>
        <p:nvSpPr>
          <p:cNvPr id="331" name="Textfeld 56"/>
          <p:cNvSpPr txBox="1"/>
          <p:nvPr/>
        </p:nvSpPr>
        <p:spPr>
          <a:xfrm>
            <a:off x="46611" y="6345717"/>
            <a:ext cx="5514097" cy="220807"/>
          </a:xfrm>
          <a:prstGeom prst="rect">
            <a:avLst/>
          </a:prstGeom>
          <a:noFill/>
        </p:spPr>
        <p:txBody>
          <a:bodyPr wrap="square" lIns="0" tIns="48376" rIns="96751" bIns="48376" rtlCol="0">
            <a:spAutoFit/>
          </a:bodyPr>
          <a:lstStyle/>
          <a:p>
            <a:pPr indent="-237744" fontAlgn="auto">
              <a:spcBef>
                <a:spcPts val="0"/>
              </a:spcBef>
              <a:spcAft>
                <a:spcPts val="0"/>
              </a:spcAft>
            </a:pPr>
            <a:r>
              <a:rPr lang="tr-TR" sz="800" dirty="0">
                <a:solidFill>
                  <a:schemeClr val="bg1"/>
                </a:solidFill>
                <a:latin typeface="Arial"/>
              </a:rPr>
              <a:t>Source</a:t>
            </a:r>
            <a:r>
              <a:rPr lang="de-DE" sz="800" dirty="0">
                <a:solidFill>
                  <a:schemeClr val="bg1"/>
                </a:solidFill>
                <a:latin typeface="Arial"/>
              </a:rPr>
              <a:t>: </a:t>
            </a:r>
            <a:r>
              <a:rPr lang="tr-TR" sz="800" dirty="0">
                <a:solidFill>
                  <a:schemeClr val="bg1"/>
                </a:solidFill>
                <a:latin typeface="Arial"/>
              </a:rPr>
              <a:t>G</a:t>
            </a:r>
            <a:r>
              <a:rPr lang="tr-TR" sz="800" dirty="0" smtClean="0">
                <a:solidFill>
                  <a:schemeClr val="bg1"/>
                </a:solidFill>
                <a:latin typeface="Arial"/>
              </a:rPr>
              <a:t>oogle Maps</a:t>
            </a:r>
            <a:endParaRPr lang="en-GB" dirty="0">
              <a:solidFill>
                <a:schemeClr val="bg1"/>
              </a:solidFill>
            </a:endParaRPr>
          </a:p>
        </p:txBody>
      </p:sp>
      <p:pic>
        <p:nvPicPr>
          <p:cNvPr id="330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100" y="1263021"/>
            <a:ext cx="7524750" cy="4983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5" name="Title 1"/>
          <p:cNvSpPr>
            <a:spLocks noGrp="1"/>
          </p:cNvSpPr>
          <p:nvPr>
            <p:ph type="title"/>
          </p:nvPr>
        </p:nvSpPr>
        <p:spPr>
          <a:xfrm>
            <a:off x="3995738" y="0"/>
            <a:ext cx="5148262" cy="908050"/>
          </a:xfrm>
        </p:spPr>
        <p:txBody>
          <a:bodyPr>
            <a:normAutofit/>
          </a:bodyPr>
          <a:lstStyle/>
          <a:p>
            <a:r>
              <a:rPr lang="tr-TR" altLang="tr-TR" b="1" dirty="0" smtClean="0">
                <a:latin typeface="Arial" charset="0"/>
                <a:ea typeface="ＭＳ Ｐゴシック" pitchFamily="34" charset="-128"/>
                <a:cs typeface="Arial" charset="0"/>
              </a:rPr>
              <a:t>Antalya Airport  Range</a:t>
            </a:r>
          </a:p>
        </p:txBody>
      </p:sp>
      <p:sp>
        <p:nvSpPr>
          <p:cNvPr id="3" name="Flowchart: Connector 2"/>
          <p:cNvSpPr/>
          <p:nvPr/>
        </p:nvSpPr>
        <p:spPr>
          <a:xfrm flipH="1">
            <a:off x="6257034" y="5090733"/>
            <a:ext cx="45719" cy="45719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0774695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75581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76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5"/>
          <p:cNvGrpSpPr/>
          <p:nvPr/>
        </p:nvGrpSpPr>
        <p:grpSpPr>
          <a:xfrm>
            <a:off x="0" y="918000"/>
            <a:ext cx="9144000" cy="5436997"/>
            <a:chOff x="0" y="918000"/>
            <a:chExt cx="9144000" cy="5436997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4994" b="10070"/>
            <a:stretch/>
          </p:blipFill>
          <p:spPr>
            <a:xfrm>
              <a:off x="0" y="918000"/>
              <a:ext cx="9144000" cy="5436997"/>
            </a:xfrm>
            <a:prstGeom prst="rect">
              <a:avLst/>
            </a:prstGeom>
          </p:spPr>
        </p:pic>
        <p:sp>
          <p:nvSpPr>
            <p:cNvPr id="13" name="Oval 12"/>
            <p:cNvSpPr>
              <a:spLocks noChangeAspect="1"/>
            </p:cNvSpPr>
            <p:nvPr/>
          </p:nvSpPr>
          <p:spPr>
            <a:xfrm>
              <a:off x="3059832" y="5097742"/>
              <a:ext cx="134344" cy="134344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1" name="Oval 20"/>
            <p:cNvSpPr>
              <a:spLocks noChangeAspect="1"/>
            </p:cNvSpPr>
            <p:nvPr/>
          </p:nvSpPr>
          <p:spPr>
            <a:xfrm>
              <a:off x="3626371" y="3184401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2" name="Oval 21"/>
            <p:cNvSpPr>
              <a:spLocks noChangeAspect="1"/>
            </p:cNvSpPr>
            <p:nvPr/>
          </p:nvSpPr>
          <p:spPr>
            <a:xfrm>
              <a:off x="6033950" y="374644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3" name="Oval 22"/>
            <p:cNvSpPr>
              <a:spLocks noChangeAspect="1"/>
            </p:cNvSpPr>
            <p:nvPr/>
          </p:nvSpPr>
          <p:spPr>
            <a:xfrm>
              <a:off x="6856518" y="328391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4" name="Oval 23"/>
            <p:cNvSpPr>
              <a:spLocks noChangeAspect="1"/>
            </p:cNvSpPr>
            <p:nvPr/>
          </p:nvSpPr>
          <p:spPr>
            <a:xfrm>
              <a:off x="6550124" y="328498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5" name="Oval 24"/>
            <p:cNvSpPr>
              <a:spLocks noChangeAspect="1"/>
            </p:cNvSpPr>
            <p:nvPr/>
          </p:nvSpPr>
          <p:spPr>
            <a:xfrm>
              <a:off x="8065414" y="340614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6" name="Oval 25"/>
            <p:cNvSpPr>
              <a:spLocks noChangeAspect="1"/>
            </p:cNvSpPr>
            <p:nvPr/>
          </p:nvSpPr>
          <p:spPr>
            <a:xfrm>
              <a:off x="9073526" y="358902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7" name="Oval 26"/>
            <p:cNvSpPr>
              <a:spLocks noChangeAspect="1"/>
            </p:cNvSpPr>
            <p:nvPr/>
          </p:nvSpPr>
          <p:spPr>
            <a:xfrm>
              <a:off x="6273904" y="459529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8" name="Oval 27"/>
            <p:cNvSpPr>
              <a:spLocks noChangeAspect="1"/>
            </p:cNvSpPr>
            <p:nvPr/>
          </p:nvSpPr>
          <p:spPr>
            <a:xfrm>
              <a:off x="6441544" y="456588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9" name="Oval 28"/>
            <p:cNvSpPr>
              <a:spLocks noChangeAspect="1"/>
            </p:cNvSpPr>
            <p:nvPr/>
          </p:nvSpPr>
          <p:spPr>
            <a:xfrm>
              <a:off x="4700776" y="419480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30" name="Oval 29"/>
            <p:cNvSpPr>
              <a:spLocks noChangeAspect="1"/>
            </p:cNvSpPr>
            <p:nvPr/>
          </p:nvSpPr>
          <p:spPr>
            <a:xfrm>
              <a:off x="4336238" y="436510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31" name="Oval 30"/>
            <p:cNvSpPr>
              <a:spLocks noChangeAspect="1"/>
            </p:cNvSpPr>
            <p:nvPr/>
          </p:nvSpPr>
          <p:spPr>
            <a:xfrm>
              <a:off x="4450844" y="480027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32" name="Oval 31"/>
            <p:cNvSpPr>
              <a:spLocks noChangeAspect="1"/>
            </p:cNvSpPr>
            <p:nvPr/>
          </p:nvSpPr>
          <p:spPr>
            <a:xfrm>
              <a:off x="4325496" y="478191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33" name="Oval 32"/>
            <p:cNvSpPr>
              <a:spLocks noChangeAspect="1"/>
            </p:cNvSpPr>
            <p:nvPr/>
          </p:nvSpPr>
          <p:spPr>
            <a:xfrm>
              <a:off x="4866582" y="618397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34" name="Oval 33"/>
            <p:cNvSpPr>
              <a:spLocks noChangeAspect="1"/>
            </p:cNvSpPr>
            <p:nvPr/>
          </p:nvSpPr>
          <p:spPr>
            <a:xfrm>
              <a:off x="3491880" y="5455966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35" name="Oval 34"/>
            <p:cNvSpPr>
              <a:spLocks noChangeAspect="1"/>
            </p:cNvSpPr>
            <p:nvPr/>
          </p:nvSpPr>
          <p:spPr>
            <a:xfrm>
              <a:off x="3547578" y="558924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36" name="Oval 35"/>
            <p:cNvSpPr>
              <a:spLocks noChangeAspect="1"/>
            </p:cNvSpPr>
            <p:nvPr/>
          </p:nvSpPr>
          <p:spPr>
            <a:xfrm>
              <a:off x="3449282" y="560790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37" name="Oval 36"/>
            <p:cNvSpPr>
              <a:spLocks noChangeAspect="1"/>
            </p:cNvSpPr>
            <p:nvPr/>
          </p:nvSpPr>
          <p:spPr>
            <a:xfrm>
              <a:off x="3173368" y="574506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38" name="Oval 37"/>
            <p:cNvSpPr>
              <a:spLocks noChangeAspect="1"/>
            </p:cNvSpPr>
            <p:nvPr/>
          </p:nvSpPr>
          <p:spPr>
            <a:xfrm>
              <a:off x="3321576" y="5312256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39" name="Textfeld 58"/>
            <p:cNvSpPr txBox="1"/>
            <p:nvPr/>
          </p:nvSpPr>
          <p:spPr>
            <a:xfrm>
              <a:off x="2701656" y="5196970"/>
              <a:ext cx="874725" cy="219101"/>
            </a:xfrm>
            <a:prstGeom prst="rect">
              <a:avLst/>
            </a:prstGeom>
            <a:no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de-DE" sz="1400" b="1" dirty="0" smtClean="0">
                  <a:solidFill>
                    <a:srgbClr val="152A45"/>
                  </a:solidFill>
                  <a:latin typeface="Arial" pitchFamily="34" charset="0"/>
                  <a:cs typeface="Arial" pitchFamily="34" charset="0"/>
                </a:rPr>
                <a:t>Antalya</a:t>
              </a:r>
              <a:endParaRPr lang="en-GB" sz="1400" b="1" dirty="0" smtClean="0">
                <a:solidFill>
                  <a:srgbClr val="152A45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0" name="Oval 39"/>
            <p:cNvSpPr>
              <a:spLocks noChangeAspect="1"/>
            </p:cNvSpPr>
            <p:nvPr/>
          </p:nvSpPr>
          <p:spPr>
            <a:xfrm>
              <a:off x="2180496" y="481239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41" name="Oval 40"/>
            <p:cNvSpPr>
              <a:spLocks noChangeAspect="1"/>
            </p:cNvSpPr>
            <p:nvPr/>
          </p:nvSpPr>
          <p:spPr>
            <a:xfrm>
              <a:off x="2078008" y="476217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42" name="Oval 41"/>
            <p:cNvSpPr>
              <a:spLocks noChangeAspect="1"/>
            </p:cNvSpPr>
            <p:nvPr/>
          </p:nvSpPr>
          <p:spPr>
            <a:xfrm>
              <a:off x="1770238" y="443368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43" name="Oval 42"/>
            <p:cNvSpPr>
              <a:spLocks noChangeAspect="1"/>
            </p:cNvSpPr>
            <p:nvPr/>
          </p:nvSpPr>
          <p:spPr>
            <a:xfrm>
              <a:off x="1706920" y="447521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44" name="Oval 43"/>
            <p:cNvSpPr>
              <a:spLocks noChangeAspect="1"/>
            </p:cNvSpPr>
            <p:nvPr/>
          </p:nvSpPr>
          <p:spPr>
            <a:xfrm>
              <a:off x="1585764" y="444473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45" name="Oval 44"/>
            <p:cNvSpPr>
              <a:spLocks noChangeAspect="1"/>
            </p:cNvSpPr>
            <p:nvPr/>
          </p:nvSpPr>
          <p:spPr>
            <a:xfrm>
              <a:off x="1599934" y="481132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46" name="Oval 45"/>
            <p:cNvSpPr>
              <a:spLocks noChangeAspect="1"/>
            </p:cNvSpPr>
            <p:nvPr/>
          </p:nvSpPr>
          <p:spPr>
            <a:xfrm>
              <a:off x="1107996" y="474038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47" name="Oval 46"/>
            <p:cNvSpPr>
              <a:spLocks noChangeAspect="1"/>
            </p:cNvSpPr>
            <p:nvPr/>
          </p:nvSpPr>
          <p:spPr>
            <a:xfrm>
              <a:off x="1172384" y="517136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48" name="Oval 47"/>
            <p:cNvSpPr>
              <a:spLocks noChangeAspect="1"/>
            </p:cNvSpPr>
            <p:nvPr/>
          </p:nvSpPr>
          <p:spPr>
            <a:xfrm>
              <a:off x="4400626" y="342031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49" name="Oval 48"/>
            <p:cNvSpPr>
              <a:spLocks noChangeAspect="1"/>
            </p:cNvSpPr>
            <p:nvPr/>
          </p:nvSpPr>
          <p:spPr>
            <a:xfrm>
              <a:off x="4211960" y="335699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50" name="Oval 49"/>
            <p:cNvSpPr>
              <a:spLocks noChangeAspect="1"/>
            </p:cNvSpPr>
            <p:nvPr/>
          </p:nvSpPr>
          <p:spPr>
            <a:xfrm>
              <a:off x="5148064" y="3220596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51" name="Oval 50"/>
            <p:cNvSpPr>
              <a:spLocks noChangeAspect="1"/>
            </p:cNvSpPr>
            <p:nvPr/>
          </p:nvSpPr>
          <p:spPr>
            <a:xfrm>
              <a:off x="3104482" y="262929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52" name="Oval 51"/>
            <p:cNvSpPr>
              <a:spLocks noChangeAspect="1"/>
            </p:cNvSpPr>
            <p:nvPr/>
          </p:nvSpPr>
          <p:spPr>
            <a:xfrm>
              <a:off x="3548648" y="226925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53" name="Oval 52"/>
            <p:cNvSpPr>
              <a:spLocks noChangeAspect="1"/>
            </p:cNvSpPr>
            <p:nvPr/>
          </p:nvSpPr>
          <p:spPr>
            <a:xfrm>
              <a:off x="1806486" y="2929336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54" name="Oval 53"/>
            <p:cNvSpPr>
              <a:spLocks noChangeAspect="1"/>
            </p:cNvSpPr>
            <p:nvPr/>
          </p:nvSpPr>
          <p:spPr>
            <a:xfrm>
              <a:off x="1907704" y="3118566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55" name="Oval 54"/>
            <p:cNvSpPr>
              <a:spLocks noChangeAspect="1"/>
            </p:cNvSpPr>
            <p:nvPr/>
          </p:nvSpPr>
          <p:spPr>
            <a:xfrm>
              <a:off x="1812836" y="317144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56" name="Oval 55"/>
            <p:cNvSpPr>
              <a:spLocks noChangeAspect="1"/>
            </p:cNvSpPr>
            <p:nvPr/>
          </p:nvSpPr>
          <p:spPr>
            <a:xfrm>
              <a:off x="1650152" y="306896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57" name="Oval 56"/>
            <p:cNvSpPr>
              <a:spLocks noChangeAspect="1"/>
            </p:cNvSpPr>
            <p:nvPr/>
          </p:nvSpPr>
          <p:spPr>
            <a:xfrm>
              <a:off x="1570524" y="313989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58" name="Oval 57"/>
            <p:cNvSpPr>
              <a:spLocks noChangeAspect="1"/>
            </p:cNvSpPr>
            <p:nvPr/>
          </p:nvSpPr>
          <p:spPr>
            <a:xfrm>
              <a:off x="1634912" y="314751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59" name="Oval 58"/>
            <p:cNvSpPr>
              <a:spLocks noChangeAspect="1"/>
            </p:cNvSpPr>
            <p:nvPr/>
          </p:nvSpPr>
          <p:spPr>
            <a:xfrm>
              <a:off x="1555284" y="222010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60" name="Oval 59"/>
            <p:cNvSpPr>
              <a:spLocks noChangeAspect="1"/>
            </p:cNvSpPr>
            <p:nvPr/>
          </p:nvSpPr>
          <p:spPr>
            <a:xfrm>
              <a:off x="1429936" y="258669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61" name="Oval 60"/>
            <p:cNvSpPr>
              <a:spLocks noChangeAspect="1"/>
            </p:cNvSpPr>
            <p:nvPr/>
          </p:nvSpPr>
          <p:spPr>
            <a:xfrm>
              <a:off x="1721090" y="263272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62" name="Oval 61"/>
            <p:cNvSpPr>
              <a:spLocks noChangeAspect="1"/>
            </p:cNvSpPr>
            <p:nvPr/>
          </p:nvSpPr>
          <p:spPr>
            <a:xfrm>
              <a:off x="2062462" y="256490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63" name="Oval 62"/>
            <p:cNvSpPr>
              <a:spLocks noChangeAspect="1"/>
            </p:cNvSpPr>
            <p:nvPr/>
          </p:nvSpPr>
          <p:spPr>
            <a:xfrm>
              <a:off x="1979712" y="159382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64" name="Oval 63"/>
            <p:cNvSpPr>
              <a:spLocks noChangeAspect="1"/>
            </p:cNvSpPr>
            <p:nvPr/>
          </p:nvSpPr>
          <p:spPr>
            <a:xfrm>
              <a:off x="2232766" y="117389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65" name="Oval 64"/>
            <p:cNvSpPr>
              <a:spLocks noChangeAspect="1"/>
            </p:cNvSpPr>
            <p:nvPr/>
          </p:nvSpPr>
          <p:spPr>
            <a:xfrm>
              <a:off x="883282" y="3947226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66" name="Oval 65"/>
            <p:cNvSpPr>
              <a:spLocks noChangeAspect="1"/>
            </p:cNvSpPr>
            <p:nvPr/>
          </p:nvSpPr>
          <p:spPr>
            <a:xfrm>
              <a:off x="933500" y="370179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67" name="Oval 66"/>
            <p:cNvSpPr>
              <a:spLocks noChangeAspect="1"/>
            </p:cNvSpPr>
            <p:nvPr/>
          </p:nvSpPr>
          <p:spPr>
            <a:xfrm>
              <a:off x="801296" y="3580636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68" name="Oval 67"/>
            <p:cNvSpPr>
              <a:spLocks noChangeAspect="1"/>
            </p:cNvSpPr>
            <p:nvPr/>
          </p:nvSpPr>
          <p:spPr>
            <a:xfrm>
              <a:off x="740336" y="377692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69" name="Oval 68"/>
            <p:cNvSpPr>
              <a:spLocks noChangeAspect="1"/>
            </p:cNvSpPr>
            <p:nvPr/>
          </p:nvSpPr>
          <p:spPr>
            <a:xfrm>
              <a:off x="645468" y="366026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70" name="Oval 69"/>
            <p:cNvSpPr>
              <a:spLocks noChangeAspect="1"/>
            </p:cNvSpPr>
            <p:nvPr/>
          </p:nvSpPr>
          <p:spPr>
            <a:xfrm>
              <a:off x="725096" y="368312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71" name="Oval 70"/>
            <p:cNvSpPr>
              <a:spLocks noChangeAspect="1"/>
            </p:cNvSpPr>
            <p:nvPr/>
          </p:nvSpPr>
          <p:spPr>
            <a:xfrm>
              <a:off x="740336" y="306896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72" name="Oval 71"/>
            <p:cNvSpPr>
              <a:spLocks noChangeAspect="1"/>
            </p:cNvSpPr>
            <p:nvPr/>
          </p:nvSpPr>
          <p:spPr>
            <a:xfrm>
              <a:off x="611560" y="309524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73" name="Oval 72"/>
            <p:cNvSpPr>
              <a:spLocks noChangeAspect="1"/>
            </p:cNvSpPr>
            <p:nvPr/>
          </p:nvSpPr>
          <p:spPr>
            <a:xfrm>
              <a:off x="493832" y="333725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74" name="Oval 73"/>
            <p:cNvSpPr>
              <a:spLocks noChangeAspect="1"/>
            </p:cNvSpPr>
            <p:nvPr/>
          </p:nvSpPr>
          <p:spPr>
            <a:xfrm>
              <a:off x="467544" y="347441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75" name="Oval 74"/>
            <p:cNvSpPr>
              <a:spLocks noChangeAspect="1"/>
            </p:cNvSpPr>
            <p:nvPr/>
          </p:nvSpPr>
          <p:spPr>
            <a:xfrm>
              <a:off x="815466" y="375856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76" name="Oval 75"/>
            <p:cNvSpPr>
              <a:spLocks noChangeAspect="1"/>
            </p:cNvSpPr>
            <p:nvPr/>
          </p:nvSpPr>
          <p:spPr>
            <a:xfrm>
              <a:off x="884352" y="3595876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77" name="Oval 76"/>
            <p:cNvSpPr>
              <a:spLocks noChangeAspect="1"/>
            </p:cNvSpPr>
            <p:nvPr/>
          </p:nvSpPr>
          <p:spPr>
            <a:xfrm>
              <a:off x="1330570" y="366026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78" name="Oval 77"/>
            <p:cNvSpPr>
              <a:spLocks noChangeAspect="1"/>
            </p:cNvSpPr>
            <p:nvPr/>
          </p:nvSpPr>
          <p:spPr>
            <a:xfrm>
              <a:off x="1354500" y="381845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79" name="Oval 78"/>
            <p:cNvSpPr>
              <a:spLocks noChangeAspect="1"/>
            </p:cNvSpPr>
            <p:nvPr/>
          </p:nvSpPr>
          <p:spPr>
            <a:xfrm>
              <a:off x="1403648" y="3633976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80" name="Oval 79"/>
            <p:cNvSpPr>
              <a:spLocks noChangeAspect="1"/>
            </p:cNvSpPr>
            <p:nvPr/>
          </p:nvSpPr>
          <p:spPr>
            <a:xfrm>
              <a:off x="1391836" y="350862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81" name="Oval 80"/>
            <p:cNvSpPr>
              <a:spLocks noChangeAspect="1"/>
            </p:cNvSpPr>
            <p:nvPr/>
          </p:nvSpPr>
          <p:spPr>
            <a:xfrm>
              <a:off x="2680054" y="353148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82" name="Oval 81"/>
            <p:cNvSpPr>
              <a:spLocks noChangeAspect="1"/>
            </p:cNvSpPr>
            <p:nvPr/>
          </p:nvSpPr>
          <p:spPr>
            <a:xfrm>
              <a:off x="1971022" y="386417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83" name="Oval 82"/>
            <p:cNvSpPr>
              <a:spLocks noChangeAspect="1"/>
            </p:cNvSpPr>
            <p:nvPr/>
          </p:nvSpPr>
          <p:spPr>
            <a:xfrm>
              <a:off x="2175998" y="404705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84" name="Oval 83"/>
            <p:cNvSpPr>
              <a:spLocks noChangeAspect="1"/>
            </p:cNvSpPr>
            <p:nvPr/>
          </p:nvSpPr>
          <p:spPr>
            <a:xfrm>
              <a:off x="2048292" y="417194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85" name="Oval 84"/>
            <p:cNvSpPr>
              <a:spLocks noChangeAspect="1"/>
            </p:cNvSpPr>
            <p:nvPr/>
          </p:nvSpPr>
          <p:spPr>
            <a:xfrm>
              <a:off x="2194666" y="416432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86" name="Oval 85"/>
            <p:cNvSpPr>
              <a:spLocks noChangeAspect="1"/>
            </p:cNvSpPr>
            <p:nvPr/>
          </p:nvSpPr>
          <p:spPr>
            <a:xfrm>
              <a:off x="2331826" y="412172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87" name="Oval 86"/>
            <p:cNvSpPr>
              <a:spLocks noChangeAspect="1"/>
            </p:cNvSpPr>
            <p:nvPr/>
          </p:nvSpPr>
          <p:spPr>
            <a:xfrm>
              <a:off x="2497938" y="410755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88" name="Oval 87"/>
            <p:cNvSpPr>
              <a:spLocks noChangeAspect="1"/>
            </p:cNvSpPr>
            <p:nvPr/>
          </p:nvSpPr>
          <p:spPr>
            <a:xfrm>
              <a:off x="2131348" y="451567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89" name="Oval 88"/>
            <p:cNvSpPr>
              <a:spLocks noChangeAspect="1"/>
            </p:cNvSpPr>
            <p:nvPr/>
          </p:nvSpPr>
          <p:spPr>
            <a:xfrm>
              <a:off x="1517184" y="407707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90" name="Oval 89"/>
            <p:cNvSpPr>
              <a:spLocks noChangeAspect="1"/>
            </p:cNvSpPr>
            <p:nvPr/>
          </p:nvSpPr>
          <p:spPr>
            <a:xfrm>
              <a:off x="1475656" y="414908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91" name="Oval 90"/>
            <p:cNvSpPr>
              <a:spLocks noChangeAspect="1"/>
            </p:cNvSpPr>
            <p:nvPr/>
          </p:nvSpPr>
          <p:spPr>
            <a:xfrm>
              <a:off x="1460416" y="426338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92" name="Oval 91"/>
            <p:cNvSpPr>
              <a:spLocks noChangeAspect="1"/>
            </p:cNvSpPr>
            <p:nvPr/>
          </p:nvSpPr>
          <p:spPr>
            <a:xfrm>
              <a:off x="1490896" y="434224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93" name="Oval 92"/>
            <p:cNvSpPr>
              <a:spLocks noChangeAspect="1"/>
            </p:cNvSpPr>
            <p:nvPr/>
          </p:nvSpPr>
          <p:spPr>
            <a:xfrm>
              <a:off x="1770238" y="406945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94" name="Oval 93"/>
            <p:cNvSpPr>
              <a:spLocks noChangeAspect="1"/>
            </p:cNvSpPr>
            <p:nvPr/>
          </p:nvSpPr>
          <p:spPr>
            <a:xfrm>
              <a:off x="1665392" y="347052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95" name="Oval 94"/>
            <p:cNvSpPr>
              <a:spLocks noChangeAspect="1"/>
            </p:cNvSpPr>
            <p:nvPr/>
          </p:nvSpPr>
          <p:spPr>
            <a:xfrm>
              <a:off x="1589192" y="347814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96" name="Oval 95"/>
            <p:cNvSpPr>
              <a:spLocks noChangeAspect="1"/>
            </p:cNvSpPr>
            <p:nvPr/>
          </p:nvSpPr>
          <p:spPr>
            <a:xfrm>
              <a:off x="1906634" y="359244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97" name="Oval 96"/>
            <p:cNvSpPr>
              <a:spLocks noChangeAspect="1"/>
            </p:cNvSpPr>
            <p:nvPr/>
          </p:nvSpPr>
          <p:spPr>
            <a:xfrm>
              <a:off x="1941612" y="375094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98" name="Oval 97"/>
            <p:cNvSpPr>
              <a:spLocks noChangeAspect="1"/>
            </p:cNvSpPr>
            <p:nvPr/>
          </p:nvSpPr>
          <p:spPr>
            <a:xfrm>
              <a:off x="1702422" y="368205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99" name="Oval 98"/>
            <p:cNvSpPr>
              <a:spLocks noChangeAspect="1"/>
            </p:cNvSpPr>
            <p:nvPr/>
          </p:nvSpPr>
          <p:spPr>
            <a:xfrm>
              <a:off x="1812836" y="366026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00" name="Oval 99"/>
            <p:cNvSpPr>
              <a:spLocks noChangeAspect="1"/>
            </p:cNvSpPr>
            <p:nvPr/>
          </p:nvSpPr>
          <p:spPr>
            <a:xfrm>
              <a:off x="1452796" y="381266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01" name="Oval 100"/>
            <p:cNvSpPr>
              <a:spLocks noChangeAspect="1"/>
            </p:cNvSpPr>
            <p:nvPr/>
          </p:nvSpPr>
          <p:spPr>
            <a:xfrm>
              <a:off x="1452796" y="378142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02" name="Oval 101"/>
            <p:cNvSpPr>
              <a:spLocks noChangeAspect="1"/>
            </p:cNvSpPr>
            <p:nvPr/>
          </p:nvSpPr>
          <p:spPr>
            <a:xfrm>
              <a:off x="1494324" y="379666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03" name="Oval 102"/>
            <p:cNvSpPr>
              <a:spLocks noChangeAspect="1"/>
            </p:cNvSpPr>
            <p:nvPr/>
          </p:nvSpPr>
          <p:spPr>
            <a:xfrm>
              <a:off x="1634912" y="382294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04" name="Oval 103"/>
            <p:cNvSpPr>
              <a:spLocks noChangeAspect="1"/>
            </p:cNvSpPr>
            <p:nvPr/>
          </p:nvSpPr>
          <p:spPr>
            <a:xfrm>
              <a:off x="1562904" y="393724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05" name="Oval 104"/>
            <p:cNvSpPr>
              <a:spLocks noChangeAspect="1"/>
            </p:cNvSpPr>
            <p:nvPr/>
          </p:nvSpPr>
          <p:spPr>
            <a:xfrm>
              <a:off x="2327634" y="339090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06" name="Oval 105"/>
            <p:cNvSpPr>
              <a:spLocks noChangeAspect="1"/>
            </p:cNvSpPr>
            <p:nvPr/>
          </p:nvSpPr>
          <p:spPr>
            <a:xfrm>
              <a:off x="3119722" y="381083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07" name="Oval 106"/>
            <p:cNvSpPr>
              <a:spLocks noChangeAspect="1"/>
            </p:cNvSpPr>
            <p:nvPr/>
          </p:nvSpPr>
          <p:spPr>
            <a:xfrm>
              <a:off x="3312886" y="356882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08" name="Oval 107"/>
            <p:cNvSpPr>
              <a:spLocks noChangeAspect="1"/>
            </p:cNvSpPr>
            <p:nvPr/>
          </p:nvSpPr>
          <p:spPr>
            <a:xfrm>
              <a:off x="3718646" y="390569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09" name="Oval 108"/>
            <p:cNvSpPr>
              <a:spLocks noChangeAspect="1"/>
            </p:cNvSpPr>
            <p:nvPr/>
          </p:nvSpPr>
          <p:spPr>
            <a:xfrm>
              <a:off x="3635896" y="403554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0" name="Oval 109"/>
            <p:cNvSpPr>
              <a:spLocks noChangeAspect="1"/>
            </p:cNvSpPr>
            <p:nvPr/>
          </p:nvSpPr>
          <p:spPr>
            <a:xfrm>
              <a:off x="3442732" y="403447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1" name="Oval 110"/>
            <p:cNvSpPr>
              <a:spLocks noChangeAspect="1"/>
            </p:cNvSpPr>
            <p:nvPr/>
          </p:nvSpPr>
          <p:spPr>
            <a:xfrm>
              <a:off x="3036972" y="418611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2" name="Oval 111"/>
            <p:cNvSpPr>
              <a:spLocks noChangeAspect="1"/>
            </p:cNvSpPr>
            <p:nvPr/>
          </p:nvSpPr>
          <p:spPr>
            <a:xfrm>
              <a:off x="2813328" y="445128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3" name="Oval 112"/>
            <p:cNvSpPr>
              <a:spLocks noChangeAspect="1"/>
            </p:cNvSpPr>
            <p:nvPr/>
          </p:nvSpPr>
          <p:spPr>
            <a:xfrm>
              <a:off x="2980968" y="443711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4" name="Oval 113"/>
            <p:cNvSpPr>
              <a:spLocks noChangeAspect="1"/>
            </p:cNvSpPr>
            <p:nvPr/>
          </p:nvSpPr>
          <p:spPr>
            <a:xfrm>
              <a:off x="2813328" y="423632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5" name="Oval 114"/>
            <p:cNvSpPr>
              <a:spLocks noChangeAspect="1"/>
            </p:cNvSpPr>
            <p:nvPr/>
          </p:nvSpPr>
          <p:spPr>
            <a:xfrm>
              <a:off x="2907126" y="461815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6" name="Oval 115"/>
            <p:cNvSpPr>
              <a:spLocks noChangeAspect="1"/>
            </p:cNvSpPr>
            <p:nvPr/>
          </p:nvSpPr>
          <p:spPr>
            <a:xfrm>
              <a:off x="2499008" y="457008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7" name="Oval 116"/>
            <p:cNvSpPr>
              <a:spLocks noChangeAspect="1"/>
            </p:cNvSpPr>
            <p:nvPr/>
          </p:nvSpPr>
          <p:spPr>
            <a:xfrm>
              <a:off x="2388900" y="441425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8" name="Oval 117"/>
            <p:cNvSpPr>
              <a:spLocks noChangeAspect="1"/>
            </p:cNvSpPr>
            <p:nvPr/>
          </p:nvSpPr>
          <p:spPr>
            <a:xfrm>
              <a:off x="2638526" y="505439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9" name="Oval 118"/>
            <p:cNvSpPr>
              <a:spLocks noChangeAspect="1"/>
            </p:cNvSpPr>
            <p:nvPr/>
          </p:nvSpPr>
          <p:spPr>
            <a:xfrm>
              <a:off x="903020" y="5027346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120" name="Oval 119"/>
            <p:cNvSpPr>
              <a:spLocks noChangeAspect="1"/>
            </p:cNvSpPr>
            <p:nvPr/>
          </p:nvSpPr>
          <p:spPr>
            <a:xfrm>
              <a:off x="1570524" y="484287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121" name="Oval 120"/>
            <p:cNvSpPr>
              <a:spLocks noChangeAspect="1"/>
            </p:cNvSpPr>
            <p:nvPr/>
          </p:nvSpPr>
          <p:spPr>
            <a:xfrm>
              <a:off x="899592" y="441318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22" name="Oval 121"/>
            <p:cNvSpPr>
              <a:spLocks noChangeAspect="1"/>
            </p:cNvSpPr>
            <p:nvPr/>
          </p:nvSpPr>
          <p:spPr>
            <a:xfrm>
              <a:off x="2232766" y="271730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23" name="Oval 122"/>
            <p:cNvSpPr>
              <a:spLocks noChangeAspect="1"/>
            </p:cNvSpPr>
            <p:nvPr/>
          </p:nvSpPr>
          <p:spPr>
            <a:xfrm>
              <a:off x="2645076" y="93345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24" name="Oval 123"/>
            <p:cNvSpPr>
              <a:spLocks noChangeAspect="1"/>
            </p:cNvSpPr>
            <p:nvPr/>
          </p:nvSpPr>
          <p:spPr>
            <a:xfrm>
              <a:off x="5053196" y="381190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25" name="Oval 124"/>
            <p:cNvSpPr>
              <a:spLocks noChangeAspect="1"/>
            </p:cNvSpPr>
            <p:nvPr/>
          </p:nvSpPr>
          <p:spPr>
            <a:xfrm>
              <a:off x="4621148" y="452329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26" name="Oval 125"/>
            <p:cNvSpPr>
              <a:spLocks noChangeAspect="1"/>
            </p:cNvSpPr>
            <p:nvPr/>
          </p:nvSpPr>
          <p:spPr>
            <a:xfrm>
              <a:off x="3696856" y="441844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27" name="Oval 126"/>
            <p:cNvSpPr>
              <a:spLocks noChangeAspect="1"/>
            </p:cNvSpPr>
            <p:nvPr/>
          </p:nvSpPr>
          <p:spPr>
            <a:xfrm>
              <a:off x="3017234" y="478503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128" name="Oval 127"/>
            <p:cNvSpPr>
              <a:spLocks noChangeAspect="1"/>
            </p:cNvSpPr>
            <p:nvPr/>
          </p:nvSpPr>
          <p:spPr>
            <a:xfrm>
              <a:off x="3282406" y="489171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129" name="Oval 128"/>
            <p:cNvSpPr>
              <a:spLocks noChangeAspect="1"/>
            </p:cNvSpPr>
            <p:nvPr/>
          </p:nvSpPr>
          <p:spPr>
            <a:xfrm>
              <a:off x="2881908" y="502887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130" name="Oval 129"/>
            <p:cNvSpPr>
              <a:spLocks noChangeAspect="1"/>
            </p:cNvSpPr>
            <p:nvPr/>
          </p:nvSpPr>
          <p:spPr>
            <a:xfrm>
              <a:off x="8381154" y="359345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131" name="Oval 130"/>
            <p:cNvSpPr>
              <a:spLocks noChangeAspect="1"/>
            </p:cNvSpPr>
            <p:nvPr/>
          </p:nvSpPr>
          <p:spPr>
            <a:xfrm>
              <a:off x="8362596" y="364502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132" name="Oval 131"/>
            <p:cNvSpPr>
              <a:spLocks noChangeAspect="1"/>
            </p:cNvSpPr>
            <p:nvPr/>
          </p:nvSpPr>
          <p:spPr>
            <a:xfrm>
              <a:off x="7191996" y="365426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133" name="Oval 132"/>
            <p:cNvSpPr>
              <a:spLocks noChangeAspect="1"/>
            </p:cNvSpPr>
            <p:nvPr/>
          </p:nvSpPr>
          <p:spPr>
            <a:xfrm>
              <a:off x="7119988" y="354530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134" name="Oval 133"/>
            <p:cNvSpPr>
              <a:spLocks noChangeAspect="1"/>
            </p:cNvSpPr>
            <p:nvPr/>
          </p:nvSpPr>
          <p:spPr>
            <a:xfrm>
              <a:off x="6039868" y="385189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135" name="Oval 134"/>
            <p:cNvSpPr>
              <a:spLocks noChangeAspect="1"/>
            </p:cNvSpPr>
            <p:nvPr/>
          </p:nvSpPr>
          <p:spPr>
            <a:xfrm>
              <a:off x="5426860" y="3482536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136" name="Oval 135"/>
            <p:cNvSpPr>
              <a:spLocks noChangeAspect="1"/>
            </p:cNvSpPr>
            <p:nvPr/>
          </p:nvSpPr>
          <p:spPr>
            <a:xfrm>
              <a:off x="4444576" y="317791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137" name="Oval 136"/>
            <p:cNvSpPr>
              <a:spLocks noChangeAspect="1"/>
            </p:cNvSpPr>
            <p:nvPr/>
          </p:nvSpPr>
          <p:spPr>
            <a:xfrm>
              <a:off x="4077180" y="2762456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138" name="Oval 137"/>
            <p:cNvSpPr>
              <a:spLocks noChangeAspect="1"/>
            </p:cNvSpPr>
            <p:nvPr/>
          </p:nvSpPr>
          <p:spPr>
            <a:xfrm>
              <a:off x="4609030" y="527162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139" name="Oval 138"/>
            <p:cNvSpPr>
              <a:spLocks noChangeAspect="1"/>
            </p:cNvSpPr>
            <p:nvPr/>
          </p:nvSpPr>
          <p:spPr>
            <a:xfrm>
              <a:off x="4409512" y="477132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140" name="Oval 139"/>
            <p:cNvSpPr>
              <a:spLocks noChangeAspect="1"/>
            </p:cNvSpPr>
            <p:nvPr/>
          </p:nvSpPr>
          <p:spPr>
            <a:xfrm>
              <a:off x="3726462" y="625587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141" name="Oval 140"/>
            <p:cNvSpPr>
              <a:spLocks noChangeAspect="1"/>
            </p:cNvSpPr>
            <p:nvPr/>
          </p:nvSpPr>
          <p:spPr>
            <a:xfrm>
              <a:off x="3970194" y="450185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142" name="Oval 141"/>
            <p:cNvSpPr>
              <a:spLocks noChangeAspect="1"/>
            </p:cNvSpPr>
            <p:nvPr/>
          </p:nvSpPr>
          <p:spPr>
            <a:xfrm>
              <a:off x="3742968" y="437434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143" name="Oval 142"/>
            <p:cNvSpPr>
              <a:spLocks noChangeAspect="1"/>
            </p:cNvSpPr>
            <p:nvPr/>
          </p:nvSpPr>
          <p:spPr>
            <a:xfrm>
              <a:off x="3761440" y="398471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144" name="Oval 143"/>
            <p:cNvSpPr>
              <a:spLocks noChangeAspect="1"/>
            </p:cNvSpPr>
            <p:nvPr/>
          </p:nvSpPr>
          <p:spPr>
            <a:xfrm>
              <a:off x="3529830" y="386840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145" name="Oval 144"/>
            <p:cNvSpPr>
              <a:spLocks noChangeAspect="1"/>
            </p:cNvSpPr>
            <p:nvPr/>
          </p:nvSpPr>
          <p:spPr>
            <a:xfrm>
              <a:off x="2896766" y="514868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146" name="Oval 145"/>
            <p:cNvSpPr>
              <a:spLocks noChangeAspect="1"/>
            </p:cNvSpPr>
            <p:nvPr/>
          </p:nvSpPr>
          <p:spPr>
            <a:xfrm>
              <a:off x="2752750" y="531378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147" name="Oval 146"/>
            <p:cNvSpPr>
              <a:spLocks noChangeAspect="1"/>
            </p:cNvSpPr>
            <p:nvPr/>
          </p:nvSpPr>
          <p:spPr>
            <a:xfrm>
              <a:off x="2752750" y="477068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148" name="Oval 147"/>
            <p:cNvSpPr>
              <a:spLocks noChangeAspect="1"/>
            </p:cNvSpPr>
            <p:nvPr/>
          </p:nvSpPr>
          <p:spPr>
            <a:xfrm>
              <a:off x="301250" y="499724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149" name="Oval 148"/>
            <p:cNvSpPr>
              <a:spLocks noChangeAspect="1"/>
            </p:cNvSpPr>
            <p:nvPr/>
          </p:nvSpPr>
          <p:spPr>
            <a:xfrm>
              <a:off x="742876" y="329133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150" name="Oval 149"/>
            <p:cNvSpPr>
              <a:spLocks noChangeAspect="1"/>
            </p:cNvSpPr>
            <p:nvPr/>
          </p:nvSpPr>
          <p:spPr>
            <a:xfrm>
              <a:off x="734368" y="347548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151" name="Oval 150"/>
            <p:cNvSpPr>
              <a:spLocks noChangeAspect="1"/>
            </p:cNvSpPr>
            <p:nvPr/>
          </p:nvSpPr>
          <p:spPr>
            <a:xfrm>
              <a:off x="1440678" y="349592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152" name="Oval 151"/>
            <p:cNvSpPr>
              <a:spLocks noChangeAspect="1"/>
            </p:cNvSpPr>
            <p:nvPr/>
          </p:nvSpPr>
          <p:spPr>
            <a:xfrm>
              <a:off x="1253282" y="382607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153" name="Oval 152"/>
            <p:cNvSpPr>
              <a:spLocks noChangeAspect="1"/>
            </p:cNvSpPr>
            <p:nvPr/>
          </p:nvSpPr>
          <p:spPr>
            <a:xfrm>
              <a:off x="1219374" y="379539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154" name="Oval 153"/>
            <p:cNvSpPr>
              <a:spLocks noChangeAspect="1"/>
            </p:cNvSpPr>
            <p:nvPr/>
          </p:nvSpPr>
          <p:spPr>
            <a:xfrm>
              <a:off x="1312590" y="380067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55" name="Oval 154"/>
            <p:cNvSpPr>
              <a:spLocks noChangeAspect="1"/>
            </p:cNvSpPr>
            <p:nvPr/>
          </p:nvSpPr>
          <p:spPr>
            <a:xfrm>
              <a:off x="1388790" y="389279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56" name="Oval 155"/>
            <p:cNvSpPr>
              <a:spLocks noChangeAspect="1"/>
            </p:cNvSpPr>
            <p:nvPr/>
          </p:nvSpPr>
          <p:spPr>
            <a:xfrm>
              <a:off x="1516878" y="403249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57" name="Oval 156"/>
            <p:cNvSpPr>
              <a:spLocks noChangeAspect="1"/>
            </p:cNvSpPr>
            <p:nvPr/>
          </p:nvSpPr>
          <p:spPr>
            <a:xfrm>
              <a:off x="1549822" y="397966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58" name="Oval 157"/>
            <p:cNvSpPr>
              <a:spLocks noChangeAspect="1"/>
            </p:cNvSpPr>
            <p:nvPr/>
          </p:nvSpPr>
          <p:spPr>
            <a:xfrm>
              <a:off x="1702604" y="379539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59" name="Oval 158"/>
            <p:cNvSpPr>
              <a:spLocks noChangeAspect="1"/>
            </p:cNvSpPr>
            <p:nvPr/>
          </p:nvSpPr>
          <p:spPr>
            <a:xfrm>
              <a:off x="1861354" y="368947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60" name="Oval 159"/>
            <p:cNvSpPr>
              <a:spLocks noChangeAspect="1"/>
            </p:cNvSpPr>
            <p:nvPr/>
          </p:nvSpPr>
          <p:spPr>
            <a:xfrm>
              <a:off x="1691680" y="337604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61" name="Oval 160"/>
            <p:cNvSpPr>
              <a:spLocks noChangeAspect="1"/>
            </p:cNvSpPr>
            <p:nvPr/>
          </p:nvSpPr>
          <p:spPr>
            <a:xfrm>
              <a:off x="1747760" y="418611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62" name="Oval 161"/>
            <p:cNvSpPr>
              <a:spLocks noChangeAspect="1"/>
            </p:cNvSpPr>
            <p:nvPr/>
          </p:nvSpPr>
          <p:spPr>
            <a:xfrm>
              <a:off x="1957434" y="420838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63" name="Oval 162"/>
            <p:cNvSpPr>
              <a:spLocks noChangeAspect="1"/>
            </p:cNvSpPr>
            <p:nvPr/>
          </p:nvSpPr>
          <p:spPr>
            <a:xfrm>
              <a:off x="1973362" y="4299446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64" name="Oval 163"/>
            <p:cNvSpPr>
              <a:spLocks noChangeAspect="1"/>
            </p:cNvSpPr>
            <p:nvPr/>
          </p:nvSpPr>
          <p:spPr>
            <a:xfrm>
              <a:off x="1888654" y="409612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65" name="Oval 164"/>
            <p:cNvSpPr>
              <a:spLocks noChangeAspect="1"/>
            </p:cNvSpPr>
            <p:nvPr/>
          </p:nvSpPr>
          <p:spPr>
            <a:xfrm>
              <a:off x="1979712" y="406437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66" name="Oval 165"/>
            <p:cNvSpPr>
              <a:spLocks noChangeAspect="1"/>
            </p:cNvSpPr>
            <p:nvPr/>
          </p:nvSpPr>
          <p:spPr>
            <a:xfrm>
              <a:off x="1850554" y="385469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67" name="Oval 166"/>
            <p:cNvSpPr>
              <a:spLocks noChangeAspect="1"/>
            </p:cNvSpPr>
            <p:nvPr/>
          </p:nvSpPr>
          <p:spPr>
            <a:xfrm>
              <a:off x="2376782" y="385254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68" name="Oval 167"/>
            <p:cNvSpPr>
              <a:spLocks noChangeAspect="1"/>
            </p:cNvSpPr>
            <p:nvPr/>
          </p:nvSpPr>
          <p:spPr>
            <a:xfrm>
              <a:off x="2327052" y="386104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69" name="Oval 168"/>
            <p:cNvSpPr>
              <a:spLocks noChangeAspect="1"/>
            </p:cNvSpPr>
            <p:nvPr/>
          </p:nvSpPr>
          <p:spPr>
            <a:xfrm>
              <a:off x="2339752" y="369163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70" name="Oval 169"/>
            <p:cNvSpPr>
              <a:spLocks noChangeAspect="1"/>
            </p:cNvSpPr>
            <p:nvPr/>
          </p:nvSpPr>
          <p:spPr>
            <a:xfrm>
              <a:off x="2567406" y="368947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71" name="Oval 170"/>
            <p:cNvSpPr>
              <a:spLocks noChangeAspect="1"/>
            </p:cNvSpPr>
            <p:nvPr/>
          </p:nvSpPr>
          <p:spPr>
            <a:xfrm>
              <a:off x="2405410" y="402939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72" name="Oval 171"/>
            <p:cNvSpPr>
              <a:spLocks noChangeAspect="1"/>
            </p:cNvSpPr>
            <p:nvPr/>
          </p:nvSpPr>
          <p:spPr>
            <a:xfrm>
              <a:off x="2903116" y="418298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73" name="Oval 172"/>
            <p:cNvSpPr>
              <a:spLocks noChangeAspect="1"/>
            </p:cNvSpPr>
            <p:nvPr/>
          </p:nvSpPr>
          <p:spPr>
            <a:xfrm>
              <a:off x="3055516" y="433538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74" name="Oval 173"/>
            <p:cNvSpPr>
              <a:spLocks noChangeAspect="1"/>
            </p:cNvSpPr>
            <p:nvPr/>
          </p:nvSpPr>
          <p:spPr>
            <a:xfrm>
              <a:off x="1554014" y="282850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75" name="Oval 174"/>
            <p:cNvSpPr>
              <a:spLocks noChangeAspect="1"/>
            </p:cNvSpPr>
            <p:nvPr/>
          </p:nvSpPr>
          <p:spPr>
            <a:xfrm>
              <a:off x="1387720" y="2473846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76" name="Oval 175"/>
            <p:cNvSpPr>
              <a:spLocks noChangeAspect="1"/>
            </p:cNvSpPr>
            <p:nvPr/>
          </p:nvSpPr>
          <p:spPr>
            <a:xfrm>
              <a:off x="1631302" y="2164606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77" name="Oval 176"/>
            <p:cNvSpPr>
              <a:spLocks noChangeAspect="1"/>
            </p:cNvSpPr>
            <p:nvPr/>
          </p:nvSpPr>
          <p:spPr>
            <a:xfrm>
              <a:off x="2721000" y="93940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78" name="Oval 177"/>
            <p:cNvSpPr>
              <a:spLocks noChangeAspect="1"/>
            </p:cNvSpPr>
            <p:nvPr/>
          </p:nvSpPr>
          <p:spPr>
            <a:xfrm>
              <a:off x="2699792" y="166583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79" name="Oval 178"/>
            <p:cNvSpPr>
              <a:spLocks noChangeAspect="1"/>
            </p:cNvSpPr>
            <p:nvPr/>
          </p:nvSpPr>
          <p:spPr>
            <a:xfrm>
              <a:off x="2536726" y="171135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80" name="Oval 179"/>
            <p:cNvSpPr>
              <a:spLocks noChangeAspect="1"/>
            </p:cNvSpPr>
            <p:nvPr/>
          </p:nvSpPr>
          <p:spPr>
            <a:xfrm>
              <a:off x="2965546" y="190185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81" name="Oval 180"/>
            <p:cNvSpPr>
              <a:spLocks noChangeAspect="1"/>
            </p:cNvSpPr>
            <p:nvPr/>
          </p:nvSpPr>
          <p:spPr>
            <a:xfrm>
              <a:off x="2861788" y="2157186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82" name="Oval 181"/>
            <p:cNvSpPr>
              <a:spLocks noChangeAspect="1"/>
            </p:cNvSpPr>
            <p:nvPr/>
          </p:nvSpPr>
          <p:spPr>
            <a:xfrm>
              <a:off x="3130770" y="218581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83" name="Oval 182"/>
            <p:cNvSpPr>
              <a:spLocks noChangeAspect="1"/>
            </p:cNvSpPr>
            <p:nvPr/>
          </p:nvSpPr>
          <p:spPr>
            <a:xfrm>
              <a:off x="3013224" y="2145556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84" name="Oval 183"/>
            <p:cNvSpPr>
              <a:spLocks noChangeAspect="1"/>
            </p:cNvSpPr>
            <p:nvPr/>
          </p:nvSpPr>
          <p:spPr>
            <a:xfrm>
              <a:off x="3072532" y="231390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85" name="Oval 184"/>
            <p:cNvSpPr>
              <a:spLocks noChangeAspect="1"/>
            </p:cNvSpPr>
            <p:nvPr/>
          </p:nvSpPr>
          <p:spPr>
            <a:xfrm>
              <a:off x="2725192" y="258288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86" name="Oval 185"/>
            <p:cNvSpPr>
              <a:spLocks noChangeAspect="1"/>
            </p:cNvSpPr>
            <p:nvPr/>
          </p:nvSpPr>
          <p:spPr>
            <a:xfrm>
              <a:off x="1920404" y="269299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87" name="Oval 186"/>
            <p:cNvSpPr>
              <a:spLocks noChangeAspect="1"/>
            </p:cNvSpPr>
            <p:nvPr/>
          </p:nvSpPr>
          <p:spPr>
            <a:xfrm>
              <a:off x="2060104" y="281364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88" name="Oval 187"/>
            <p:cNvSpPr>
              <a:spLocks noChangeAspect="1"/>
            </p:cNvSpPr>
            <p:nvPr/>
          </p:nvSpPr>
          <p:spPr>
            <a:xfrm>
              <a:off x="1979712" y="289319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89" name="Oval 188"/>
            <p:cNvSpPr>
              <a:spLocks noChangeAspect="1"/>
            </p:cNvSpPr>
            <p:nvPr/>
          </p:nvSpPr>
          <p:spPr>
            <a:xfrm>
              <a:off x="1867446" y="301493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90" name="Oval 189"/>
            <p:cNvSpPr>
              <a:spLocks noChangeAspect="1"/>
            </p:cNvSpPr>
            <p:nvPr/>
          </p:nvSpPr>
          <p:spPr>
            <a:xfrm>
              <a:off x="2019970" y="308801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91" name="Oval 190"/>
            <p:cNvSpPr>
              <a:spLocks noChangeAspect="1"/>
            </p:cNvSpPr>
            <p:nvPr/>
          </p:nvSpPr>
          <p:spPr>
            <a:xfrm>
              <a:off x="2098328" y="303721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92" name="Oval 191"/>
            <p:cNvSpPr>
              <a:spLocks noChangeAspect="1"/>
            </p:cNvSpPr>
            <p:nvPr/>
          </p:nvSpPr>
          <p:spPr>
            <a:xfrm>
              <a:off x="2437160" y="329026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93" name="Oval 192"/>
            <p:cNvSpPr>
              <a:spLocks noChangeAspect="1"/>
            </p:cNvSpPr>
            <p:nvPr/>
          </p:nvSpPr>
          <p:spPr>
            <a:xfrm>
              <a:off x="2540536" y="98834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94" name="Oval 193"/>
            <p:cNvSpPr>
              <a:spLocks noChangeAspect="1"/>
            </p:cNvSpPr>
            <p:nvPr/>
          </p:nvSpPr>
          <p:spPr>
            <a:xfrm>
              <a:off x="3384894" y="118646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95" name="Oval 194"/>
            <p:cNvSpPr>
              <a:spLocks noChangeAspect="1"/>
            </p:cNvSpPr>
            <p:nvPr/>
          </p:nvSpPr>
          <p:spPr>
            <a:xfrm>
              <a:off x="2785970" y="151526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96" name="Oval 195"/>
            <p:cNvSpPr>
              <a:spLocks noChangeAspect="1"/>
            </p:cNvSpPr>
            <p:nvPr/>
          </p:nvSpPr>
          <p:spPr>
            <a:xfrm>
              <a:off x="2779420" y="1794606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97" name="Oval 196"/>
            <p:cNvSpPr>
              <a:spLocks noChangeAspect="1"/>
            </p:cNvSpPr>
            <p:nvPr/>
          </p:nvSpPr>
          <p:spPr>
            <a:xfrm>
              <a:off x="3006186" y="224189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98" name="Oval 197"/>
            <p:cNvSpPr>
              <a:spLocks noChangeAspect="1"/>
            </p:cNvSpPr>
            <p:nvPr/>
          </p:nvSpPr>
          <p:spPr>
            <a:xfrm>
              <a:off x="3032474" y="236754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99" name="Oval 198"/>
            <p:cNvSpPr>
              <a:spLocks noChangeAspect="1"/>
            </p:cNvSpPr>
            <p:nvPr/>
          </p:nvSpPr>
          <p:spPr>
            <a:xfrm>
              <a:off x="2609116" y="251994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00" name="Oval 199"/>
            <p:cNvSpPr>
              <a:spLocks noChangeAspect="1"/>
            </p:cNvSpPr>
            <p:nvPr/>
          </p:nvSpPr>
          <p:spPr>
            <a:xfrm>
              <a:off x="2654072" y="240564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01" name="Oval 200"/>
            <p:cNvSpPr>
              <a:spLocks noChangeAspect="1"/>
            </p:cNvSpPr>
            <p:nvPr/>
          </p:nvSpPr>
          <p:spPr>
            <a:xfrm>
              <a:off x="2544728" y="216676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02" name="Oval 201"/>
            <p:cNvSpPr>
              <a:spLocks noChangeAspect="1"/>
            </p:cNvSpPr>
            <p:nvPr/>
          </p:nvSpPr>
          <p:spPr>
            <a:xfrm>
              <a:off x="2506628" y="229630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03" name="Oval 202"/>
            <p:cNvSpPr>
              <a:spLocks noChangeAspect="1"/>
            </p:cNvSpPr>
            <p:nvPr/>
          </p:nvSpPr>
          <p:spPr>
            <a:xfrm>
              <a:off x="2598068" y="226163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04" name="Oval 203"/>
            <p:cNvSpPr>
              <a:spLocks noChangeAspect="1"/>
            </p:cNvSpPr>
            <p:nvPr/>
          </p:nvSpPr>
          <p:spPr>
            <a:xfrm>
              <a:off x="2453288" y="178386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05" name="Oval 204"/>
            <p:cNvSpPr>
              <a:spLocks noChangeAspect="1"/>
            </p:cNvSpPr>
            <p:nvPr/>
          </p:nvSpPr>
          <p:spPr>
            <a:xfrm>
              <a:off x="2404140" y="198777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06" name="Oval 205"/>
            <p:cNvSpPr>
              <a:spLocks noChangeAspect="1"/>
            </p:cNvSpPr>
            <p:nvPr/>
          </p:nvSpPr>
          <p:spPr>
            <a:xfrm>
              <a:off x="2298224" y="207921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07" name="Oval 206"/>
            <p:cNvSpPr>
              <a:spLocks noChangeAspect="1"/>
            </p:cNvSpPr>
            <p:nvPr/>
          </p:nvSpPr>
          <p:spPr>
            <a:xfrm>
              <a:off x="2210976" y="217827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08" name="Oval 207"/>
            <p:cNvSpPr>
              <a:spLocks noChangeAspect="1"/>
            </p:cNvSpPr>
            <p:nvPr/>
          </p:nvSpPr>
          <p:spPr>
            <a:xfrm>
              <a:off x="1994952" y="2155716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09" name="Oval 208"/>
            <p:cNvSpPr>
              <a:spLocks noChangeAspect="1"/>
            </p:cNvSpPr>
            <p:nvPr/>
          </p:nvSpPr>
          <p:spPr>
            <a:xfrm>
              <a:off x="1615174" y="223877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10" name="Oval 209"/>
            <p:cNvSpPr>
              <a:spLocks noChangeAspect="1"/>
            </p:cNvSpPr>
            <p:nvPr/>
          </p:nvSpPr>
          <p:spPr>
            <a:xfrm>
              <a:off x="1767574" y="206084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11" name="Oval 210"/>
            <p:cNvSpPr>
              <a:spLocks noChangeAspect="1"/>
            </p:cNvSpPr>
            <p:nvPr/>
          </p:nvSpPr>
          <p:spPr>
            <a:xfrm>
              <a:off x="1422316" y="278747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12" name="Oval 211"/>
            <p:cNvSpPr>
              <a:spLocks noChangeAspect="1"/>
            </p:cNvSpPr>
            <p:nvPr/>
          </p:nvSpPr>
          <p:spPr>
            <a:xfrm>
              <a:off x="1584694" y="262586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13" name="Oval 212"/>
            <p:cNvSpPr>
              <a:spLocks noChangeAspect="1"/>
            </p:cNvSpPr>
            <p:nvPr/>
          </p:nvSpPr>
          <p:spPr>
            <a:xfrm>
              <a:off x="1737400" y="273254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14" name="Oval 213"/>
            <p:cNvSpPr>
              <a:spLocks noChangeAspect="1"/>
            </p:cNvSpPr>
            <p:nvPr/>
          </p:nvSpPr>
          <p:spPr>
            <a:xfrm>
              <a:off x="1975214" y="312885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15" name="Oval 214"/>
            <p:cNvSpPr>
              <a:spLocks noChangeAspect="1"/>
            </p:cNvSpPr>
            <p:nvPr/>
          </p:nvSpPr>
          <p:spPr>
            <a:xfrm>
              <a:off x="2036480" y="298171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16" name="Oval 215"/>
            <p:cNvSpPr>
              <a:spLocks noChangeAspect="1"/>
            </p:cNvSpPr>
            <p:nvPr/>
          </p:nvSpPr>
          <p:spPr>
            <a:xfrm>
              <a:off x="2255626" y="296304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17" name="Oval 216"/>
            <p:cNvSpPr>
              <a:spLocks noChangeAspect="1"/>
            </p:cNvSpPr>
            <p:nvPr/>
          </p:nvSpPr>
          <p:spPr>
            <a:xfrm>
              <a:off x="2123728" y="278092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18" name="Oval 217"/>
            <p:cNvSpPr>
              <a:spLocks noChangeAspect="1"/>
            </p:cNvSpPr>
            <p:nvPr/>
          </p:nvSpPr>
          <p:spPr>
            <a:xfrm>
              <a:off x="2013620" y="273178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19" name="Oval 218"/>
            <p:cNvSpPr>
              <a:spLocks noChangeAspect="1"/>
            </p:cNvSpPr>
            <p:nvPr/>
          </p:nvSpPr>
          <p:spPr>
            <a:xfrm>
              <a:off x="2009428" y="266739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20" name="Oval 219"/>
            <p:cNvSpPr>
              <a:spLocks noChangeAspect="1"/>
            </p:cNvSpPr>
            <p:nvPr/>
          </p:nvSpPr>
          <p:spPr>
            <a:xfrm>
              <a:off x="2013620" y="3265246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21" name="Oval 220"/>
            <p:cNvSpPr>
              <a:spLocks noChangeAspect="1"/>
            </p:cNvSpPr>
            <p:nvPr/>
          </p:nvSpPr>
          <p:spPr>
            <a:xfrm>
              <a:off x="1354500" y="3617666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22" name="Oval 221"/>
            <p:cNvSpPr>
              <a:spLocks noChangeAspect="1"/>
            </p:cNvSpPr>
            <p:nvPr/>
          </p:nvSpPr>
          <p:spPr>
            <a:xfrm>
              <a:off x="1218104" y="3716726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23" name="Oval 222"/>
            <p:cNvSpPr>
              <a:spLocks noChangeAspect="1"/>
            </p:cNvSpPr>
            <p:nvPr/>
          </p:nvSpPr>
          <p:spPr>
            <a:xfrm>
              <a:off x="1274872" y="366788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24" name="Oval 223"/>
            <p:cNvSpPr>
              <a:spLocks noChangeAspect="1"/>
            </p:cNvSpPr>
            <p:nvPr/>
          </p:nvSpPr>
          <p:spPr>
            <a:xfrm>
              <a:off x="1434892" y="353148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25" name="Oval 224"/>
            <p:cNvSpPr>
              <a:spLocks noChangeAspect="1"/>
            </p:cNvSpPr>
            <p:nvPr/>
          </p:nvSpPr>
          <p:spPr>
            <a:xfrm>
              <a:off x="732716" y="342031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26" name="Oval 225"/>
            <p:cNvSpPr>
              <a:spLocks noChangeAspect="1"/>
            </p:cNvSpPr>
            <p:nvPr/>
          </p:nvSpPr>
          <p:spPr>
            <a:xfrm>
              <a:off x="913762" y="338747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27" name="Oval 226"/>
            <p:cNvSpPr>
              <a:spLocks noChangeAspect="1"/>
            </p:cNvSpPr>
            <p:nvPr/>
          </p:nvSpPr>
          <p:spPr>
            <a:xfrm>
              <a:off x="1035682" y="3571946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28" name="Oval 227"/>
            <p:cNvSpPr>
              <a:spLocks noChangeAspect="1"/>
            </p:cNvSpPr>
            <p:nvPr/>
          </p:nvSpPr>
          <p:spPr>
            <a:xfrm>
              <a:off x="850444" y="366026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29" name="Oval 228"/>
            <p:cNvSpPr>
              <a:spLocks noChangeAspect="1"/>
            </p:cNvSpPr>
            <p:nvPr/>
          </p:nvSpPr>
          <p:spPr>
            <a:xfrm>
              <a:off x="660708" y="378980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30" name="Oval 229"/>
            <p:cNvSpPr>
              <a:spLocks noChangeAspect="1"/>
            </p:cNvSpPr>
            <p:nvPr/>
          </p:nvSpPr>
          <p:spPr>
            <a:xfrm>
              <a:off x="1106926" y="3992946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31" name="Oval 230"/>
            <p:cNvSpPr>
              <a:spLocks noChangeAspect="1"/>
            </p:cNvSpPr>
            <p:nvPr/>
          </p:nvSpPr>
          <p:spPr>
            <a:xfrm>
              <a:off x="850444" y="4175826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32" name="Oval 231"/>
            <p:cNvSpPr>
              <a:spLocks noChangeAspect="1"/>
            </p:cNvSpPr>
            <p:nvPr/>
          </p:nvSpPr>
          <p:spPr>
            <a:xfrm>
              <a:off x="1066468" y="450912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33" name="Oval 232"/>
            <p:cNvSpPr>
              <a:spLocks noChangeAspect="1"/>
            </p:cNvSpPr>
            <p:nvPr/>
          </p:nvSpPr>
          <p:spPr>
            <a:xfrm>
              <a:off x="1149524" y="458874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34" name="Oval 233"/>
            <p:cNvSpPr>
              <a:spLocks noChangeAspect="1"/>
            </p:cNvSpPr>
            <p:nvPr/>
          </p:nvSpPr>
          <p:spPr>
            <a:xfrm>
              <a:off x="1233344" y="451674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35" name="Oval 234"/>
            <p:cNvSpPr>
              <a:spLocks noChangeAspect="1"/>
            </p:cNvSpPr>
            <p:nvPr/>
          </p:nvSpPr>
          <p:spPr>
            <a:xfrm>
              <a:off x="1278300" y="452436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36" name="Oval 235"/>
            <p:cNvSpPr>
              <a:spLocks noChangeAspect="1"/>
            </p:cNvSpPr>
            <p:nvPr/>
          </p:nvSpPr>
          <p:spPr>
            <a:xfrm>
              <a:off x="1410198" y="450912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37" name="Oval 236"/>
            <p:cNvSpPr>
              <a:spLocks noChangeAspect="1"/>
            </p:cNvSpPr>
            <p:nvPr/>
          </p:nvSpPr>
          <p:spPr>
            <a:xfrm>
              <a:off x="1399150" y="398220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38" name="Oval 237"/>
            <p:cNvSpPr>
              <a:spLocks noChangeAspect="1"/>
            </p:cNvSpPr>
            <p:nvPr/>
          </p:nvSpPr>
          <p:spPr>
            <a:xfrm>
              <a:off x="1468036" y="4015806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39" name="Oval 238"/>
            <p:cNvSpPr>
              <a:spLocks noChangeAspect="1"/>
            </p:cNvSpPr>
            <p:nvPr/>
          </p:nvSpPr>
          <p:spPr>
            <a:xfrm>
              <a:off x="827584" y="4690166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40" name="Oval 239"/>
            <p:cNvSpPr>
              <a:spLocks noChangeAspect="1"/>
            </p:cNvSpPr>
            <p:nvPr/>
          </p:nvSpPr>
          <p:spPr>
            <a:xfrm>
              <a:off x="675948" y="484523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41" name="Oval 240"/>
            <p:cNvSpPr>
              <a:spLocks noChangeAspect="1"/>
            </p:cNvSpPr>
            <p:nvPr/>
          </p:nvSpPr>
          <p:spPr>
            <a:xfrm>
              <a:off x="936622" y="489202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42" name="Oval 241"/>
            <p:cNvSpPr>
              <a:spLocks noChangeAspect="1"/>
            </p:cNvSpPr>
            <p:nvPr/>
          </p:nvSpPr>
          <p:spPr>
            <a:xfrm>
              <a:off x="1160266" y="491488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43" name="Oval 242"/>
            <p:cNvSpPr>
              <a:spLocks noChangeAspect="1"/>
            </p:cNvSpPr>
            <p:nvPr/>
          </p:nvSpPr>
          <p:spPr>
            <a:xfrm>
              <a:off x="1944734" y="508252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44" name="Oval 243"/>
            <p:cNvSpPr>
              <a:spLocks noChangeAspect="1"/>
            </p:cNvSpPr>
            <p:nvPr/>
          </p:nvSpPr>
          <p:spPr>
            <a:xfrm>
              <a:off x="1994952" y="477848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45" name="Oval 244"/>
            <p:cNvSpPr>
              <a:spLocks noChangeAspect="1"/>
            </p:cNvSpPr>
            <p:nvPr/>
          </p:nvSpPr>
          <p:spPr>
            <a:xfrm>
              <a:off x="1835696" y="469466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46" name="Oval 245"/>
            <p:cNvSpPr>
              <a:spLocks noChangeAspect="1"/>
            </p:cNvSpPr>
            <p:nvPr/>
          </p:nvSpPr>
          <p:spPr>
            <a:xfrm>
              <a:off x="1596812" y="4345366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47" name="Oval 246"/>
            <p:cNvSpPr>
              <a:spLocks noChangeAspect="1"/>
            </p:cNvSpPr>
            <p:nvPr/>
          </p:nvSpPr>
          <p:spPr>
            <a:xfrm>
              <a:off x="1733972" y="4345366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48" name="Oval 247"/>
            <p:cNvSpPr>
              <a:spLocks noChangeAspect="1"/>
            </p:cNvSpPr>
            <p:nvPr/>
          </p:nvSpPr>
          <p:spPr>
            <a:xfrm>
              <a:off x="1555284" y="417087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49" name="Oval 248"/>
            <p:cNvSpPr>
              <a:spLocks noChangeAspect="1"/>
            </p:cNvSpPr>
            <p:nvPr/>
          </p:nvSpPr>
          <p:spPr>
            <a:xfrm>
              <a:off x="1501944" y="3917816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50" name="Oval 249"/>
            <p:cNvSpPr>
              <a:spLocks noChangeAspect="1"/>
            </p:cNvSpPr>
            <p:nvPr/>
          </p:nvSpPr>
          <p:spPr>
            <a:xfrm>
              <a:off x="1449368" y="390569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51" name="Oval 250"/>
            <p:cNvSpPr>
              <a:spLocks noChangeAspect="1"/>
            </p:cNvSpPr>
            <p:nvPr/>
          </p:nvSpPr>
          <p:spPr>
            <a:xfrm>
              <a:off x="1563668" y="366369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52" name="Oval 251"/>
            <p:cNvSpPr>
              <a:spLocks noChangeAspect="1"/>
            </p:cNvSpPr>
            <p:nvPr/>
          </p:nvSpPr>
          <p:spPr>
            <a:xfrm>
              <a:off x="1418888" y="374751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53" name="Oval 252"/>
            <p:cNvSpPr>
              <a:spLocks noChangeAspect="1"/>
            </p:cNvSpPr>
            <p:nvPr/>
          </p:nvSpPr>
          <p:spPr>
            <a:xfrm>
              <a:off x="1468036" y="370491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54" name="Oval 253"/>
            <p:cNvSpPr>
              <a:spLocks noChangeAspect="1"/>
            </p:cNvSpPr>
            <p:nvPr/>
          </p:nvSpPr>
          <p:spPr>
            <a:xfrm>
              <a:off x="1698230" y="406183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55" name="Oval 254"/>
            <p:cNvSpPr>
              <a:spLocks noChangeAspect="1"/>
            </p:cNvSpPr>
            <p:nvPr/>
          </p:nvSpPr>
          <p:spPr>
            <a:xfrm>
              <a:off x="1596812" y="404659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56" name="Oval 255"/>
            <p:cNvSpPr>
              <a:spLocks noChangeAspect="1"/>
            </p:cNvSpPr>
            <p:nvPr/>
          </p:nvSpPr>
          <p:spPr>
            <a:xfrm>
              <a:off x="1794168" y="414458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57" name="Oval 256"/>
            <p:cNvSpPr>
              <a:spLocks noChangeAspect="1"/>
            </p:cNvSpPr>
            <p:nvPr/>
          </p:nvSpPr>
          <p:spPr>
            <a:xfrm>
              <a:off x="1999908" y="442499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58" name="Oval 257"/>
            <p:cNvSpPr>
              <a:spLocks noChangeAspect="1"/>
            </p:cNvSpPr>
            <p:nvPr/>
          </p:nvSpPr>
          <p:spPr>
            <a:xfrm>
              <a:off x="2088750" y="431938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59" name="Oval 258"/>
            <p:cNvSpPr>
              <a:spLocks noChangeAspect="1"/>
            </p:cNvSpPr>
            <p:nvPr/>
          </p:nvSpPr>
          <p:spPr>
            <a:xfrm>
              <a:off x="2066960" y="445578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60" name="Oval 259"/>
            <p:cNvSpPr>
              <a:spLocks noChangeAspect="1"/>
            </p:cNvSpPr>
            <p:nvPr/>
          </p:nvSpPr>
          <p:spPr>
            <a:xfrm>
              <a:off x="2100868" y="422870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61" name="Oval 260"/>
            <p:cNvSpPr>
              <a:spLocks noChangeAspect="1"/>
            </p:cNvSpPr>
            <p:nvPr/>
          </p:nvSpPr>
          <p:spPr>
            <a:xfrm>
              <a:off x="2131348" y="407707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62" name="Oval 261"/>
            <p:cNvSpPr>
              <a:spLocks noChangeAspect="1"/>
            </p:cNvSpPr>
            <p:nvPr/>
          </p:nvSpPr>
          <p:spPr>
            <a:xfrm>
              <a:off x="1850936" y="341688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63" name="Oval 262"/>
            <p:cNvSpPr>
              <a:spLocks noChangeAspect="1"/>
            </p:cNvSpPr>
            <p:nvPr/>
          </p:nvSpPr>
          <p:spPr>
            <a:xfrm>
              <a:off x="2026196" y="348127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64" name="Oval 263"/>
            <p:cNvSpPr>
              <a:spLocks noChangeAspect="1"/>
            </p:cNvSpPr>
            <p:nvPr/>
          </p:nvSpPr>
          <p:spPr>
            <a:xfrm>
              <a:off x="2134776" y="3565396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65" name="Oval 264"/>
            <p:cNvSpPr>
              <a:spLocks noChangeAspect="1"/>
            </p:cNvSpPr>
            <p:nvPr/>
          </p:nvSpPr>
          <p:spPr>
            <a:xfrm>
              <a:off x="2187046" y="373120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66" name="Oval 265"/>
            <p:cNvSpPr>
              <a:spLocks noChangeAspect="1"/>
            </p:cNvSpPr>
            <p:nvPr/>
          </p:nvSpPr>
          <p:spPr>
            <a:xfrm>
              <a:off x="2471650" y="3595876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67" name="Oval 266"/>
            <p:cNvSpPr>
              <a:spLocks noChangeAspect="1"/>
            </p:cNvSpPr>
            <p:nvPr/>
          </p:nvSpPr>
          <p:spPr>
            <a:xfrm>
              <a:off x="2555776" y="384580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68" name="Oval 267"/>
            <p:cNvSpPr>
              <a:spLocks noChangeAspect="1"/>
            </p:cNvSpPr>
            <p:nvPr/>
          </p:nvSpPr>
          <p:spPr>
            <a:xfrm>
              <a:off x="2244884" y="401923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69" name="Oval 268"/>
            <p:cNvSpPr>
              <a:spLocks noChangeAspect="1"/>
            </p:cNvSpPr>
            <p:nvPr/>
          </p:nvSpPr>
          <p:spPr>
            <a:xfrm>
              <a:off x="2608046" y="405421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70" name="Oval 269"/>
            <p:cNvSpPr>
              <a:spLocks noChangeAspect="1"/>
            </p:cNvSpPr>
            <p:nvPr/>
          </p:nvSpPr>
          <p:spPr>
            <a:xfrm>
              <a:off x="2445668" y="395934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71" name="Oval 270"/>
            <p:cNvSpPr>
              <a:spLocks noChangeAspect="1"/>
            </p:cNvSpPr>
            <p:nvPr/>
          </p:nvSpPr>
          <p:spPr>
            <a:xfrm>
              <a:off x="2699792" y="389807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72" name="Oval 271"/>
            <p:cNvSpPr>
              <a:spLocks noChangeAspect="1"/>
            </p:cNvSpPr>
            <p:nvPr/>
          </p:nvSpPr>
          <p:spPr>
            <a:xfrm>
              <a:off x="2745512" y="332308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73" name="Oval 272"/>
            <p:cNvSpPr>
              <a:spLocks noChangeAspect="1"/>
            </p:cNvSpPr>
            <p:nvPr/>
          </p:nvSpPr>
          <p:spPr>
            <a:xfrm>
              <a:off x="2914746" y="342214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74" name="Oval 273"/>
            <p:cNvSpPr>
              <a:spLocks noChangeAspect="1"/>
            </p:cNvSpPr>
            <p:nvPr/>
          </p:nvSpPr>
          <p:spPr>
            <a:xfrm>
              <a:off x="3127342" y="423945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75" name="Oval 274"/>
            <p:cNvSpPr>
              <a:spLocks noChangeAspect="1"/>
            </p:cNvSpPr>
            <p:nvPr/>
          </p:nvSpPr>
          <p:spPr>
            <a:xfrm>
              <a:off x="3384894" y="4352986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76" name="Oval 275"/>
            <p:cNvSpPr>
              <a:spLocks noChangeAspect="1"/>
            </p:cNvSpPr>
            <p:nvPr/>
          </p:nvSpPr>
          <p:spPr>
            <a:xfrm>
              <a:off x="2931056" y="458005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77" name="Oval 276"/>
            <p:cNvSpPr>
              <a:spLocks noChangeAspect="1"/>
            </p:cNvSpPr>
            <p:nvPr/>
          </p:nvSpPr>
          <p:spPr>
            <a:xfrm>
              <a:off x="2506628" y="470197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78" name="Oval 277"/>
            <p:cNvSpPr>
              <a:spLocks noChangeAspect="1"/>
            </p:cNvSpPr>
            <p:nvPr/>
          </p:nvSpPr>
          <p:spPr>
            <a:xfrm>
              <a:off x="2483768" y="474800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79" name="Oval 278"/>
            <p:cNvSpPr>
              <a:spLocks noChangeAspect="1"/>
            </p:cNvSpPr>
            <p:nvPr/>
          </p:nvSpPr>
          <p:spPr>
            <a:xfrm>
              <a:off x="2706342" y="529671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80" name="Oval 279"/>
            <p:cNvSpPr>
              <a:spLocks noChangeAspect="1"/>
            </p:cNvSpPr>
            <p:nvPr/>
          </p:nvSpPr>
          <p:spPr>
            <a:xfrm>
              <a:off x="2661692" y="479715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81" name="Oval 280"/>
            <p:cNvSpPr>
              <a:spLocks noChangeAspect="1"/>
            </p:cNvSpPr>
            <p:nvPr/>
          </p:nvSpPr>
          <p:spPr>
            <a:xfrm>
              <a:off x="2787040" y="493431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82" name="Oval 281"/>
            <p:cNvSpPr>
              <a:spLocks noChangeAspect="1"/>
            </p:cNvSpPr>
            <p:nvPr/>
          </p:nvSpPr>
          <p:spPr>
            <a:xfrm>
              <a:off x="2376782" y="479715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83" name="Oval 282"/>
            <p:cNvSpPr>
              <a:spLocks noChangeAspect="1"/>
            </p:cNvSpPr>
            <p:nvPr/>
          </p:nvSpPr>
          <p:spPr>
            <a:xfrm>
              <a:off x="2316892" y="4622656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84" name="Oval 283"/>
            <p:cNvSpPr>
              <a:spLocks noChangeAspect="1"/>
            </p:cNvSpPr>
            <p:nvPr/>
          </p:nvSpPr>
          <p:spPr>
            <a:xfrm>
              <a:off x="2438812" y="464208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85" name="Oval 284"/>
            <p:cNvSpPr>
              <a:spLocks noChangeAspect="1"/>
            </p:cNvSpPr>
            <p:nvPr/>
          </p:nvSpPr>
          <p:spPr>
            <a:xfrm>
              <a:off x="2260124" y="445128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86" name="Oval 285"/>
            <p:cNvSpPr>
              <a:spLocks noChangeAspect="1"/>
            </p:cNvSpPr>
            <p:nvPr/>
          </p:nvSpPr>
          <p:spPr>
            <a:xfrm>
              <a:off x="2282984" y="450912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87" name="Oval 286"/>
            <p:cNvSpPr>
              <a:spLocks noChangeAspect="1"/>
            </p:cNvSpPr>
            <p:nvPr/>
          </p:nvSpPr>
          <p:spPr>
            <a:xfrm>
              <a:off x="2490318" y="4338816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88" name="Oval 287"/>
            <p:cNvSpPr>
              <a:spLocks noChangeAspect="1"/>
            </p:cNvSpPr>
            <p:nvPr/>
          </p:nvSpPr>
          <p:spPr>
            <a:xfrm>
              <a:off x="2642718" y="422108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89" name="Oval 288"/>
            <p:cNvSpPr>
              <a:spLocks noChangeAspect="1"/>
            </p:cNvSpPr>
            <p:nvPr/>
          </p:nvSpPr>
          <p:spPr>
            <a:xfrm>
              <a:off x="3642446" y="605831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90" name="Oval 289"/>
            <p:cNvSpPr>
              <a:spLocks noChangeAspect="1"/>
            </p:cNvSpPr>
            <p:nvPr/>
          </p:nvSpPr>
          <p:spPr>
            <a:xfrm>
              <a:off x="4927542" y="610434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91" name="Oval 290"/>
            <p:cNvSpPr>
              <a:spLocks noChangeAspect="1"/>
            </p:cNvSpPr>
            <p:nvPr/>
          </p:nvSpPr>
          <p:spPr>
            <a:xfrm>
              <a:off x="4139952" y="515719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92" name="Oval 291"/>
            <p:cNvSpPr>
              <a:spLocks noChangeAspect="1"/>
            </p:cNvSpPr>
            <p:nvPr/>
          </p:nvSpPr>
          <p:spPr>
            <a:xfrm>
              <a:off x="4192222" y="494116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93" name="Oval 292"/>
            <p:cNvSpPr>
              <a:spLocks noChangeAspect="1"/>
            </p:cNvSpPr>
            <p:nvPr/>
          </p:nvSpPr>
          <p:spPr>
            <a:xfrm>
              <a:off x="4211960" y="5058896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94" name="Oval 293"/>
            <p:cNvSpPr>
              <a:spLocks noChangeAspect="1"/>
            </p:cNvSpPr>
            <p:nvPr/>
          </p:nvSpPr>
          <p:spPr>
            <a:xfrm>
              <a:off x="4124712" y="483525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95" name="Oval 294"/>
            <p:cNvSpPr>
              <a:spLocks noChangeAspect="1"/>
            </p:cNvSpPr>
            <p:nvPr/>
          </p:nvSpPr>
          <p:spPr>
            <a:xfrm>
              <a:off x="4075564" y="470990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96" name="Oval 295"/>
            <p:cNvSpPr>
              <a:spLocks noChangeAspect="1"/>
            </p:cNvSpPr>
            <p:nvPr/>
          </p:nvSpPr>
          <p:spPr>
            <a:xfrm>
              <a:off x="4644008" y="5701706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97" name="Oval 296"/>
            <p:cNvSpPr>
              <a:spLocks noChangeAspect="1"/>
            </p:cNvSpPr>
            <p:nvPr/>
          </p:nvSpPr>
          <p:spPr>
            <a:xfrm>
              <a:off x="4211960" y="458112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98" name="Oval 297"/>
            <p:cNvSpPr>
              <a:spLocks noChangeAspect="1"/>
            </p:cNvSpPr>
            <p:nvPr/>
          </p:nvSpPr>
          <p:spPr>
            <a:xfrm>
              <a:off x="4109472" y="456588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299" name="Oval 298"/>
            <p:cNvSpPr>
              <a:spLocks noChangeAspect="1"/>
            </p:cNvSpPr>
            <p:nvPr/>
          </p:nvSpPr>
          <p:spPr>
            <a:xfrm>
              <a:off x="3779912" y="423632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300" name="Oval 299"/>
            <p:cNvSpPr>
              <a:spLocks noChangeAspect="1"/>
            </p:cNvSpPr>
            <p:nvPr/>
          </p:nvSpPr>
          <p:spPr>
            <a:xfrm>
              <a:off x="3897640" y="436586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301" name="Oval 300"/>
            <p:cNvSpPr>
              <a:spLocks noChangeAspect="1"/>
            </p:cNvSpPr>
            <p:nvPr/>
          </p:nvSpPr>
          <p:spPr>
            <a:xfrm>
              <a:off x="3510548" y="415670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302" name="Oval 301"/>
            <p:cNvSpPr>
              <a:spLocks noChangeAspect="1"/>
            </p:cNvSpPr>
            <p:nvPr/>
          </p:nvSpPr>
          <p:spPr>
            <a:xfrm>
              <a:off x="3419872" y="292494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303" name="Oval 302"/>
            <p:cNvSpPr>
              <a:spLocks noChangeAspect="1"/>
            </p:cNvSpPr>
            <p:nvPr/>
          </p:nvSpPr>
          <p:spPr>
            <a:xfrm>
              <a:off x="3779912" y="3250006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304" name="Oval 303"/>
            <p:cNvSpPr>
              <a:spLocks noChangeAspect="1"/>
            </p:cNvSpPr>
            <p:nvPr/>
          </p:nvSpPr>
          <p:spPr>
            <a:xfrm>
              <a:off x="3635896" y="353803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305" name="Oval 304"/>
            <p:cNvSpPr>
              <a:spLocks noChangeAspect="1"/>
            </p:cNvSpPr>
            <p:nvPr/>
          </p:nvSpPr>
          <p:spPr>
            <a:xfrm>
              <a:off x="3858470" y="403447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306" name="Oval 305"/>
            <p:cNvSpPr>
              <a:spLocks noChangeAspect="1"/>
            </p:cNvSpPr>
            <p:nvPr/>
          </p:nvSpPr>
          <p:spPr>
            <a:xfrm>
              <a:off x="4211960" y="393648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307" name="Oval 306"/>
            <p:cNvSpPr>
              <a:spLocks noChangeAspect="1"/>
            </p:cNvSpPr>
            <p:nvPr/>
          </p:nvSpPr>
          <p:spPr>
            <a:xfrm>
              <a:off x="4283968" y="378904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308" name="Oval 307"/>
            <p:cNvSpPr>
              <a:spLocks noChangeAspect="1"/>
            </p:cNvSpPr>
            <p:nvPr/>
          </p:nvSpPr>
          <p:spPr>
            <a:xfrm>
              <a:off x="4609030" y="362216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309" name="Oval 308"/>
            <p:cNvSpPr>
              <a:spLocks noChangeAspect="1"/>
            </p:cNvSpPr>
            <p:nvPr/>
          </p:nvSpPr>
          <p:spPr>
            <a:xfrm>
              <a:off x="4716016" y="376618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310" name="Oval 309"/>
            <p:cNvSpPr>
              <a:spLocks noChangeAspect="1"/>
            </p:cNvSpPr>
            <p:nvPr/>
          </p:nvSpPr>
          <p:spPr>
            <a:xfrm>
              <a:off x="4984310" y="368312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311" name="Oval 310"/>
            <p:cNvSpPr>
              <a:spLocks noChangeAspect="1"/>
            </p:cNvSpPr>
            <p:nvPr/>
          </p:nvSpPr>
          <p:spPr>
            <a:xfrm>
              <a:off x="5117584" y="368655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312" name="Oval 311"/>
            <p:cNvSpPr>
              <a:spLocks noChangeAspect="1"/>
            </p:cNvSpPr>
            <p:nvPr/>
          </p:nvSpPr>
          <p:spPr>
            <a:xfrm>
              <a:off x="5148064" y="350100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313" name="Oval 312"/>
            <p:cNvSpPr>
              <a:spLocks noChangeAspect="1"/>
            </p:cNvSpPr>
            <p:nvPr/>
          </p:nvSpPr>
          <p:spPr>
            <a:xfrm>
              <a:off x="4932040" y="328498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314" name="Oval 313"/>
            <p:cNvSpPr>
              <a:spLocks noChangeAspect="1"/>
            </p:cNvSpPr>
            <p:nvPr/>
          </p:nvSpPr>
          <p:spPr>
            <a:xfrm>
              <a:off x="5977182" y="458112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315" name="Oval 314"/>
            <p:cNvSpPr>
              <a:spLocks noChangeAspect="1"/>
            </p:cNvSpPr>
            <p:nvPr/>
          </p:nvSpPr>
          <p:spPr>
            <a:xfrm>
              <a:off x="5940152" y="476667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316" name="Oval 315"/>
            <p:cNvSpPr>
              <a:spLocks noChangeAspect="1"/>
            </p:cNvSpPr>
            <p:nvPr/>
          </p:nvSpPr>
          <p:spPr>
            <a:xfrm>
              <a:off x="6883876" y="385762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317" name="Oval 316"/>
            <p:cNvSpPr>
              <a:spLocks noChangeAspect="1"/>
            </p:cNvSpPr>
            <p:nvPr/>
          </p:nvSpPr>
          <p:spPr>
            <a:xfrm>
              <a:off x="7144550" y="373227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318" name="Oval 317"/>
            <p:cNvSpPr>
              <a:spLocks noChangeAspect="1"/>
            </p:cNvSpPr>
            <p:nvPr/>
          </p:nvSpPr>
          <p:spPr>
            <a:xfrm>
              <a:off x="7394482" y="349338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319" name="Oval 318"/>
            <p:cNvSpPr>
              <a:spLocks noChangeAspect="1"/>
            </p:cNvSpPr>
            <p:nvPr/>
          </p:nvSpPr>
          <p:spPr>
            <a:xfrm>
              <a:off x="6970054" y="340164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320" name="Oval 319"/>
            <p:cNvSpPr>
              <a:spLocks noChangeAspect="1"/>
            </p:cNvSpPr>
            <p:nvPr/>
          </p:nvSpPr>
          <p:spPr>
            <a:xfrm>
              <a:off x="6262092" y="328498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321" name="Oval 320"/>
            <p:cNvSpPr>
              <a:spLocks noChangeAspect="1"/>
            </p:cNvSpPr>
            <p:nvPr/>
          </p:nvSpPr>
          <p:spPr>
            <a:xfrm>
              <a:off x="9096386" y="209787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322" name="Oval 321"/>
            <p:cNvSpPr>
              <a:spLocks noChangeAspect="1"/>
            </p:cNvSpPr>
            <p:nvPr/>
          </p:nvSpPr>
          <p:spPr>
            <a:xfrm>
              <a:off x="5817926" y="303848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323" name="Oval 322"/>
            <p:cNvSpPr>
              <a:spLocks noChangeAspect="1"/>
            </p:cNvSpPr>
            <p:nvPr/>
          </p:nvSpPr>
          <p:spPr>
            <a:xfrm>
              <a:off x="5431598" y="269680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324" name="Oval 323"/>
            <p:cNvSpPr>
              <a:spLocks noChangeAspect="1"/>
            </p:cNvSpPr>
            <p:nvPr/>
          </p:nvSpPr>
          <p:spPr>
            <a:xfrm>
              <a:off x="4442154" y="2984834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325" name="Oval 324"/>
            <p:cNvSpPr>
              <a:spLocks noChangeAspect="1"/>
            </p:cNvSpPr>
            <p:nvPr/>
          </p:nvSpPr>
          <p:spPr>
            <a:xfrm>
              <a:off x="4234820" y="3211906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326" name="Oval 325"/>
            <p:cNvSpPr>
              <a:spLocks noChangeAspect="1"/>
            </p:cNvSpPr>
            <p:nvPr/>
          </p:nvSpPr>
          <p:spPr>
            <a:xfrm>
              <a:off x="4696278" y="3046100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327" name="Oval 326"/>
            <p:cNvSpPr>
              <a:spLocks noChangeAspect="1"/>
            </p:cNvSpPr>
            <p:nvPr/>
          </p:nvSpPr>
          <p:spPr>
            <a:xfrm>
              <a:off x="3931548" y="231390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  <p:sp>
          <p:nvSpPr>
            <p:cNvPr id="328" name="Oval 327"/>
            <p:cNvSpPr>
              <a:spLocks noChangeAspect="1"/>
            </p:cNvSpPr>
            <p:nvPr/>
          </p:nvSpPr>
          <p:spPr>
            <a:xfrm>
              <a:off x="2612544" y="3018742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329" name="Oval 328"/>
            <p:cNvSpPr>
              <a:spLocks noChangeAspect="1"/>
            </p:cNvSpPr>
            <p:nvPr/>
          </p:nvSpPr>
          <p:spPr>
            <a:xfrm>
              <a:off x="4370146" y="5736378"/>
              <a:ext cx="34978" cy="34978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b="1" dirty="0"/>
            </a:p>
          </p:txBody>
        </p:sp>
      </p:grpSp>
      <p:sp>
        <p:nvSpPr>
          <p:cNvPr id="15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91ECD-3C5D-4903-BA94-648BA1B5202F}" type="slidenum">
              <a:rPr lang="tr-TR" smtClean="0"/>
              <a:pPr/>
              <a:t>11</a:t>
            </a:fld>
            <a:endParaRPr lang="tr-TR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From Antalya Airport... </a:t>
            </a:r>
            <a:endParaRPr lang="tr-TR" dirty="0"/>
          </a:p>
        </p:txBody>
      </p:sp>
      <p:sp>
        <p:nvSpPr>
          <p:cNvPr id="331" name="Textfeld 56"/>
          <p:cNvSpPr txBox="1"/>
          <p:nvPr/>
        </p:nvSpPr>
        <p:spPr>
          <a:xfrm>
            <a:off x="46611" y="6345717"/>
            <a:ext cx="5514097" cy="220807"/>
          </a:xfrm>
          <a:prstGeom prst="rect">
            <a:avLst/>
          </a:prstGeom>
          <a:noFill/>
        </p:spPr>
        <p:txBody>
          <a:bodyPr wrap="square" lIns="0" tIns="48376" rIns="96751" bIns="48376" rtlCol="0">
            <a:spAutoFit/>
          </a:bodyPr>
          <a:lstStyle/>
          <a:p>
            <a:pPr indent="-237744" fontAlgn="auto">
              <a:spcBef>
                <a:spcPts val="0"/>
              </a:spcBef>
              <a:spcAft>
                <a:spcPts val="0"/>
              </a:spcAft>
            </a:pPr>
            <a:r>
              <a:rPr lang="tr-TR" sz="800" dirty="0">
                <a:solidFill>
                  <a:schemeClr val="bg1"/>
                </a:solidFill>
                <a:latin typeface="Arial"/>
              </a:rPr>
              <a:t>Source</a:t>
            </a:r>
            <a:r>
              <a:rPr lang="de-DE" sz="800" dirty="0">
                <a:solidFill>
                  <a:schemeClr val="bg1"/>
                </a:solidFill>
                <a:latin typeface="Arial"/>
              </a:rPr>
              <a:t>: </a:t>
            </a:r>
            <a:r>
              <a:rPr lang="tr-TR" sz="800" dirty="0">
                <a:solidFill>
                  <a:schemeClr val="bg1"/>
                </a:solidFill>
                <a:latin typeface="Arial"/>
              </a:rPr>
              <a:t>G</a:t>
            </a:r>
            <a:r>
              <a:rPr lang="tr-TR" sz="800" dirty="0" smtClean="0">
                <a:solidFill>
                  <a:schemeClr val="bg1"/>
                </a:solidFill>
                <a:latin typeface="Arial"/>
              </a:rPr>
              <a:t>oogle Maps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332" name="Rectangle 331"/>
          <p:cNvSpPr>
            <a:spLocks noChangeArrowheads="1"/>
          </p:cNvSpPr>
          <p:nvPr/>
        </p:nvSpPr>
        <p:spPr bwMode="auto">
          <a:xfrm>
            <a:off x="1173956" y="2470407"/>
            <a:ext cx="4326826" cy="969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</a:pPr>
            <a:r>
              <a:rPr lang="tr-TR" sz="4200" b="1" dirty="0">
                <a:solidFill>
                  <a:srgbClr val="152A45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Narrow" pitchFamily="34" charset="0"/>
              </a:rPr>
              <a:t>...</a:t>
            </a:r>
            <a:r>
              <a:rPr lang="tr-TR" sz="4200" b="1" dirty="0" smtClean="0">
                <a:solidFill>
                  <a:srgbClr val="152A45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Narrow" pitchFamily="34" charset="0"/>
              </a:rPr>
              <a:t>in </a:t>
            </a:r>
            <a:r>
              <a:rPr lang="tr-TR" sz="6000" b="1" dirty="0" smtClean="0">
                <a:solidFill>
                  <a:srgbClr val="152A45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Narrow" pitchFamily="34" charset="0"/>
              </a:rPr>
              <a:t>63</a:t>
            </a:r>
            <a:r>
              <a:rPr lang="tr-TR" sz="4200" b="1" dirty="0" smtClean="0">
                <a:solidFill>
                  <a:srgbClr val="152A45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Narrow" pitchFamily="34" charset="0"/>
              </a:rPr>
              <a:t> </a:t>
            </a:r>
            <a:r>
              <a:rPr lang="tr-TR" sz="4200" b="1" dirty="0">
                <a:solidFill>
                  <a:srgbClr val="152A45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Narrow" pitchFamily="34" charset="0"/>
              </a:rPr>
              <a:t>Countries...</a:t>
            </a:r>
          </a:p>
        </p:txBody>
      </p:sp>
      <p:sp>
        <p:nvSpPr>
          <p:cNvPr id="333" name="Rectangle 332"/>
          <p:cNvSpPr>
            <a:spLocks noChangeArrowheads="1"/>
          </p:cNvSpPr>
          <p:nvPr/>
        </p:nvSpPr>
        <p:spPr bwMode="auto">
          <a:xfrm>
            <a:off x="395536" y="1628800"/>
            <a:ext cx="5291833" cy="969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tr-TR" sz="4200" b="1" dirty="0" smtClean="0">
                <a:solidFill>
                  <a:srgbClr val="152A45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Narrow" pitchFamily="34" charset="0"/>
              </a:rPr>
              <a:t>...to </a:t>
            </a:r>
            <a:r>
              <a:rPr lang="tr-TR" sz="6000" b="1" dirty="0" smtClean="0">
                <a:solidFill>
                  <a:srgbClr val="152A45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Narrow" pitchFamily="34" charset="0"/>
              </a:rPr>
              <a:t>286</a:t>
            </a:r>
            <a:r>
              <a:rPr lang="tr-TR" sz="4200" b="1" dirty="0" smtClean="0">
                <a:solidFill>
                  <a:srgbClr val="152A45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Narrow" pitchFamily="34" charset="0"/>
              </a:rPr>
              <a:t> Destinations...</a:t>
            </a:r>
            <a:endParaRPr lang="tr-TR" sz="4200" b="1" dirty="0">
              <a:solidFill>
                <a:srgbClr val="152A45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 Narrow" pitchFamily="34" charset="0"/>
            </a:endParaRPr>
          </a:p>
        </p:txBody>
      </p:sp>
      <p:sp>
        <p:nvSpPr>
          <p:cNvPr id="334" name="Rectangle 333"/>
          <p:cNvSpPr>
            <a:spLocks noChangeArrowheads="1"/>
          </p:cNvSpPr>
          <p:nvPr/>
        </p:nvSpPr>
        <p:spPr bwMode="auto">
          <a:xfrm>
            <a:off x="1777573" y="3312014"/>
            <a:ext cx="6970178" cy="969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</a:pPr>
            <a:r>
              <a:rPr lang="tr-TR" sz="4200" b="1" dirty="0">
                <a:solidFill>
                  <a:srgbClr val="152A45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Narrow" pitchFamily="34" charset="0"/>
              </a:rPr>
              <a:t>...</a:t>
            </a:r>
            <a:r>
              <a:rPr lang="tr-TR" sz="4200" b="1" dirty="0" smtClean="0">
                <a:solidFill>
                  <a:srgbClr val="152A45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Narrow" pitchFamily="34" charset="0"/>
              </a:rPr>
              <a:t>with more </a:t>
            </a:r>
            <a:r>
              <a:rPr lang="tr-TR" sz="4200" b="1" dirty="0">
                <a:solidFill>
                  <a:srgbClr val="152A45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Narrow" pitchFamily="34" charset="0"/>
              </a:rPr>
              <a:t>than </a:t>
            </a:r>
            <a:r>
              <a:rPr lang="tr-TR" sz="6000" b="1" dirty="0" smtClean="0">
                <a:solidFill>
                  <a:srgbClr val="152A45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Narrow" pitchFamily="34" charset="0"/>
              </a:rPr>
              <a:t>125</a:t>
            </a:r>
            <a:r>
              <a:rPr lang="tr-TR" sz="4200" b="1" dirty="0" smtClean="0">
                <a:solidFill>
                  <a:srgbClr val="152A45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Narrow" pitchFamily="34" charset="0"/>
              </a:rPr>
              <a:t> Airlines...</a:t>
            </a:r>
          </a:p>
        </p:txBody>
      </p:sp>
      <p:sp>
        <p:nvSpPr>
          <p:cNvPr id="5" name="Rectangle 4"/>
          <p:cNvSpPr/>
          <p:nvPr/>
        </p:nvSpPr>
        <p:spPr>
          <a:xfrm>
            <a:off x="2812707" y="4298358"/>
            <a:ext cx="5509842" cy="7063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</a:pPr>
            <a:r>
              <a:rPr lang="tr-TR" sz="4200" b="1" dirty="0">
                <a:solidFill>
                  <a:srgbClr val="152A45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Narrow" pitchFamily="34" charset="0"/>
              </a:rPr>
              <a:t>...</a:t>
            </a:r>
            <a:r>
              <a:rPr lang="tr-TR" sz="4200" b="1" dirty="0" smtClean="0">
                <a:solidFill>
                  <a:srgbClr val="152A45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Narrow" pitchFamily="34" charset="0"/>
              </a:rPr>
              <a:t>continuously </a:t>
            </a:r>
            <a:r>
              <a:rPr lang="tr-TR" sz="4200" b="1" dirty="0">
                <a:solidFill>
                  <a:srgbClr val="152A45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Narrow" pitchFamily="34" charset="0"/>
              </a:rPr>
              <a:t>growing...</a:t>
            </a:r>
          </a:p>
        </p:txBody>
      </p:sp>
    </p:spTree>
    <p:extLst>
      <p:ext uri="{BB962C8B-B14F-4D97-AF65-F5344CB8AC3E}">
        <p14:creationId xmlns:p14="http://schemas.microsoft.com/office/powerpoint/2010/main" val="860890770"/>
      </p:ext>
    </p:extLst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850"/>
                                        <p:tgtEl>
                                          <p:spTgt spid="3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850"/>
                            </p:stCondLst>
                            <p:childTnLst>
                              <p:par>
                                <p:cTn id="9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850"/>
                                        <p:tgtEl>
                                          <p:spTgt spid="3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700"/>
                            </p:stCondLst>
                            <p:childTnLst>
                              <p:par>
                                <p:cTn id="13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850"/>
                                        <p:tgtEl>
                                          <p:spTgt spid="3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" dur="8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2" grpId="0"/>
      <p:bldP spid="333" grpId="0"/>
      <p:bldP spid="334" grpId="0"/>
      <p:bldP spid="5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78789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3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91ECD-3C5D-4903-BA94-648BA1B5202F}" type="slidenum">
              <a:rPr lang="tr-TR" smtClean="0"/>
              <a:pPr/>
              <a:t>12</a:t>
            </a:fld>
            <a:endParaRPr lang="tr-TR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tr-TR" dirty="0" smtClean="0"/>
              <a:t>Major Airports in Turkey</a:t>
            </a:r>
            <a:endParaRPr lang="tr-TR" dirty="0"/>
          </a:p>
        </p:txBody>
      </p:sp>
      <p:sp>
        <p:nvSpPr>
          <p:cNvPr id="219" name="Text Box 19"/>
          <p:cNvSpPr txBox="1">
            <a:spLocks noChangeArrowheads="1"/>
          </p:cNvSpPr>
          <p:nvPr/>
        </p:nvSpPr>
        <p:spPr bwMode="auto">
          <a:xfrm>
            <a:off x="6726878" y="4494458"/>
            <a:ext cx="2342016" cy="132343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2000" b="1" dirty="0" smtClean="0">
                <a:solidFill>
                  <a:srgbClr val="182A47"/>
                </a:solidFill>
                <a:latin typeface="Arial Narrow" pitchFamily="34" charset="0"/>
              </a:rPr>
              <a:t>.</a:t>
            </a:r>
            <a:r>
              <a:rPr lang="tr-TR" sz="2000" b="1" dirty="0" smtClean="0">
                <a:solidFill>
                  <a:srgbClr val="182A47"/>
                </a:solidFill>
                <a:latin typeface="Arial Narrow" pitchFamily="34" charset="0"/>
              </a:rPr>
              <a:t>..and the biggest tourist</a:t>
            </a:r>
            <a:r>
              <a:rPr lang="en-US" sz="2000" b="1" dirty="0" smtClean="0">
                <a:solidFill>
                  <a:srgbClr val="182A47"/>
                </a:solidFill>
                <a:latin typeface="Arial Narrow" pitchFamily="34" charset="0"/>
              </a:rPr>
              <a:t> </a:t>
            </a:r>
            <a:r>
              <a:rPr lang="tr-TR" sz="2000" b="1" dirty="0" smtClean="0">
                <a:solidFill>
                  <a:srgbClr val="182A47"/>
                </a:solidFill>
                <a:latin typeface="Arial Narrow" pitchFamily="34" charset="0"/>
              </a:rPr>
              <a:t/>
            </a:r>
            <a:br>
              <a:rPr lang="tr-TR" sz="2000" b="1" dirty="0" smtClean="0">
                <a:solidFill>
                  <a:srgbClr val="182A47"/>
                </a:solidFill>
                <a:latin typeface="Arial Narrow" pitchFamily="34" charset="0"/>
              </a:rPr>
            </a:br>
            <a:r>
              <a:rPr lang="tr-TR" sz="2000" b="1" dirty="0" smtClean="0">
                <a:solidFill>
                  <a:srgbClr val="182A47"/>
                </a:solidFill>
                <a:latin typeface="Arial Narrow" pitchFamily="34" charset="0"/>
              </a:rPr>
              <a:t>destination </a:t>
            </a:r>
            <a:r>
              <a:rPr lang="tr-TR" sz="2000" b="1" dirty="0">
                <a:solidFill>
                  <a:srgbClr val="182A47"/>
                </a:solidFill>
                <a:latin typeface="Arial Narrow" pitchFamily="34" charset="0"/>
              </a:rPr>
              <a:t>in </a:t>
            </a:r>
            <a:r>
              <a:rPr lang="tr-TR" sz="2000" b="1" dirty="0" smtClean="0">
                <a:solidFill>
                  <a:srgbClr val="182A47"/>
                </a:solidFill>
                <a:latin typeface="Arial Narrow" pitchFamily="34" charset="0"/>
              </a:rPr>
              <a:t>the Mediterranean</a:t>
            </a:r>
            <a:r>
              <a:rPr lang="en-US" sz="2000" b="1" dirty="0" smtClean="0">
                <a:solidFill>
                  <a:srgbClr val="182A47"/>
                </a:solidFill>
                <a:latin typeface="Arial Narrow" pitchFamily="34" charset="0"/>
              </a:rPr>
              <a:t> basin</a:t>
            </a:r>
            <a:r>
              <a:rPr lang="tr-TR" sz="2000" b="1" dirty="0" smtClean="0">
                <a:solidFill>
                  <a:srgbClr val="182A47"/>
                </a:solidFill>
                <a:latin typeface="Arial Narrow" pitchFamily="34" charset="0"/>
              </a:rPr>
              <a:t>.</a:t>
            </a:r>
            <a:endParaRPr lang="en-US" sz="2000" b="1" dirty="0">
              <a:solidFill>
                <a:srgbClr val="182A47"/>
              </a:solidFill>
              <a:latin typeface="Arial Narrow" pitchFamily="34" charset="0"/>
            </a:endParaRPr>
          </a:p>
        </p:txBody>
      </p:sp>
      <p:sp>
        <p:nvSpPr>
          <p:cNvPr id="224" name="Textfeld 56"/>
          <p:cNvSpPr txBox="1"/>
          <p:nvPr/>
        </p:nvSpPr>
        <p:spPr>
          <a:xfrm>
            <a:off x="46611" y="6345717"/>
            <a:ext cx="5514097" cy="220807"/>
          </a:xfrm>
          <a:prstGeom prst="rect">
            <a:avLst/>
          </a:prstGeom>
          <a:noFill/>
        </p:spPr>
        <p:txBody>
          <a:bodyPr wrap="square" lIns="0" tIns="48376" rIns="96751" bIns="48376" rtlCol="0">
            <a:spAutoFit/>
          </a:bodyPr>
          <a:lstStyle/>
          <a:p>
            <a:pPr indent="-237744" fontAlgn="auto">
              <a:spcBef>
                <a:spcPts val="0"/>
              </a:spcBef>
              <a:spcAft>
                <a:spcPts val="0"/>
              </a:spcAft>
            </a:pPr>
            <a:r>
              <a:rPr lang="tr-TR" sz="800" dirty="0">
                <a:solidFill>
                  <a:schemeClr val="bg1"/>
                </a:solidFill>
                <a:latin typeface="Arial"/>
              </a:rPr>
              <a:t>Source</a:t>
            </a:r>
            <a:r>
              <a:rPr lang="de-DE" sz="800" dirty="0">
                <a:solidFill>
                  <a:schemeClr val="bg1"/>
                </a:solidFill>
                <a:latin typeface="Arial"/>
              </a:rPr>
              <a:t>: </a:t>
            </a:r>
            <a:r>
              <a:rPr lang="tr-TR" sz="800" dirty="0" smtClean="0">
                <a:solidFill>
                  <a:schemeClr val="bg1"/>
                </a:solidFill>
                <a:latin typeface="Arial"/>
              </a:rPr>
              <a:t>DHMII</a:t>
            </a:r>
            <a:r>
              <a:rPr lang="tr-TR" sz="800" dirty="0">
                <a:solidFill>
                  <a:schemeClr val="bg1"/>
                </a:solidFill>
                <a:latin typeface="Arial"/>
              </a:rPr>
              <a:t>, </a:t>
            </a:r>
            <a:r>
              <a:rPr lang="tr-TR" sz="800" dirty="0" smtClean="0">
                <a:solidFill>
                  <a:schemeClr val="bg1"/>
                </a:solidFill>
                <a:latin typeface="Arial"/>
              </a:rPr>
              <a:t>www.estadisticasaena.es; </a:t>
            </a:r>
            <a:r>
              <a:rPr lang="nn-NO" sz="800" dirty="0">
                <a:solidFill>
                  <a:schemeClr val="bg1"/>
                </a:solidFill>
                <a:latin typeface="Arial"/>
              </a:rPr>
              <a:t>ICF internal data for AYT </a:t>
            </a:r>
            <a:r>
              <a:rPr lang="nn-NO" sz="800" dirty="0" smtClean="0">
                <a:solidFill>
                  <a:schemeClr val="bg1"/>
                </a:solidFill>
                <a:latin typeface="Arial"/>
              </a:rPr>
              <a:t>pax</a:t>
            </a:r>
            <a:r>
              <a:rPr lang="tr-TR" sz="800" dirty="0" smtClean="0">
                <a:solidFill>
                  <a:schemeClr val="bg1"/>
                </a:solidFill>
                <a:latin typeface="Arial"/>
              </a:rPr>
              <a:t> 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30772" name="Text Box 19"/>
          <p:cNvSpPr txBox="1">
            <a:spLocks noChangeArrowheads="1"/>
          </p:cNvSpPr>
          <p:nvPr/>
        </p:nvSpPr>
        <p:spPr bwMode="auto">
          <a:xfrm>
            <a:off x="3995936" y="3285944"/>
            <a:ext cx="4979988" cy="120032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>
            <a:spAutoFit/>
          </a:bodyPr>
          <a:lstStyle/>
          <a:p>
            <a:pPr algn="ctr">
              <a:spcBef>
                <a:spcPts val="0"/>
              </a:spcBef>
            </a:pPr>
            <a:r>
              <a:rPr lang="en-US" sz="2400" b="1" dirty="0" smtClean="0">
                <a:solidFill>
                  <a:srgbClr val="182A47"/>
                </a:solidFill>
                <a:latin typeface="Arial Narrow" pitchFamily="34" charset="0"/>
              </a:rPr>
              <a:t>Antalya</a:t>
            </a:r>
            <a:r>
              <a:rPr lang="tr-TR" sz="2400" b="1" dirty="0" smtClean="0">
                <a:solidFill>
                  <a:srgbClr val="182A47"/>
                </a:solidFill>
                <a:latin typeface="Arial Narrow" pitchFamily="34" charset="0"/>
              </a:rPr>
              <a:t> Airport </a:t>
            </a:r>
            <a:r>
              <a:rPr lang="tr-TR" sz="2400" b="1" dirty="0">
                <a:solidFill>
                  <a:srgbClr val="182A47"/>
                </a:solidFill>
                <a:latin typeface="Arial Narrow" pitchFamily="34" charset="0"/>
              </a:rPr>
              <a:t>is the </a:t>
            </a:r>
            <a:r>
              <a:rPr lang="tr-TR" sz="2400" b="1" dirty="0" smtClean="0">
                <a:solidFill>
                  <a:srgbClr val="182A47"/>
                </a:solidFill>
                <a:latin typeface="Arial Narrow" pitchFamily="34" charset="0"/>
              </a:rPr>
              <a:t>2</a:t>
            </a:r>
            <a:r>
              <a:rPr lang="tr-TR" sz="2400" b="1" baseline="30000" dirty="0" smtClean="0">
                <a:solidFill>
                  <a:srgbClr val="182A47"/>
                </a:solidFill>
                <a:latin typeface="Arial Narrow" pitchFamily="34" charset="0"/>
              </a:rPr>
              <a:t>nd</a:t>
            </a:r>
            <a:r>
              <a:rPr lang="en-US" sz="2400" b="1" dirty="0">
                <a:solidFill>
                  <a:srgbClr val="182A47"/>
                </a:solidFill>
                <a:latin typeface="Arial Narrow" pitchFamily="34" charset="0"/>
              </a:rPr>
              <a:t> </a:t>
            </a:r>
            <a:r>
              <a:rPr lang="tr-TR" sz="2400" b="1" dirty="0" smtClean="0">
                <a:solidFill>
                  <a:srgbClr val="182A47"/>
                </a:solidFill>
                <a:latin typeface="Arial Narrow" pitchFamily="34" charset="0"/>
              </a:rPr>
              <a:t>biggest </a:t>
            </a:r>
            <a:r>
              <a:rPr lang="tr-TR" sz="2400" b="1" dirty="0">
                <a:solidFill>
                  <a:srgbClr val="182A47"/>
                </a:solidFill>
                <a:latin typeface="Arial Narrow" pitchFamily="34" charset="0"/>
              </a:rPr>
              <a:t>airport </a:t>
            </a:r>
            <a:r>
              <a:rPr lang="tr-TR" sz="2400" b="1" dirty="0" smtClean="0">
                <a:solidFill>
                  <a:srgbClr val="182A47"/>
                </a:solidFill>
                <a:latin typeface="Arial Narrow" pitchFamily="34" charset="0"/>
              </a:rPr>
              <a:t>in Turkey, </a:t>
            </a:r>
          </a:p>
          <a:p>
            <a:pPr algn="ctr">
              <a:spcBef>
                <a:spcPts val="0"/>
              </a:spcBef>
            </a:pPr>
            <a:r>
              <a:rPr lang="tr-TR" sz="2400" b="1" dirty="0" smtClean="0">
                <a:solidFill>
                  <a:srgbClr val="182A47"/>
                </a:solidFill>
                <a:latin typeface="Arial Narrow" pitchFamily="34" charset="0"/>
              </a:rPr>
              <a:t>1</a:t>
            </a:r>
            <a:r>
              <a:rPr lang="tr-TR" sz="2400" b="1" baseline="30000" dirty="0">
                <a:solidFill>
                  <a:srgbClr val="182A47"/>
                </a:solidFill>
                <a:latin typeface="Arial Narrow" pitchFamily="34" charset="0"/>
              </a:rPr>
              <a:t>st</a:t>
            </a:r>
            <a:r>
              <a:rPr lang="tr-TR" sz="2400" b="1" dirty="0" smtClean="0">
                <a:solidFill>
                  <a:srgbClr val="182A47"/>
                </a:solidFill>
                <a:latin typeface="Arial Narrow" pitchFamily="34" charset="0"/>
              </a:rPr>
              <a:t> in international tourist arrivals</a:t>
            </a:r>
            <a:endParaRPr lang="en-US" sz="2000" b="1" dirty="0">
              <a:solidFill>
                <a:srgbClr val="182A47"/>
              </a:solidFill>
              <a:latin typeface="Arial Narrow" pitchFamily="34" charset="0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4125094" y="1208710"/>
            <a:ext cx="4608512" cy="2171847"/>
            <a:chOff x="4125094" y="1200200"/>
            <a:chExt cx="4608512" cy="2171847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094" y="1200200"/>
              <a:ext cx="4608512" cy="2171847"/>
            </a:xfrm>
            <a:prstGeom prst="rect">
              <a:avLst/>
            </a:prstGeom>
            <a:effectLst>
              <a:softEdge rad="127000"/>
            </a:effectLst>
          </p:spPr>
        </p:pic>
        <p:sp>
          <p:nvSpPr>
            <p:cNvPr id="311" name="Textfeld 252"/>
            <p:cNvSpPr txBox="1"/>
            <p:nvPr/>
          </p:nvSpPr>
          <p:spPr>
            <a:xfrm>
              <a:off x="5619134" y="1869324"/>
              <a:ext cx="560857" cy="13849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wrap="square" lIns="0" tIns="0" rIns="0" bIns="0" rtlCol="0" anchor="ctr">
              <a:spAutoFit/>
            </a:bodyPr>
            <a:lstStyle>
              <a:defPPr>
                <a:defRPr lang="tr-TR"/>
              </a:defPPr>
              <a:lvl1pPr algn="ctr">
                <a:defRPr sz="900" b="1">
                  <a:solidFill>
                    <a:srgbClr val="152A45"/>
                  </a:solidFill>
                  <a:latin typeface="Arial" pitchFamily="34" charset="0"/>
                  <a:cs typeface="Arial" pitchFamily="34" charset="0"/>
                </a:defRPr>
              </a:lvl1pPr>
            </a:lstStyle>
            <a:p>
              <a:r>
                <a:rPr lang="de-DE" u="sng" dirty="0"/>
                <a:t>ANKARA</a:t>
              </a:r>
              <a:endParaRPr lang="en-GB" u="sng" dirty="0"/>
            </a:p>
          </p:txBody>
        </p:sp>
        <p:sp>
          <p:nvSpPr>
            <p:cNvPr id="312" name="Textfeld 242"/>
            <p:cNvSpPr txBox="1"/>
            <p:nvPr/>
          </p:nvSpPr>
          <p:spPr>
            <a:xfrm>
              <a:off x="4727805" y="3104224"/>
              <a:ext cx="514381" cy="13849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wrap="square" lIns="0" tIns="0" rIns="0" bIns="0" rtlCol="0" anchor="ctr">
              <a:spAutoFit/>
            </a:bodyPr>
            <a:lstStyle>
              <a:defPPr>
                <a:defRPr lang="tr-TR"/>
              </a:defPPr>
              <a:lvl1pPr algn="ctr">
                <a:defRPr sz="900" b="1">
                  <a:solidFill>
                    <a:srgbClr val="152A45"/>
                  </a:solidFill>
                  <a:latin typeface="Arial" pitchFamily="34" charset="0"/>
                  <a:cs typeface="Arial" pitchFamily="34" charset="0"/>
                </a:defRPr>
              </a:lvl1pPr>
            </a:lstStyle>
            <a:p>
              <a:r>
                <a:rPr lang="tr-TR" dirty="0"/>
                <a:t>Dalaman</a:t>
              </a:r>
              <a:endParaRPr lang="en-GB" dirty="0"/>
            </a:p>
          </p:txBody>
        </p:sp>
        <p:sp>
          <p:nvSpPr>
            <p:cNvPr id="313" name="Oval 312"/>
            <p:cNvSpPr>
              <a:spLocks noChangeAspect="1"/>
            </p:cNvSpPr>
            <p:nvPr/>
          </p:nvSpPr>
          <p:spPr>
            <a:xfrm>
              <a:off x="4938975" y="3037584"/>
              <a:ext cx="73206" cy="73206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315" name="Textfeld 58"/>
            <p:cNvSpPr txBox="1"/>
            <p:nvPr/>
          </p:nvSpPr>
          <p:spPr>
            <a:xfrm>
              <a:off x="5071659" y="2803715"/>
              <a:ext cx="609602" cy="184666"/>
            </a:xfrm>
            <a:prstGeom prst="rect">
              <a:avLst/>
            </a:prstGeom>
            <a:solidFill>
              <a:srgbClr val="152A45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wrap="square" lIns="0" tIns="0" rIns="0" bIns="0" rtlCol="0" anchor="ctr">
              <a:spAutoFit/>
            </a:bodyPr>
            <a:lstStyle>
              <a:defPPr>
                <a:defRPr lang="tr-TR"/>
              </a:defPPr>
              <a:lvl1pPr algn="ctr">
                <a:defRPr sz="900" b="1">
                  <a:solidFill>
                    <a:srgbClr val="152A45"/>
                  </a:solidFill>
                  <a:latin typeface="Arial" pitchFamily="34" charset="0"/>
                  <a:cs typeface="Arial" pitchFamily="34" charset="0"/>
                </a:defRPr>
              </a:lvl1pPr>
            </a:lstStyle>
            <a:p>
              <a:r>
                <a:rPr lang="tr-TR" sz="1200" dirty="0" smtClean="0">
                  <a:solidFill>
                    <a:schemeClr val="bg1"/>
                  </a:solidFill>
                </a:rPr>
                <a:t>Antalya</a:t>
              </a:r>
              <a:endParaRPr lang="en-GB" sz="1200" dirty="0">
                <a:solidFill>
                  <a:schemeClr val="bg1"/>
                </a:solidFill>
              </a:endParaRPr>
            </a:p>
          </p:txBody>
        </p:sp>
        <p:sp>
          <p:nvSpPr>
            <p:cNvPr id="316" name="Textfeld 242"/>
            <p:cNvSpPr txBox="1"/>
            <p:nvPr/>
          </p:nvSpPr>
          <p:spPr>
            <a:xfrm>
              <a:off x="4322072" y="2790060"/>
              <a:ext cx="511624" cy="13849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wrap="square" lIns="0" tIns="0" rIns="0" bIns="0" rtlCol="0" anchor="ctr">
              <a:spAutoFit/>
            </a:bodyPr>
            <a:lstStyle>
              <a:defPPr>
                <a:defRPr lang="tr-TR"/>
              </a:defPPr>
              <a:lvl1pPr algn="ctr">
                <a:defRPr sz="900" b="1">
                  <a:solidFill>
                    <a:srgbClr val="152A45"/>
                  </a:solidFill>
                  <a:latin typeface="Arial" pitchFamily="34" charset="0"/>
                  <a:cs typeface="Arial" pitchFamily="34" charset="0"/>
                </a:defRPr>
              </a:lvl1pPr>
            </a:lstStyle>
            <a:p>
              <a:r>
                <a:rPr lang="tr-TR" dirty="0"/>
                <a:t>Bodrum</a:t>
              </a:r>
              <a:endParaRPr lang="en-GB" dirty="0"/>
            </a:p>
          </p:txBody>
        </p:sp>
        <p:sp>
          <p:nvSpPr>
            <p:cNvPr id="317" name="Textfeld 244"/>
            <p:cNvSpPr txBox="1"/>
            <p:nvPr/>
          </p:nvSpPr>
          <p:spPr>
            <a:xfrm>
              <a:off x="5033519" y="1593768"/>
              <a:ext cx="833699" cy="13849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wrap="square" lIns="0" tIns="0" rIns="0" bIns="0" rtlCol="0" anchor="ctr">
              <a:spAutoFit/>
            </a:bodyPr>
            <a:lstStyle>
              <a:defPPr>
                <a:defRPr lang="tr-TR"/>
              </a:defPPr>
              <a:lvl1pPr algn="ctr">
                <a:defRPr sz="900" b="1">
                  <a:solidFill>
                    <a:srgbClr val="152A45"/>
                  </a:solidFill>
                  <a:latin typeface="Arial" pitchFamily="34" charset="0"/>
                  <a:cs typeface="Arial" pitchFamily="34" charset="0"/>
                </a:defRPr>
              </a:lvl1pPr>
            </a:lstStyle>
            <a:p>
              <a:r>
                <a:rPr lang="tr-TR" dirty="0" smtClean="0"/>
                <a:t>Istanbul </a:t>
              </a:r>
              <a:r>
                <a:rPr lang="tr-TR" dirty="0"/>
                <a:t>SAW</a:t>
              </a:r>
              <a:endParaRPr lang="en-GB" dirty="0"/>
            </a:p>
          </p:txBody>
        </p:sp>
        <p:sp>
          <p:nvSpPr>
            <p:cNvPr id="319" name="Oval 318"/>
            <p:cNvSpPr>
              <a:spLocks noChangeAspect="1"/>
            </p:cNvSpPr>
            <p:nvPr/>
          </p:nvSpPr>
          <p:spPr>
            <a:xfrm>
              <a:off x="4548206" y="2923952"/>
              <a:ext cx="59895" cy="59895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320" name="Textfeld 244"/>
            <p:cNvSpPr txBox="1"/>
            <p:nvPr/>
          </p:nvSpPr>
          <p:spPr>
            <a:xfrm>
              <a:off x="4513869" y="1427018"/>
              <a:ext cx="669259" cy="13849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wrap="square" lIns="0" tIns="0" rIns="0" bIns="0" rtlCol="0" anchor="ctr">
              <a:spAutoFit/>
            </a:bodyPr>
            <a:lstStyle>
              <a:defPPr>
                <a:defRPr lang="tr-TR"/>
              </a:defPPr>
              <a:lvl1pPr algn="ctr">
                <a:defRPr sz="900" b="1">
                  <a:solidFill>
                    <a:srgbClr val="152A45"/>
                  </a:solidFill>
                  <a:latin typeface="Arial" pitchFamily="34" charset="0"/>
                  <a:cs typeface="Arial" pitchFamily="34" charset="0"/>
                </a:defRPr>
              </a:lvl1pPr>
            </a:lstStyle>
            <a:p>
              <a:r>
                <a:rPr lang="tr-TR" dirty="0" smtClean="0"/>
                <a:t>Istanbul </a:t>
              </a:r>
              <a:r>
                <a:rPr lang="tr-TR" dirty="0"/>
                <a:t>IST</a:t>
              </a:r>
              <a:endParaRPr lang="en-GB" dirty="0"/>
            </a:p>
          </p:txBody>
        </p:sp>
        <p:sp>
          <p:nvSpPr>
            <p:cNvPr id="321" name="Textfeld 248"/>
            <p:cNvSpPr txBox="1"/>
            <p:nvPr/>
          </p:nvSpPr>
          <p:spPr>
            <a:xfrm>
              <a:off x="6313361" y="2810649"/>
              <a:ext cx="389766" cy="13849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wrap="square" lIns="0" tIns="0" rIns="0" bIns="0" rtlCol="0" anchor="ctr">
              <a:spAutoFit/>
            </a:bodyPr>
            <a:lstStyle>
              <a:defPPr>
                <a:defRPr lang="tr-TR"/>
              </a:defPPr>
              <a:lvl1pPr algn="ctr">
                <a:defRPr sz="900" b="1">
                  <a:solidFill>
                    <a:srgbClr val="152A45"/>
                  </a:solidFill>
                  <a:latin typeface="Arial" pitchFamily="34" charset="0"/>
                  <a:cs typeface="Arial" pitchFamily="34" charset="0"/>
                </a:defRPr>
              </a:lvl1pPr>
            </a:lstStyle>
            <a:p>
              <a:r>
                <a:rPr lang="de-DE" dirty="0"/>
                <a:t>Adana</a:t>
              </a:r>
              <a:endParaRPr lang="en-GB" dirty="0"/>
            </a:p>
          </p:txBody>
        </p:sp>
        <p:sp>
          <p:nvSpPr>
            <p:cNvPr id="322" name="Oval 321"/>
            <p:cNvSpPr>
              <a:spLocks noChangeAspect="1"/>
            </p:cNvSpPr>
            <p:nvPr/>
          </p:nvSpPr>
          <p:spPr>
            <a:xfrm>
              <a:off x="5307676" y="2971035"/>
              <a:ext cx="139755" cy="139755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323" name="Textfeld 242"/>
            <p:cNvSpPr txBox="1"/>
            <p:nvPr/>
          </p:nvSpPr>
          <p:spPr>
            <a:xfrm>
              <a:off x="4330508" y="2359548"/>
              <a:ext cx="340129" cy="13849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wrap="square" lIns="0" tIns="0" rIns="0" bIns="0" rtlCol="0" anchor="ctr">
              <a:spAutoFit/>
            </a:bodyPr>
            <a:lstStyle>
              <a:defPPr>
                <a:defRPr lang="tr-TR"/>
              </a:defPPr>
              <a:lvl1pPr algn="ctr">
                <a:defRPr sz="900" b="1">
                  <a:solidFill>
                    <a:srgbClr val="152A45"/>
                  </a:solidFill>
                  <a:latin typeface="Arial" pitchFamily="34" charset="0"/>
                  <a:cs typeface="Arial" pitchFamily="34" charset="0"/>
                </a:defRPr>
              </a:lvl1pPr>
            </a:lstStyle>
            <a:p>
              <a:r>
                <a:rPr lang="de-DE" dirty="0"/>
                <a:t>Izmir</a:t>
              </a:r>
              <a:endParaRPr lang="en-GB" dirty="0"/>
            </a:p>
          </p:txBody>
        </p:sp>
        <p:sp>
          <p:nvSpPr>
            <p:cNvPr id="324" name="Oval 323"/>
            <p:cNvSpPr>
              <a:spLocks noChangeAspect="1"/>
            </p:cNvSpPr>
            <p:nvPr/>
          </p:nvSpPr>
          <p:spPr>
            <a:xfrm>
              <a:off x="4776148" y="1547466"/>
              <a:ext cx="153366" cy="153366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325" name="Oval 324"/>
            <p:cNvSpPr>
              <a:spLocks noChangeAspect="1"/>
            </p:cNvSpPr>
            <p:nvPr/>
          </p:nvSpPr>
          <p:spPr>
            <a:xfrm>
              <a:off x="4917347" y="1599018"/>
              <a:ext cx="116462" cy="116462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326" name="Oval 325"/>
            <p:cNvSpPr>
              <a:spLocks noChangeAspect="1"/>
            </p:cNvSpPr>
            <p:nvPr/>
          </p:nvSpPr>
          <p:spPr>
            <a:xfrm>
              <a:off x="6471641" y="2942252"/>
              <a:ext cx="73206" cy="73206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318" name="Oval 317"/>
            <p:cNvSpPr>
              <a:spLocks noChangeAspect="1"/>
            </p:cNvSpPr>
            <p:nvPr/>
          </p:nvSpPr>
          <p:spPr>
            <a:xfrm>
              <a:off x="4446140" y="2488521"/>
              <a:ext cx="99825" cy="99825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314" name="Oval 313"/>
            <p:cNvSpPr>
              <a:spLocks noChangeAspect="1"/>
            </p:cNvSpPr>
            <p:nvPr/>
          </p:nvSpPr>
          <p:spPr>
            <a:xfrm>
              <a:off x="5849853" y="1995882"/>
              <a:ext cx="99825" cy="99825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4067944" y="4477944"/>
            <a:ext cx="2687782" cy="1337589"/>
            <a:chOff x="4211960" y="4437112"/>
            <a:chExt cx="2687782" cy="1337589"/>
          </a:xfrm>
        </p:grpSpPr>
        <p:pic>
          <p:nvPicPr>
            <p:cNvPr id="12" name="Picture 11"/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sharpenSoften amount="1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6093"/>
            <a:stretch/>
          </p:blipFill>
          <p:spPr>
            <a:xfrm>
              <a:off x="4211960" y="4437112"/>
              <a:ext cx="2687782" cy="1337589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</p:pic>
        <p:sp>
          <p:nvSpPr>
            <p:cNvPr id="327" name="Textfeld 58"/>
            <p:cNvSpPr txBox="1"/>
            <p:nvPr/>
          </p:nvSpPr>
          <p:spPr>
            <a:xfrm>
              <a:off x="4593410" y="4602248"/>
              <a:ext cx="623138" cy="184666"/>
            </a:xfrm>
            <a:prstGeom prst="rect">
              <a:avLst/>
            </a:prstGeom>
            <a:solidFill>
              <a:srgbClr val="152A45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wrap="square" lIns="0" tIns="0" rIns="0" bIns="0" rtlCol="0" anchor="ctr">
              <a:spAutoFit/>
            </a:bodyPr>
            <a:lstStyle>
              <a:defPPr>
                <a:defRPr lang="tr-TR"/>
              </a:defPPr>
              <a:lvl1pPr algn="ctr">
                <a:defRPr sz="900" b="1">
                  <a:solidFill>
                    <a:srgbClr val="152A45"/>
                  </a:solidFill>
                  <a:latin typeface="Arial" pitchFamily="34" charset="0"/>
                  <a:cs typeface="Arial" pitchFamily="34" charset="0"/>
                </a:defRPr>
              </a:lvl1pPr>
            </a:lstStyle>
            <a:p>
              <a:r>
                <a:rPr lang="de-DE" sz="1200" dirty="0">
                  <a:solidFill>
                    <a:schemeClr val="bg1"/>
                  </a:solidFill>
                </a:rPr>
                <a:t>Antalya</a:t>
              </a:r>
              <a:endParaRPr lang="en-GB" sz="1200" dirty="0">
                <a:solidFill>
                  <a:schemeClr val="bg1"/>
                </a:solidFill>
              </a:endParaRPr>
            </a:p>
          </p:txBody>
        </p:sp>
        <p:sp>
          <p:nvSpPr>
            <p:cNvPr id="328" name="Textfeld 58"/>
            <p:cNvSpPr txBox="1"/>
            <p:nvPr/>
          </p:nvSpPr>
          <p:spPr>
            <a:xfrm>
              <a:off x="5331772" y="4802669"/>
              <a:ext cx="386006" cy="13849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wrap="square" lIns="0" tIns="0" rIns="0" bIns="0" rtlCol="0" anchor="ctr">
              <a:spAutoFit/>
            </a:bodyPr>
            <a:lstStyle>
              <a:defPPr>
                <a:defRPr lang="tr-TR"/>
              </a:defPPr>
              <a:lvl1pPr algn="ctr">
                <a:defRPr sz="900" b="1">
                  <a:solidFill>
                    <a:srgbClr val="152A45"/>
                  </a:solidFill>
                  <a:latin typeface="Arial" pitchFamily="34" charset="0"/>
                  <a:cs typeface="Arial" pitchFamily="34" charset="0"/>
                </a:defRPr>
              </a:lvl1pPr>
            </a:lstStyle>
            <a:p>
              <a:r>
                <a:rPr lang="tr-TR" dirty="0"/>
                <a:t>Kundu</a:t>
              </a:r>
              <a:endParaRPr lang="en-GB" dirty="0"/>
            </a:p>
          </p:txBody>
        </p:sp>
        <p:sp>
          <p:nvSpPr>
            <p:cNvPr id="329" name="Textfeld 58"/>
            <p:cNvSpPr txBox="1"/>
            <p:nvPr/>
          </p:nvSpPr>
          <p:spPr>
            <a:xfrm>
              <a:off x="5167829" y="4965247"/>
              <a:ext cx="399583" cy="13849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wrap="square" lIns="0" tIns="0" rIns="0" bIns="0" rtlCol="0" anchor="ctr">
              <a:spAutoFit/>
            </a:bodyPr>
            <a:lstStyle>
              <a:defPPr>
                <a:defRPr lang="tr-TR"/>
              </a:defPPr>
              <a:lvl1pPr algn="ctr">
                <a:defRPr sz="900" b="1">
                  <a:solidFill>
                    <a:srgbClr val="152A45"/>
                  </a:solidFill>
                  <a:latin typeface="Arial" pitchFamily="34" charset="0"/>
                  <a:cs typeface="Arial" pitchFamily="34" charset="0"/>
                </a:defRPr>
              </a:lvl1pPr>
            </a:lstStyle>
            <a:p>
              <a:r>
                <a:rPr lang="tr-TR" dirty="0"/>
                <a:t>Kemer</a:t>
              </a:r>
              <a:endParaRPr lang="en-GB" dirty="0"/>
            </a:p>
          </p:txBody>
        </p:sp>
        <p:sp>
          <p:nvSpPr>
            <p:cNvPr id="330" name="Textfeld 58"/>
            <p:cNvSpPr txBox="1"/>
            <p:nvPr/>
          </p:nvSpPr>
          <p:spPr>
            <a:xfrm>
              <a:off x="5534684" y="4625332"/>
              <a:ext cx="360040" cy="13849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wrap="square" lIns="0" tIns="0" rIns="0" bIns="0" rtlCol="0" anchor="ctr">
              <a:spAutoFit/>
            </a:bodyPr>
            <a:lstStyle>
              <a:defPPr>
                <a:defRPr lang="tr-TR"/>
              </a:defPPr>
              <a:lvl1pPr algn="ctr">
                <a:defRPr sz="900" b="1">
                  <a:solidFill>
                    <a:srgbClr val="152A45"/>
                  </a:solidFill>
                  <a:latin typeface="Arial" pitchFamily="34" charset="0"/>
                  <a:cs typeface="Arial" pitchFamily="34" charset="0"/>
                </a:defRPr>
              </a:lvl1pPr>
            </a:lstStyle>
            <a:p>
              <a:r>
                <a:rPr lang="tr-TR" dirty="0"/>
                <a:t>Belek</a:t>
              </a:r>
              <a:endParaRPr lang="en-GB" dirty="0"/>
            </a:p>
          </p:txBody>
        </p:sp>
        <p:sp>
          <p:nvSpPr>
            <p:cNvPr id="331" name="Textfeld 58"/>
            <p:cNvSpPr txBox="1"/>
            <p:nvPr/>
          </p:nvSpPr>
          <p:spPr>
            <a:xfrm>
              <a:off x="5745935" y="4868327"/>
              <a:ext cx="319183" cy="13849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wrap="square" lIns="0" tIns="0" rIns="0" bIns="0" rtlCol="0" anchor="ctr">
              <a:spAutoFit/>
            </a:bodyPr>
            <a:lstStyle>
              <a:defPPr>
                <a:defRPr lang="tr-TR"/>
              </a:defPPr>
              <a:lvl1pPr algn="ctr">
                <a:defRPr sz="900" b="1">
                  <a:solidFill>
                    <a:srgbClr val="152A45"/>
                  </a:solidFill>
                  <a:latin typeface="Arial" pitchFamily="34" charset="0"/>
                  <a:cs typeface="Arial" pitchFamily="34" charset="0"/>
                </a:defRPr>
              </a:lvl1pPr>
            </a:lstStyle>
            <a:p>
              <a:r>
                <a:rPr lang="tr-TR" dirty="0"/>
                <a:t>Side</a:t>
              </a:r>
              <a:endParaRPr lang="en-GB" dirty="0"/>
            </a:p>
          </p:txBody>
        </p:sp>
        <p:sp>
          <p:nvSpPr>
            <p:cNvPr id="332" name="Textfeld 58"/>
            <p:cNvSpPr txBox="1"/>
            <p:nvPr/>
          </p:nvSpPr>
          <p:spPr>
            <a:xfrm>
              <a:off x="5935461" y="4718169"/>
              <a:ext cx="533494" cy="13849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wrap="square" lIns="0" tIns="0" rIns="0" bIns="0" rtlCol="0" anchor="ctr">
              <a:spAutoFit/>
            </a:bodyPr>
            <a:lstStyle>
              <a:defPPr>
                <a:defRPr lang="tr-TR"/>
              </a:defPPr>
              <a:lvl1pPr algn="ctr">
                <a:defRPr sz="900" b="1">
                  <a:solidFill>
                    <a:srgbClr val="152A45"/>
                  </a:solidFill>
                  <a:latin typeface="Arial" pitchFamily="34" charset="0"/>
                  <a:cs typeface="Arial" pitchFamily="34" charset="0"/>
                </a:defRPr>
              </a:lvl1pPr>
            </a:lstStyle>
            <a:p>
              <a:r>
                <a:rPr lang="tr-TR" dirty="0"/>
                <a:t>Manavgat</a:t>
              </a:r>
              <a:endParaRPr lang="en-GB" dirty="0"/>
            </a:p>
          </p:txBody>
        </p:sp>
        <p:sp>
          <p:nvSpPr>
            <p:cNvPr id="333" name="Textfeld 58"/>
            <p:cNvSpPr txBox="1"/>
            <p:nvPr/>
          </p:nvSpPr>
          <p:spPr>
            <a:xfrm>
              <a:off x="6366712" y="5008240"/>
              <a:ext cx="402360" cy="13849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wrap="square" lIns="0" tIns="0" rIns="0" bIns="0" rtlCol="0" anchor="ctr">
              <a:spAutoFit/>
            </a:bodyPr>
            <a:lstStyle>
              <a:defPPr>
                <a:defRPr lang="tr-TR"/>
              </a:defPPr>
              <a:lvl1pPr algn="ctr">
                <a:defRPr sz="900" b="1">
                  <a:solidFill>
                    <a:srgbClr val="152A45"/>
                  </a:solidFill>
                  <a:latin typeface="Arial" pitchFamily="34" charset="0"/>
                  <a:cs typeface="Arial" pitchFamily="34" charset="0"/>
                </a:defRPr>
              </a:lvl1pPr>
            </a:lstStyle>
            <a:p>
              <a:r>
                <a:rPr lang="tr-TR" dirty="0"/>
                <a:t>Alanya</a:t>
              </a:r>
              <a:endParaRPr lang="en-GB" dirty="0"/>
            </a:p>
          </p:txBody>
        </p:sp>
        <p:sp>
          <p:nvSpPr>
            <p:cNvPr id="334" name="Textfeld 58"/>
            <p:cNvSpPr txBox="1"/>
            <p:nvPr/>
          </p:nvSpPr>
          <p:spPr>
            <a:xfrm>
              <a:off x="4248961" y="5401959"/>
              <a:ext cx="295931" cy="13849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wrap="square" lIns="0" tIns="0" rIns="0" bIns="0" rtlCol="0" anchor="ctr">
              <a:spAutoFit/>
            </a:bodyPr>
            <a:lstStyle>
              <a:defPPr>
                <a:defRPr lang="tr-TR"/>
              </a:defPPr>
              <a:lvl1pPr algn="ctr">
                <a:defRPr sz="900" b="1">
                  <a:solidFill>
                    <a:srgbClr val="152A45"/>
                  </a:solidFill>
                  <a:latin typeface="Arial" pitchFamily="34" charset="0"/>
                  <a:cs typeface="Arial" pitchFamily="34" charset="0"/>
                </a:defRPr>
              </a:lvl1pPr>
            </a:lstStyle>
            <a:p>
              <a:r>
                <a:rPr lang="tr-TR" dirty="0"/>
                <a:t>Kaş</a:t>
              </a:r>
              <a:endParaRPr lang="en-GB" dirty="0"/>
            </a:p>
          </p:txBody>
        </p:sp>
        <p:sp>
          <p:nvSpPr>
            <p:cNvPr id="335" name="Oval 334"/>
            <p:cNvSpPr>
              <a:spLocks noChangeAspect="1"/>
            </p:cNvSpPr>
            <p:nvPr/>
          </p:nvSpPr>
          <p:spPr>
            <a:xfrm>
              <a:off x="4359492" y="5558848"/>
              <a:ext cx="36742" cy="36742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336" name="Oval 335"/>
            <p:cNvSpPr>
              <a:spLocks noChangeAspect="1"/>
            </p:cNvSpPr>
            <p:nvPr/>
          </p:nvSpPr>
          <p:spPr>
            <a:xfrm>
              <a:off x="5151580" y="5133879"/>
              <a:ext cx="36742" cy="36742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337" name="Oval 336"/>
            <p:cNvSpPr>
              <a:spLocks noChangeAspect="1"/>
            </p:cNvSpPr>
            <p:nvPr/>
          </p:nvSpPr>
          <p:spPr>
            <a:xfrm>
              <a:off x="5124022" y="5019426"/>
              <a:ext cx="36742" cy="36742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338" name="Oval 337"/>
            <p:cNvSpPr>
              <a:spLocks noChangeAspect="1"/>
            </p:cNvSpPr>
            <p:nvPr/>
          </p:nvSpPr>
          <p:spPr>
            <a:xfrm>
              <a:off x="5340046" y="4762543"/>
              <a:ext cx="36742" cy="36742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339" name="Oval 338"/>
            <p:cNvSpPr>
              <a:spLocks noChangeAspect="1"/>
            </p:cNvSpPr>
            <p:nvPr/>
          </p:nvSpPr>
          <p:spPr>
            <a:xfrm>
              <a:off x="6325228" y="5065681"/>
              <a:ext cx="36742" cy="36742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340" name="Oval 339"/>
            <p:cNvSpPr>
              <a:spLocks noChangeAspect="1"/>
            </p:cNvSpPr>
            <p:nvPr/>
          </p:nvSpPr>
          <p:spPr>
            <a:xfrm>
              <a:off x="5480835" y="4712673"/>
              <a:ext cx="36742" cy="36742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341" name="Oval 340"/>
            <p:cNvSpPr>
              <a:spLocks noChangeAspect="1"/>
            </p:cNvSpPr>
            <p:nvPr/>
          </p:nvSpPr>
          <p:spPr>
            <a:xfrm>
              <a:off x="5857982" y="4819926"/>
              <a:ext cx="36742" cy="36742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342" name="Oval 341"/>
            <p:cNvSpPr>
              <a:spLocks noChangeAspect="1"/>
            </p:cNvSpPr>
            <p:nvPr/>
          </p:nvSpPr>
          <p:spPr>
            <a:xfrm>
              <a:off x="5894724" y="4781213"/>
              <a:ext cx="36742" cy="36742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343" name="Textfeld 58"/>
            <p:cNvSpPr txBox="1"/>
            <p:nvPr/>
          </p:nvSpPr>
          <p:spPr>
            <a:xfrm>
              <a:off x="4904031" y="5190650"/>
              <a:ext cx="546376" cy="13894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wrap="square" lIns="0" tIns="0" rIns="0" bIns="0" rtlCol="0" anchor="ctr">
              <a:spAutoFit/>
            </a:bodyPr>
            <a:lstStyle>
              <a:defPPr>
                <a:defRPr lang="tr-TR"/>
              </a:defPPr>
              <a:lvl1pPr algn="ctr">
                <a:defRPr sz="900" b="1">
                  <a:solidFill>
                    <a:srgbClr val="152A45"/>
                  </a:solidFill>
                  <a:latin typeface="Arial" pitchFamily="34" charset="0"/>
                  <a:cs typeface="Arial" pitchFamily="34" charset="0"/>
                </a:defRPr>
              </a:lvl1pPr>
            </a:lstStyle>
            <a:p>
              <a:r>
                <a:rPr lang="tr-TR" dirty="0"/>
                <a:t>Tekirova</a:t>
              </a:r>
              <a:endParaRPr lang="en-GB" dirty="0"/>
            </a:p>
          </p:txBody>
        </p:sp>
        <p:sp>
          <p:nvSpPr>
            <p:cNvPr id="344" name="Textfeld 58"/>
            <p:cNvSpPr txBox="1"/>
            <p:nvPr/>
          </p:nvSpPr>
          <p:spPr>
            <a:xfrm>
              <a:off x="5155746" y="5410609"/>
              <a:ext cx="1273604" cy="186214"/>
            </a:xfrm>
            <a:prstGeom prst="rect">
              <a:avLst/>
            </a:prstGeom>
            <a:noFill/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tr-TR" sz="1000" b="1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itchFamily="34" charset="0"/>
                  <a:cs typeface="Arial" pitchFamily="34" charset="0"/>
                </a:rPr>
                <a:t>Turkish Riviera</a:t>
              </a:r>
              <a:endParaRPr lang="en-GB" sz="10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45" name="Oval 344"/>
            <p:cNvSpPr>
              <a:spLocks noChangeAspect="1"/>
            </p:cNvSpPr>
            <p:nvPr/>
          </p:nvSpPr>
          <p:spPr>
            <a:xfrm>
              <a:off x="5208761" y="4731044"/>
              <a:ext cx="116904" cy="116904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graphicFrame>
        <p:nvGraphicFramePr>
          <p:cNvPr id="48" name="Group 5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6606120"/>
              </p:ext>
            </p:extLst>
          </p:nvPr>
        </p:nvGraphicFramePr>
        <p:xfrm>
          <a:off x="505520" y="1646198"/>
          <a:ext cx="3418408" cy="4159066"/>
        </p:xfrm>
        <a:graphic>
          <a:graphicData uri="http://schemas.openxmlformats.org/drawingml/2006/table">
            <a:tbl>
              <a:tblPr/>
              <a:tblGrid>
                <a:gridCol w="2050256"/>
                <a:gridCol w="1368152"/>
              </a:tblGrid>
              <a:tr h="343395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Airports</a:t>
                      </a:r>
                      <a:endParaRPr kumimoji="0" lang="tr-TR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T="45722" marB="45722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52A4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014 (m pax)</a:t>
                      </a:r>
                    </a:p>
                  </a:txBody>
                  <a:tcPr marT="45722" marB="45722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52A45"/>
                    </a:solidFill>
                  </a:tcPr>
                </a:tc>
              </a:tr>
              <a:tr h="415318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. Istanbul Ataturk (IST)</a:t>
                      </a:r>
                    </a:p>
                  </a:txBody>
                  <a:tcPr marT="45722" marB="45722" anchor="ctr" horzOverflow="overflow">
                    <a:lnL>
                      <a:noFill/>
                    </a:lnL>
                    <a:lnR>
                      <a:noFill/>
                    </a:lnR>
                    <a:lnT w="254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57.0</a:t>
                      </a:r>
                    </a:p>
                  </a:txBody>
                  <a:tcPr marT="45722" marB="45722" anchor="ctr" horzOverflow="overflow">
                    <a:lnL>
                      <a:noFill/>
                    </a:lnL>
                    <a:lnR>
                      <a:noFill/>
                    </a:lnR>
                    <a:lnT w="254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92546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. Antalya (AYT)</a:t>
                      </a:r>
                    </a:p>
                  </a:txBody>
                  <a:tcPr marT="45722" marB="45722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8.0</a:t>
                      </a:r>
                    </a:p>
                  </a:txBody>
                  <a:tcPr marT="45722" marB="45722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  <a:tr h="392546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3. Istanbul (SAW)</a:t>
                      </a:r>
                    </a:p>
                  </a:txBody>
                  <a:tcPr marT="45722" marB="45722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3.5</a:t>
                      </a:r>
                    </a:p>
                  </a:txBody>
                  <a:tcPr marT="45722" marB="45722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92546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4. Ankara (ESB)</a:t>
                      </a:r>
                    </a:p>
                  </a:txBody>
                  <a:tcPr marT="45722" marB="45722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1.0</a:t>
                      </a:r>
                    </a:p>
                  </a:txBody>
                  <a:tcPr marT="45722" marB="45722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92546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5. Izmir (ADB)</a:t>
                      </a:r>
                    </a:p>
                  </a:txBody>
                  <a:tcPr marT="45722" marB="45722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1.0</a:t>
                      </a:r>
                    </a:p>
                  </a:txBody>
                  <a:tcPr marT="45722" marB="45722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92546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6. Adana (ADA)</a:t>
                      </a:r>
                    </a:p>
                  </a:txBody>
                  <a:tcPr marT="45722" marB="45722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4.7</a:t>
                      </a:r>
                    </a:p>
                  </a:txBody>
                  <a:tcPr marT="45722" marB="45722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87674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7. Dalaman (DLM)</a:t>
                      </a:r>
                    </a:p>
                  </a:txBody>
                  <a:tcPr marT="45722" marB="45722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4.3</a:t>
                      </a:r>
                    </a:p>
                  </a:txBody>
                  <a:tcPr marT="45722" marB="45722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52599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tr-TR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8. Bodrum (BJV) </a:t>
                      </a:r>
                    </a:p>
                  </a:txBody>
                  <a:tcPr marT="45722" marB="45722" anchor="ctr" horzOverflow="overflow">
                    <a:lnL>
                      <a:noFill/>
                    </a:lnL>
                    <a:lnR>
                      <a:noFill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tr-TR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panose="020B0604020202020204" pitchFamily="34" charset="0"/>
                        </a:rPr>
                        <a:t>3.9</a:t>
                      </a:r>
                    </a:p>
                  </a:txBody>
                  <a:tcPr marT="45722" marB="45722" anchor="ctr" horzOverflow="overflow">
                    <a:lnL>
                      <a:noFill/>
                    </a:lnL>
                    <a:lnR>
                      <a:noFill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80635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tr-TR" sz="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T="45722" marB="45722" anchor="ctr" horzOverflow="overflow">
                    <a:lnL>
                      <a:noFill/>
                    </a:lnL>
                    <a:lnR>
                      <a:noFill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tr-TR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T="45722" marB="45722" anchor="ctr" horzOverflow="overflow">
                    <a:lnL>
                      <a:noFill/>
                    </a:lnL>
                    <a:lnR>
                      <a:noFill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2546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Palma de Mallorca (PMI)</a:t>
                      </a:r>
                    </a:p>
                  </a:txBody>
                  <a:tcPr marT="45722" marB="45722" anchor="ctr" horzOverflow="overflow">
                    <a:lnL>
                      <a:noFill/>
                    </a:lnL>
                    <a:lnR>
                      <a:noFill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3.1</a:t>
                      </a:r>
                    </a:p>
                  </a:txBody>
                  <a:tcPr marT="45722" marB="45722" anchor="ctr" horzOverflow="overflow">
                    <a:lnL>
                      <a:noFill/>
                    </a:lnL>
                    <a:lnR>
                      <a:noFill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61762896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82908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571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39" name="Group 238"/>
          <p:cNvGrpSpPr/>
          <p:nvPr/>
        </p:nvGrpSpPr>
        <p:grpSpPr>
          <a:xfrm>
            <a:off x="3919752" y="1399351"/>
            <a:ext cx="4829168" cy="3037761"/>
            <a:chOff x="3919752" y="1399351"/>
            <a:chExt cx="4829168" cy="3037761"/>
          </a:xfrm>
        </p:grpSpPr>
        <p:grpSp>
          <p:nvGrpSpPr>
            <p:cNvPr id="240" name="Group 239"/>
            <p:cNvGrpSpPr/>
            <p:nvPr/>
          </p:nvGrpSpPr>
          <p:grpSpPr>
            <a:xfrm>
              <a:off x="3919752" y="1399351"/>
              <a:ext cx="4829168" cy="3037761"/>
              <a:chOff x="369888" y="1406525"/>
              <a:chExt cx="8439150" cy="5308600"/>
            </a:xfrm>
            <a:solidFill>
              <a:schemeClr val="tx2">
                <a:lumMod val="60000"/>
                <a:lumOff val="40000"/>
              </a:schemeClr>
            </a:solidFill>
          </p:grpSpPr>
          <p:sp>
            <p:nvSpPr>
              <p:cNvPr id="244" name="Freeform 110"/>
              <p:cNvSpPr>
                <a:spLocks/>
              </p:cNvSpPr>
              <p:nvPr/>
            </p:nvSpPr>
            <p:spPr bwMode="auto">
              <a:xfrm>
                <a:off x="2647950" y="1406525"/>
                <a:ext cx="1241425" cy="1504950"/>
              </a:xfrm>
              <a:custGeom>
                <a:avLst/>
                <a:gdLst>
                  <a:gd name="T0" fmla="*/ 325 w 707"/>
                  <a:gd name="T1" fmla="*/ 859 h 861"/>
                  <a:gd name="T2" fmla="*/ 323 w 707"/>
                  <a:gd name="T3" fmla="*/ 858 h 861"/>
                  <a:gd name="T4" fmla="*/ 312 w 707"/>
                  <a:gd name="T5" fmla="*/ 854 h 861"/>
                  <a:gd name="T6" fmla="*/ 315 w 707"/>
                  <a:gd name="T7" fmla="*/ 849 h 861"/>
                  <a:gd name="T8" fmla="*/ 280 w 707"/>
                  <a:gd name="T9" fmla="*/ 843 h 861"/>
                  <a:gd name="T10" fmla="*/ 265 w 707"/>
                  <a:gd name="T11" fmla="*/ 775 h 861"/>
                  <a:gd name="T12" fmla="*/ 243 w 707"/>
                  <a:gd name="T13" fmla="*/ 782 h 861"/>
                  <a:gd name="T14" fmla="*/ 231 w 707"/>
                  <a:gd name="T15" fmla="*/ 748 h 861"/>
                  <a:gd name="T16" fmla="*/ 231 w 707"/>
                  <a:gd name="T17" fmla="*/ 728 h 861"/>
                  <a:gd name="T18" fmla="*/ 250 w 707"/>
                  <a:gd name="T19" fmla="*/ 678 h 861"/>
                  <a:gd name="T20" fmla="*/ 214 w 707"/>
                  <a:gd name="T21" fmla="*/ 616 h 861"/>
                  <a:gd name="T22" fmla="*/ 245 w 707"/>
                  <a:gd name="T23" fmla="*/ 606 h 861"/>
                  <a:gd name="T24" fmla="*/ 238 w 707"/>
                  <a:gd name="T25" fmla="*/ 602 h 861"/>
                  <a:gd name="T26" fmla="*/ 246 w 707"/>
                  <a:gd name="T27" fmla="*/ 585 h 861"/>
                  <a:gd name="T28" fmla="*/ 208 w 707"/>
                  <a:gd name="T29" fmla="*/ 530 h 861"/>
                  <a:gd name="T30" fmla="*/ 181 w 707"/>
                  <a:gd name="T31" fmla="*/ 470 h 861"/>
                  <a:gd name="T32" fmla="*/ 77 w 707"/>
                  <a:gd name="T33" fmla="*/ 439 h 861"/>
                  <a:gd name="T34" fmla="*/ 37 w 707"/>
                  <a:gd name="T35" fmla="*/ 390 h 861"/>
                  <a:gd name="T36" fmla="*/ 34 w 707"/>
                  <a:gd name="T37" fmla="*/ 365 h 861"/>
                  <a:gd name="T38" fmla="*/ 0 w 707"/>
                  <a:gd name="T39" fmla="*/ 338 h 861"/>
                  <a:gd name="T40" fmla="*/ 106 w 707"/>
                  <a:gd name="T41" fmla="*/ 236 h 861"/>
                  <a:gd name="T42" fmla="*/ 117 w 707"/>
                  <a:gd name="T43" fmla="*/ 142 h 861"/>
                  <a:gd name="T44" fmla="*/ 189 w 707"/>
                  <a:gd name="T45" fmla="*/ 126 h 861"/>
                  <a:gd name="T46" fmla="*/ 218 w 707"/>
                  <a:gd name="T47" fmla="*/ 148 h 861"/>
                  <a:gd name="T48" fmla="*/ 265 w 707"/>
                  <a:gd name="T49" fmla="*/ 125 h 861"/>
                  <a:gd name="T50" fmla="*/ 309 w 707"/>
                  <a:gd name="T51" fmla="*/ 112 h 861"/>
                  <a:gd name="T52" fmla="*/ 350 w 707"/>
                  <a:gd name="T53" fmla="*/ 83 h 861"/>
                  <a:gd name="T54" fmla="*/ 310 w 707"/>
                  <a:gd name="T55" fmla="*/ 36 h 861"/>
                  <a:gd name="T56" fmla="*/ 441 w 707"/>
                  <a:gd name="T57" fmla="*/ 4 h 861"/>
                  <a:gd name="T58" fmla="*/ 487 w 707"/>
                  <a:gd name="T59" fmla="*/ 30 h 861"/>
                  <a:gd name="T60" fmla="*/ 533 w 707"/>
                  <a:gd name="T61" fmla="*/ 63 h 861"/>
                  <a:gd name="T62" fmla="*/ 539 w 707"/>
                  <a:gd name="T63" fmla="*/ 108 h 861"/>
                  <a:gd name="T64" fmla="*/ 581 w 707"/>
                  <a:gd name="T65" fmla="*/ 115 h 861"/>
                  <a:gd name="T66" fmla="*/ 653 w 707"/>
                  <a:gd name="T67" fmla="*/ 142 h 861"/>
                  <a:gd name="T68" fmla="*/ 600 w 707"/>
                  <a:gd name="T69" fmla="*/ 210 h 861"/>
                  <a:gd name="T70" fmla="*/ 615 w 707"/>
                  <a:gd name="T71" fmla="*/ 256 h 861"/>
                  <a:gd name="T72" fmla="*/ 628 w 707"/>
                  <a:gd name="T73" fmla="*/ 281 h 861"/>
                  <a:gd name="T74" fmla="*/ 605 w 707"/>
                  <a:gd name="T75" fmla="*/ 326 h 861"/>
                  <a:gd name="T76" fmla="*/ 608 w 707"/>
                  <a:gd name="T77" fmla="*/ 362 h 861"/>
                  <a:gd name="T78" fmla="*/ 610 w 707"/>
                  <a:gd name="T79" fmla="*/ 427 h 861"/>
                  <a:gd name="T80" fmla="*/ 622 w 707"/>
                  <a:gd name="T81" fmla="*/ 466 h 861"/>
                  <a:gd name="T82" fmla="*/ 593 w 707"/>
                  <a:gd name="T83" fmla="*/ 490 h 861"/>
                  <a:gd name="T84" fmla="*/ 536 w 707"/>
                  <a:gd name="T85" fmla="*/ 538 h 861"/>
                  <a:gd name="T86" fmla="*/ 553 w 707"/>
                  <a:gd name="T87" fmla="*/ 574 h 861"/>
                  <a:gd name="T88" fmla="*/ 598 w 707"/>
                  <a:gd name="T89" fmla="*/ 622 h 861"/>
                  <a:gd name="T90" fmla="*/ 528 w 707"/>
                  <a:gd name="T91" fmla="*/ 582 h 861"/>
                  <a:gd name="T92" fmla="*/ 541 w 707"/>
                  <a:gd name="T93" fmla="*/ 626 h 861"/>
                  <a:gd name="T94" fmla="*/ 491 w 707"/>
                  <a:gd name="T95" fmla="*/ 683 h 861"/>
                  <a:gd name="T96" fmla="*/ 489 w 707"/>
                  <a:gd name="T97" fmla="*/ 690 h 861"/>
                  <a:gd name="T98" fmla="*/ 472 w 707"/>
                  <a:gd name="T99" fmla="*/ 679 h 861"/>
                  <a:gd name="T100" fmla="*/ 449 w 707"/>
                  <a:gd name="T101" fmla="*/ 721 h 861"/>
                  <a:gd name="T102" fmla="*/ 417 w 707"/>
                  <a:gd name="T103" fmla="*/ 738 h 861"/>
                  <a:gd name="T104" fmla="*/ 417 w 707"/>
                  <a:gd name="T105" fmla="*/ 733 h 861"/>
                  <a:gd name="T106" fmla="*/ 372 w 707"/>
                  <a:gd name="T107" fmla="*/ 762 h 861"/>
                  <a:gd name="T108" fmla="*/ 367 w 707"/>
                  <a:gd name="T109" fmla="*/ 790 h 861"/>
                  <a:gd name="T110" fmla="*/ 360 w 707"/>
                  <a:gd name="T111" fmla="*/ 806 h 8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707" h="861">
                    <a:moveTo>
                      <a:pt x="365" y="809"/>
                    </a:moveTo>
                    <a:lnTo>
                      <a:pt x="367" y="809"/>
                    </a:lnTo>
                    <a:lnTo>
                      <a:pt x="325" y="859"/>
                    </a:lnTo>
                    <a:lnTo>
                      <a:pt x="327" y="859"/>
                    </a:lnTo>
                    <a:lnTo>
                      <a:pt x="323" y="861"/>
                    </a:lnTo>
                    <a:lnTo>
                      <a:pt x="323" y="858"/>
                    </a:lnTo>
                    <a:lnTo>
                      <a:pt x="320" y="861"/>
                    </a:lnTo>
                    <a:lnTo>
                      <a:pt x="322" y="851"/>
                    </a:lnTo>
                    <a:lnTo>
                      <a:pt x="312" y="854"/>
                    </a:lnTo>
                    <a:lnTo>
                      <a:pt x="318" y="851"/>
                    </a:lnTo>
                    <a:lnTo>
                      <a:pt x="313" y="851"/>
                    </a:lnTo>
                    <a:lnTo>
                      <a:pt x="315" y="849"/>
                    </a:lnTo>
                    <a:lnTo>
                      <a:pt x="290" y="854"/>
                    </a:lnTo>
                    <a:lnTo>
                      <a:pt x="297" y="849"/>
                    </a:lnTo>
                    <a:lnTo>
                      <a:pt x="280" y="843"/>
                    </a:lnTo>
                    <a:lnTo>
                      <a:pt x="288" y="839"/>
                    </a:lnTo>
                    <a:lnTo>
                      <a:pt x="250" y="792"/>
                    </a:lnTo>
                    <a:lnTo>
                      <a:pt x="265" y="775"/>
                    </a:lnTo>
                    <a:lnTo>
                      <a:pt x="258" y="774"/>
                    </a:lnTo>
                    <a:lnTo>
                      <a:pt x="266" y="772"/>
                    </a:lnTo>
                    <a:lnTo>
                      <a:pt x="243" y="782"/>
                    </a:lnTo>
                    <a:lnTo>
                      <a:pt x="241" y="757"/>
                    </a:lnTo>
                    <a:lnTo>
                      <a:pt x="240" y="760"/>
                    </a:lnTo>
                    <a:lnTo>
                      <a:pt x="231" y="748"/>
                    </a:lnTo>
                    <a:lnTo>
                      <a:pt x="228" y="742"/>
                    </a:lnTo>
                    <a:lnTo>
                      <a:pt x="233" y="737"/>
                    </a:lnTo>
                    <a:lnTo>
                      <a:pt x="231" y="728"/>
                    </a:lnTo>
                    <a:lnTo>
                      <a:pt x="256" y="688"/>
                    </a:lnTo>
                    <a:lnTo>
                      <a:pt x="253" y="679"/>
                    </a:lnTo>
                    <a:lnTo>
                      <a:pt x="250" y="678"/>
                    </a:lnTo>
                    <a:lnTo>
                      <a:pt x="251" y="681"/>
                    </a:lnTo>
                    <a:lnTo>
                      <a:pt x="256" y="669"/>
                    </a:lnTo>
                    <a:lnTo>
                      <a:pt x="214" y="616"/>
                    </a:lnTo>
                    <a:lnTo>
                      <a:pt x="260" y="626"/>
                    </a:lnTo>
                    <a:lnTo>
                      <a:pt x="253" y="619"/>
                    </a:lnTo>
                    <a:lnTo>
                      <a:pt x="245" y="606"/>
                    </a:lnTo>
                    <a:lnTo>
                      <a:pt x="241" y="602"/>
                    </a:lnTo>
                    <a:lnTo>
                      <a:pt x="248" y="597"/>
                    </a:lnTo>
                    <a:lnTo>
                      <a:pt x="238" y="602"/>
                    </a:lnTo>
                    <a:lnTo>
                      <a:pt x="245" y="592"/>
                    </a:lnTo>
                    <a:lnTo>
                      <a:pt x="233" y="594"/>
                    </a:lnTo>
                    <a:lnTo>
                      <a:pt x="246" y="585"/>
                    </a:lnTo>
                    <a:lnTo>
                      <a:pt x="233" y="579"/>
                    </a:lnTo>
                    <a:lnTo>
                      <a:pt x="204" y="594"/>
                    </a:lnTo>
                    <a:lnTo>
                      <a:pt x="208" y="530"/>
                    </a:lnTo>
                    <a:lnTo>
                      <a:pt x="198" y="518"/>
                    </a:lnTo>
                    <a:lnTo>
                      <a:pt x="199" y="520"/>
                    </a:lnTo>
                    <a:lnTo>
                      <a:pt x="181" y="470"/>
                    </a:lnTo>
                    <a:lnTo>
                      <a:pt x="144" y="431"/>
                    </a:lnTo>
                    <a:lnTo>
                      <a:pt x="67" y="427"/>
                    </a:lnTo>
                    <a:lnTo>
                      <a:pt x="77" y="439"/>
                    </a:lnTo>
                    <a:lnTo>
                      <a:pt x="40" y="417"/>
                    </a:lnTo>
                    <a:lnTo>
                      <a:pt x="55" y="405"/>
                    </a:lnTo>
                    <a:lnTo>
                      <a:pt x="37" y="390"/>
                    </a:lnTo>
                    <a:lnTo>
                      <a:pt x="84" y="380"/>
                    </a:lnTo>
                    <a:lnTo>
                      <a:pt x="74" y="363"/>
                    </a:lnTo>
                    <a:lnTo>
                      <a:pt x="34" y="365"/>
                    </a:lnTo>
                    <a:lnTo>
                      <a:pt x="39" y="358"/>
                    </a:lnTo>
                    <a:lnTo>
                      <a:pt x="27" y="360"/>
                    </a:lnTo>
                    <a:lnTo>
                      <a:pt x="0" y="338"/>
                    </a:lnTo>
                    <a:lnTo>
                      <a:pt x="49" y="296"/>
                    </a:lnTo>
                    <a:lnTo>
                      <a:pt x="67" y="262"/>
                    </a:lnTo>
                    <a:lnTo>
                      <a:pt x="106" y="236"/>
                    </a:lnTo>
                    <a:lnTo>
                      <a:pt x="60" y="227"/>
                    </a:lnTo>
                    <a:lnTo>
                      <a:pt x="109" y="174"/>
                    </a:lnTo>
                    <a:lnTo>
                      <a:pt x="117" y="142"/>
                    </a:lnTo>
                    <a:lnTo>
                      <a:pt x="142" y="123"/>
                    </a:lnTo>
                    <a:lnTo>
                      <a:pt x="178" y="158"/>
                    </a:lnTo>
                    <a:lnTo>
                      <a:pt x="189" y="126"/>
                    </a:lnTo>
                    <a:lnTo>
                      <a:pt x="208" y="91"/>
                    </a:lnTo>
                    <a:lnTo>
                      <a:pt x="225" y="124"/>
                    </a:lnTo>
                    <a:lnTo>
                      <a:pt x="218" y="148"/>
                    </a:lnTo>
                    <a:lnTo>
                      <a:pt x="260" y="138"/>
                    </a:lnTo>
                    <a:lnTo>
                      <a:pt x="248" y="121"/>
                    </a:lnTo>
                    <a:lnTo>
                      <a:pt x="265" y="125"/>
                    </a:lnTo>
                    <a:lnTo>
                      <a:pt x="248" y="79"/>
                    </a:lnTo>
                    <a:lnTo>
                      <a:pt x="285" y="86"/>
                    </a:lnTo>
                    <a:lnTo>
                      <a:pt x="309" y="112"/>
                    </a:lnTo>
                    <a:lnTo>
                      <a:pt x="307" y="92"/>
                    </a:lnTo>
                    <a:lnTo>
                      <a:pt x="308" y="59"/>
                    </a:lnTo>
                    <a:lnTo>
                      <a:pt x="350" y="83"/>
                    </a:lnTo>
                    <a:lnTo>
                      <a:pt x="352" y="61"/>
                    </a:lnTo>
                    <a:lnTo>
                      <a:pt x="374" y="88"/>
                    </a:lnTo>
                    <a:lnTo>
                      <a:pt x="310" y="36"/>
                    </a:lnTo>
                    <a:lnTo>
                      <a:pt x="387" y="61"/>
                    </a:lnTo>
                    <a:lnTo>
                      <a:pt x="412" y="14"/>
                    </a:lnTo>
                    <a:lnTo>
                      <a:pt x="441" y="4"/>
                    </a:lnTo>
                    <a:lnTo>
                      <a:pt x="473" y="0"/>
                    </a:lnTo>
                    <a:lnTo>
                      <a:pt x="501" y="8"/>
                    </a:lnTo>
                    <a:lnTo>
                      <a:pt x="487" y="30"/>
                    </a:lnTo>
                    <a:lnTo>
                      <a:pt x="495" y="38"/>
                    </a:lnTo>
                    <a:lnTo>
                      <a:pt x="548" y="32"/>
                    </a:lnTo>
                    <a:lnTo>
                      <a:pt x="533" y="63"/>
                    </a:lnTo>
                    <a:lnTo>
                      <a:pt x="561" y="63"/>
                    </a:lnTo>
                    <a:lnTo>
                      <a:pt x="590" y="73"/>
                    </a:lnTo>
                    <a:lnTo>
                      <a:pt x="539" y="108"/>
                    </a:lnTo>
                    <a:lnTo>
                      <a:pt x="523" y="116"/>
                    </a:lnTo>
                    <a:lnTo>
                      <a:pt x="549" y="128"/>
                    </a:lnTo>
                    <a:lnTo>
                      <a:pt x="581" y="115"/>
                    </a:lnTo>
                    <a:lnTo>
                      <a:pt x="585" y="174"/>
                    </a:lnTo>
                    <a:lnTo>
                      <a:pt x="613" y="142"/>
                    </a:lnTo>
                    <a:lnTo>
                      <a:pt x="653" y="142"/>
                    </a:lnTo>
                    <a:lnTo>
                      <a:pt x="707" y="147"/>
                    </a:lnTo>
                    <a:lnTo>
                      <a:pt x="631" y="176"/>
                    </a:lnTo>
                    <a:lnTo>
                      <a:pt x="600" y="210"/>
                    </a:lnTo>
                    <a:lnTo>
                      <a:pt x="631" y="206"/>
                    </a:lnTo>
                    <a:lnTo>
                      <a:pt x="660" y="212"/>
                    </a:lnTo>
                    <a:lnTo>
                      <a:pt x="615" y="256"/>
                    </a:lnTo>
                    <a:lnTo>
                      <a:pt x="642" y="237"/>
                    </a:lnTo>
                    <a:lnTo>
                      <a:pt x="618" y="289"/>
                    </a:lnTo>
                    <a:lnTo>
                      <a:pt x="628" y="281"/>
                    </a:lnTo>
                    <a:lnTo>
                      <a:pt x="625" y="286"/>
                    </a:lnTo>
                    <a:lnTo>
                      <a:pt x="623" y="284"/>
                    </a:lnTo>
                    <a:lnTo>
                      <a:pt x="605" y="326"/>
                    </a:lnTo>
                    <a:lnTo>
                      <a:pt x="600" y="362"/>
                    </a:lnTo>
                    <a:lnTo>
                      <a:pt x="627" y="365"/>
                    </a:lnTo>
                    <a:lnTo>
                      <a:pt x="608" y="362"/>
                    </a:lnTo>
                    <a:lnTo>
                      <a:pt x="615" y="367"/>
                    </a:lnTo>
                    <a:lnTo>
                      <a:pt x="610" y="369"/>
                    </a:lnTo>
                    <a:lnTo>
                      <a:pt x="610" y="427"/>
                    </a:lnTo>
                    <a:lnTo>
                      <a:pt x="605" y="421"/>
                    </a:lnTo>
                    <a:lnTo>
                      <a:pt x="620" y="429"/>
                    </a:lnTo>
                    <a:lnTo>
                      <a:pt x="622" y="466"/>
                    </a:lnTo>
                    <a:lnTo>
                      <a:pt x="591" y="454"/>
                    </a:lnTo>
                    <a:lnTo>
                      <a:pt x="627" y="496"/>
                    </a:lnTo>
                    <a:lnTo>
                      <a:pt x="593" y="490"/>
                    </a:lnTo>
                    <a:lnTo>
                      <a:pt x="610" y="527"/>
                    </a:lnTo>
                    <a:lnTo>
                      <a:pt x="558" y="521"/>
                    </a:lnTo>
                    <a:lnTo>
                      <a:pt x="536" y="538"/>
                    </a:lnTo>
                    <a:lnTo>
                      <a:pt x="558" y="542"/>
                    </a:lnTo>
                    <a:lnTo>
                      <a:pt x="538" y="553"/>
                    </a:lnTo>
                    <a:lnTo>
                      <a:pt x="553" y="574"/>
                    </a:lnTo>
                    <a:lnTo>
                      <a:pt x="586" y="599"/>
                    </a:lnTo>
                    <a:lnTo>
                      <a:pt x="596" y="592"/>
                    </a:lnTo>
                    <a:lnTo>
                      <a:pt x="598" y="622"/>
                    </a:lnTo>
                    <a:lnTo>
                      <a:pt x="586" y="612"/>
                    </a:lnTo>
                    <a:lnTo>
                      <a:pt x="586" y="622"/>
                    </a:lnTo>
                    <a:lnTo>
                      <a:pt x="528" y="582"/>
                    </a:lnTo>
                    <a:lnTo>
                      <a:pt x="551" y="600"/>
                    </a:lnTo>
                    <a:lnTo>
                      <a:pt x="513" y="622"/>
                    </a:lnTo>
                    <a:lnTo>
                      <a:pt x="541" y="626"/>
                    </a:lnTo>
                    <a:lnTo>
                      <a:pt x="516" y="634"/>
                    </a:lnTo>
                    <a:lnTo>
                      <a:pt x="591" y="631"/>
                    </a:lnTo>
                    <a:lnTo>
                      <a:pt x="491" y="683"/>
                    </a:lnTo>
                    <a:lnTo>
                      <a:pt x="494" y="688"/>
                    </a:lnTo>
                    <a:lnTo>
                      <a:pt x="489" y="686"/>
                    </a:lnTo>
                    <a:lnTo>
                      <a:pt x="489" y="690"/>
                    </a:lnTo>
                    <a:lnTo>
                      <a:pt x="479" y="685"/>
                    </a:lnTo>
                    <a:lnTo>
                      <a:pt x="481" y="685"/>
                    </a:lnTo>
                    <a:lnTo>
                      <a:pt x="472" y="679"/>
                    </a:lnTo>
                    <a:lnTo>
                      <a:pt x="471" y="674"/>
                    </a:lnTo>
                    <a:lnTo>
                      <a:pt x="451" y="725"/>
                    </a:lnTo>
                    <a:lnTo>
                      <a:pt x="449" y="721"/>
                    </a:lnTo>
                    <a:lnTo>
                      <a:pt x="441" y="733"/>
                    </a:lnTo>
                    <a:lnTo>
                      <a:pt x="429" y="742"/>
                    </a:lnTo>
                    <a:lnTo>
                      <a:pt x="417" y="738"/>
                    </a:lnTo>
                    <a:lnTo>
                      <a:pt x="414" y="742"/>
                    </a:lnTo>
                    <a:lnTo>
                      <a:pt x="416" y="745"/>
                    </a:lnTo>
                    <a:lnTo>
                      <a:pt x="417" y="733"/>
                    </a:lnTo>
                    <a:lnTo>
                      <a:pt x="407" y="732"/>
                    </a:lnTo>
                    <a:lnTo>
                      <a:pt x="399" y="750"/>
                    </a:lnTo>
                    <a:lnTo>
                      <a:pt x="372" y="762"/>
                    </a:lnTo>
                    <a:lnTo>
                      <a:pt x="367" y="780"/>
                    </a:lnTo>
                    <a:lnTo>
                      <a:pt x="377" y="792"/>
                    </a:lnTo>
                    <a:lnTo>
                      <a:pt x="367" y="790"/>
                    </a:lnTo>
                    <a:lnTo>
                      <a:pt x="365" y="802"/>
                    </a:lnTo>
                    <a:lnTo>
                      <a:pt x="369" y="807"/>
                    </a:lnTo>
                    <a:lnTo>
                      <a:pt x="360" y="806"/>
                    </a:lnTo>
                    <a:lnTo>
                      <a:pt x="365" y="809"/>
                    </a:lnTo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45" name="Freeform 111"/>
              <p:cNvSpPr>
                <a:spLocks/>
              </p:cNvSpPr>
              <p:nvPr/>
            </p:nvSpPr>
            <p:spPr bwMode="auto">
              <a:xfrm>
                <a:off x="2254250" y="1414463"/>
                <a:ext cx="647700" cy="614362"/>
              </a:xfrm>
              <a:custGeom>
                <a:avLst/>
                <a:gdLst>
                  <a:gd name="T0" fmla="*/ 84 w 368"/>
                  <a:gd name="T1" fmla="*/ 351 h 351"/>
                  <a:gd name="T2" fmla="*/ 110 w 368"/>
                  <a:gd name="T3" fmla="*/ 346 h 351"/>
                  <a:gd name="T4" fmla="*/ 152 w 368"/>
                  <a:gd name="T5" fmla="*/ 339 h 351"/>
                  <a:gd name="T6" fmla="*/ 162 w 368"/>
                  <a:gd name="T7" fmla="*/ 323 h 351"/>
                  <a:gd name="T8" fmla="*/ 139 w 368"/>
                  <a:gd name="T9" fmla="*/ 314 h 351"/>
                  <a:gd name="T10" fmla="*/ 201 w 368"/>
                  <a:gd name="T11" fmla="*/ 265 h 351"/>
                  <a:gd name="T12" fmla="*/ 186 w 368"/>
                  <a:gd name="T13" fmla="*/ 240 h 351"/>
                  <a:gd name="T14" fmla="*/ 208 w 368"/>
                  <a:gd name="T15" fmla="*/ 228 h 351"/>
                  <a:gd name="T16" fmla="*/ 246 w 368"/>
                  <a:gd name="T17" fmla="*/ 193 h 351"/>
                  <a:gd name="T18" fmla="*/ 253 w 368"/>
                  <a:gd name="T19" fmla="*/ 181 h 351"/>
                  <a:gd name="T20" fmla="*/ 255 w 368"/>
                  <a:gd name="T21" fmla="*/ 161 h 351"/>
                  <a:gd name="T22" fmla="*/ 328 w 368"/>
                  <a:gd name="T23" fmla="*/ 96 h 351"/>
                  <a:gd name="T24" fmla="*/ 298 w 368"/>
                  <a:gd name="T25" fmla="*/ 97 h 351"/>
                  <a:gd name="T26" fmla="*/ 368 w 368"/>
                  <a:gd name="T27" fmla="*/ 45 h 351"/>
                  <a:gd name="T28" fmla="*/ 317 w 368"/>
                  <a:gd name="T29" fmla="*/ 17 h 351"/>
                  <a:gd name="T30" fmla="*/ 301 w 368"/>
                  <a:gd name="T31" fmla="*/ 0 h 351"/>
                  <a:gd name="T32" fmla="*/ 139 w 368"/>
                  <a:gd name="T33" fmla="*/ 20 h 351"/>
                  <a:gd name="T34" fmla="*/ 126 w 368"/>
                  <a:gd name="T35" fmla="*/ 35 h 351"/>
                  <a:gd name="T36" fmla="*/ 100 w 368"/>
                  <a:gd name="T37" fmla="*/ 39 h 351"/>
                  <a:gd name="T38" fmla="*/ 94 w 368"/>
                  <a:gd name="T39" fmla="*/ 52 h 351"/>
                  <a:gd name="T40" fmla="*/ 62 w 368"/>
                  <a:gd name="T41" fmla="*/ 40 h 351"/>
                  <a:gd name="T42" fmla="*/ 69 w 368"/>
                  <a:gd name="T43" fmla="*/ 67 h 351"/>
                  <a:gd name="T44" fmla="*/ 28 w 368"/>
                  <a:gd name="T45" fmla="*/ 77 h 351"/>
                  <a:gd name="T46" fmla="*/ 23 w 368"/>
                  <a:gd name="T47" fmla="*/ 81 h 351"/>
                  <a:gd name="T48" fmla="*/ 27 w 368"/>
                  <a:gd name="T49" fmla="*/ 92 h 351"/>
                  <a:gd name="T50" fmla="*/ 43 w 368"/>
                  <a:gd name="T51" fmla="*/ 94 h 351"/>
                  <a:gd name="T52" fmla="*/ 35 w 368"/>
                  <a:gd name="T53" fmla="*/ 114 h 351"/>
                  <a:gd name="T54" fmla="*/ 62 w 368"/>
                  <a:gd name="T55" fmla="*/ 129 h 351"/>
                  <a:gd name="T56" fmla="*/ 75 w 368"/>
                  <a:gd name="T57" fmla="*/ 128 h 351"/>
                  <a:gd name="T58" fmla="*/ 79 w 368"/>
                  <a:gd name="T59" fmla="*/ 153 h 351"/>
                  <a:gd name="T60" fmla="*/ 95 w 368"/>
                  <a:gd name="T61" fmla="*/ 143 h 351"/>
                  <a:gd name="T62" fmla="*/ 114 w 368"/>
                  <a:gd name="T63" fmla="*/ 134 h 351"/>
                  <a:gd name="T64" fmla="*/ 100 w 368"/>
                  <a:gd name="T65" fmla="*/ 160 h 351"/>
                  <a:gd name="T66" fmla="*/ 169 w 368"/>
                  <a:gd name="T67" fmla="*/ 101 h 351"/>
                  <a:gd name="T68" fmla="*/ 100 w 368"/>
                  <a:gd name="T69" fmla="*/ 168 h 351"/>
                  <a:gd name="T70" fmla="*/ 62 w 368"/>
                  <a:gd name="T71" fmla="*/ 170 h 351"/>
                  <a:gd name="T72" fmla="*/ 82 w 368"/>
                  <a:gd name="T73" fmla="*/ 230 h 351"/>
                  <a:gd name="T74" fmla="*/ 52 w 368"/>
                  <a:gd name="T75" fmla="*/ 276 h 351"/>
                  <a:gd name="T76" fmla="*/ 70 w 368"/>
                  <a:gd name="T77" fmla="*/ 276 h 351"/>
                  <a:gd name="T78" fmla="*/ 80 w 368"/>
                  <a:gd name="T79" fmla="*/ 279 h 351"/>
                  <a:gd name="T80" fmla="*/ 80 w 368"/>
                  <a:gd name="T81" fmla="*/ 296 h 351"/>
                  <a:gd name="T82" fmla="*/ 82 w 368"/>
                  <a:gd name="T83" fmla="*/ 299 h 351"/>
                  <a:gd name="T84" fmla="*/ 87 w 368"/>
                  <a:gd name="T85" fmla="*/ 309 h 351"/>
                  <a:gd name="T86" fmla="*/ 52 w 368"/>
                  <a:gd name="T87" fmla="*/ 311 h 351"/>
                  <a:gd name="T88" fmla="*/ 33 w 368"/>
                  <a:gd name="T89" fmla="*/ 339 h 351"/>
                  <a:gd name="T90" fmla="*/ 35 w 368"/>
                  <a:gd name="T91" fmla="*/ 331 h 351"/>
                  <a:gd name="T92" fmla="*/ 47 w 368"/>
                  <a:gd name="T93" fmla="*/ 339 h 351"/>
                  <a:gd name="T94" fmla="*/ 59 w 368"/>
                  <a:gd name="T95" fmla="*/ 348 h 3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68" h="351">
                    <a:moveTo>
                      <a:pt x="59" y="348"/>
                    </a:moveTo>
                    <a:lnTo>
                      <a:pt x="84" y="351"/>
                    </a:lnTo>
                    <a:lnTo>
                      <a:pt x="77" y="339"/>
                    </a:lnTo>
                    <a:lnTo>
                      <a:pt x="110" y="346"/>
                    </a:lnTo>
                    <a:lnTo>
                      <a:pt x="109" y="334"/>
                    </a:lnTo>
                    <a:lnTo>
                      <a:pt x="152" y="339"/>
                    </a:lnTo>
                    <a:lnTo>
                      <a:pt x="154" y="344"/>
                    </a:lnTo>
                    <a:lnTo>
                      <a:pt x="162" y="323"/>
                    </a:lnTo>
                    <a:lnTo>
                      <a:pt x="136" y="319"/>
                    </a:lnTo>
                    <a:lnTo>
                      <a:pt x="139" y="314"/>
                    </a:lnTo>
                    <a:lnTo>
                      <a:pt x="126" y="311"/>
                    </a:lnTo>
                    <a:lnTo>
                      <a:pt x="201" y="265"/>
                    </a:lnTo>
                    <a:lnTo>
                      <a:pt x="184" y="259"/>
                    </a:lnTo>
                    <a:lnTo>
                      <a:pt x="186" y="240"/>
                    </a:lnTo>
                    <a:lnTo>
                      <a:pt x="191" y="235"/>
                    </a:lnTo>
                    <a:lnTo>
                      <a:pt x="208" y="228"/>
                    </a:lnTo>
                    <a:lnTo>
                      <a:pt x="172" y="222"/>
                    </a:lnTo>
                    <a:lnTo>
                      <a:pt x="246" y="193"/>
                    </a:lnTo>
                    <a:lnTo>
                      <a:pt x="241" y="191"/>
                    </a:lnTo>
                    <a:lnTo>
                      <a:pt x="253" y="181"/>
                    </a:lnTo>
                    <a:lnTo>
                      <a:pt x="229" y="183"/>
                    </a:lnTo>
                    <a:lnTo>
                      <a:pt x="255" y="161"/>
                    </a:lnTo>
                    <a:lnTo>
                      <a:pt x="255" y="168"/>
                    </a:lnTo>
                    <a:lnTo>
                      <a:pt x="328" y="96"/>
                    </a:lnTo>
                    <a:lnTo>
                      <a:pt x="260" y="126"/>
                    </a:lnTo>
                    <a:lnTo>
                      <a:pt x="298" y="97"/>
                    </a:lnTo>
                    <a:lnTo>
                      <a:pt x="273" y="99"/>
                    </a:lnTo>
                    <a:lnTo>
                      <a:pt x="368" y="45"/>
                    </a:lnTo>
                    <a:lnTo>
                      <a:pt x="323" y="3"/>
                    </a:lnTo>
                    <a:lnTo>
                      <a:pt x="317" y="17"/>
                    </a:lnTo>
                    <a:lnTo>
                      <a:pt x="273" y="25"/>
                    </a:lnTo>
                    <a:lnTo>
                      <a:pt x="301" y="0"/>
                    </a:lnTo>
                    <a:lnTo>
                      <a:pt x="131" y="2"/>
                    </a:lnTo>
                    <a:lnTo>
                      <a:pt x="139" y="20"/>
                    </a:lnTo>
                    <a:lnTo>
                      <a:pt x="112" y="13"/>
                    </a:lnTo>
                    <a:lnTo>
                      <a:pt x="126" y="35"/>
                    </a:lnTo>
                    <a:lnTo>
                      <a:pt x="110" y="35"/>
                    </a:lnTo>
                    <a:lnTo>
                      <a:pt x="100" y="39"/>
                    </a:lnTo>
                    <a:lnTo>
                      <a:pt x="122" y="64"/>
                    </a:lnTo>
                    <a:lnTo>
                      <a:pt x="94" y="52"/>
                    </a:lnTo>
                    <a:lnTo>
                      <a:pt x="102" y="62"/>
                    </a:lnTo>
                    <a:lnTo>
                      <a:pt x="62" y="40"/>
                    </a:lnTo>
                    <a:lnTo>
                      <a:pt x="52" y="57"/>
                    </a:lnTo>
                    <a:lnTo>
                      <a:pt x="69" y="67"/>
                    </a:lnTo>
                    <a:lnTo>
                      <a:pt x="69" y="74"/>
                    </a:lnTo>
                    <a:lnTo>
                      <a:pt x="28" y="77"/>
                    </a:lnTo>
                    <a:lnTo>
                      <a:pt x="23" y="72"/>
                    </a:lnTo>
                    <a:lnTo>
                      <a:pt x="23" y="81"/>
                    </a:lnTo>
                    <a:lnTo>
                      <a:pt x="0" y="94"/>
                    </a:lnTo>
                    <a:lnTo>
                      <a:pt x="27" y="92"/>
                    </a:lnTo>
                    <a:lnTo>
                      <a:pt x="15" y="107"/>
                    </a:lnTo>
                    <a:lnTo>
                      <a:pt x="43" y="94"/>
                    </a:lnTo>
                    <a:lnTo>
                      <a:pt x="23" y="109"/>
                    </a:lnTo>
                    <a:lnTo>
                      <a:pt x="35" y="114"/>
                    </a:lnTo>
                    <a:lnTo>
                      <a:pt x="22" y="124"/>
                    </a:lnTo>
                    <a:lnTo>
                      <a:pt x="62" y="129"/>
                    </a:lnTo>
                    <a:lnTo>
                      <a:pt x="28" y="136"/>
                    </a:lnTo>
                    <a:lnTo>
                      <a:pt x="75" y="128"/>
                    </a:lnTo>
                    <a:lnTo>
                      <a:pt x="67" y="156"/>
                    </a:lnTo>
                    <a:lnTo>
                      <a:pt x="79" y="153"/>
                    </a:lnTo>
                    <a:lnTo>
                      <a:pt x="77" y="158"/>
                    </a:lnTo>
                    <a:lnTo>
                      <a:pt x="95" y="143"/>
                    </a:lnTo>
                    <a:lnTo>
                      <a:pt x="94" y="151"/>
                    </a:lnTo>
                    <a:lnTo>
                      <a:pt x="114" y="134"/>
                    </a:lnTo>
                    <a:lnTo>
                      <a:pt x="117" y="141"/>
                    </a:lnTo>
                    <a:lnTo>
                      <a:pt x="100" y="160"/>
                    </a:lnTo>
                    <a:lnTo>
                      <a:pt x="139" y="118"/>
                    </a:lnTo>
                    <a:lnTo>
                      <a:pt x="169" y="101"/>
                    </a:lnTo>
                    <a:lnTo>
                      <a:pt x="183" y="139"/>
                    </a:lnTo>
                    <a:lnTo>
                      <a:pt x="100" y="168"/>
                    </a:lnTo>
                    <a:lnTo>
                      <a:pt x="141" y="202"/>
                    </a:lnTo>
                    <a:lnTo>
                      <a:pt x="62" y="170"/>
                    </a:lnTo>
                    <a:lnTo>
                      <a:pt x="92" y="223"/>
                    </a:lnTo>
                    <a:lnTo>
                      <a:pt x="82" y="230"/>
                    </a:lnTo>
                    <a:lnTo>
                      <a:pt x="112" y="255"/>
                    </a:lnTo>
                    <a:lnTo>
                      <a:pt x="52" y="276"/>
                    </a:lnTo>
                    <a:lnTo>
                      <a:pt x="69" y="264"/>
                    </a:lnTo>
                    <a:lnTo>
                      <a:pt x="70" y="276"/>
                    </a:lnTo>
                    <a:lnTo>
                      <a:pt x="84" y="254"/>
                    </a:lnTo>
                    <a:lnTo>
                      <a:pt x="80" y="279"/>
                    </a:lnTo>
                    <a:lnTo>
                      <a:pt x="70" y="284"/>
                    </a:lnTo>
                    <a:lnTo>
                      <a:pt x="80" y="296"/>
                    </a:lnTo>
                    <a:lnTo>
                      <a:pt x="84" y="291"/>
                    </a:lnTo>
                    <a:lnTo>
                      <a:pt x="82" y="299"/>
                    </a:lnTo>
                    <a:lnTo>
                      <a:pt x="112" y="279"/>
                    </a:lnTo>
                    <a:lnTo>
                      <a:pt x="87" y="309"/>
                    </a:lnTo>
                    <a:lnTo>
                      <a:pt x="38" y="289"/>
                    </a:lnTo>
                    <a:lnTo>
                      <a:pt x="52" y="311"/>
                    </a:lnTo>
                    <a:lnTo>
                      <a:pt x="55" y="311"/>
                    </a:lnTo>
                    <a:lnTo>
                      <a:pt x="33" y="339"/>
                    </a:lnTo>
                    <a:lnTo>
                      <a:pt x="33" y="344"/>
                    </a:lnTo>
                    <a:lnTo>
                      <a:pt x="35" y="331"/>
                    </a:lnTo>
                    <a:lnTo>
                      <a:pt x="45" y="348"/>
                    </a:lnTo>
                    <a:lnTo>
                      <a:pt x="47" y="339"/>
                    </a:lnTo>
                    <a:lnTo>
                      <a:pt x="59" y="338"/>
                    </a:lnTo>
                    <a:lnTo>
                      <a:pt x="59" y="348"/>
                    </a:lnTo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46" name="Freeform 112"/>
              <p:cNvSpPr>
                <a:spLocks/>
              </p:cNvSpPr>
              <p:nvPr/>
            </p:nvSpPr>
            <p:spPr bwMode="auto">
              <a:xfrm>
                <a:off x="2159000" y="1608138"/>
                <a:ext cx="219075" cy="288925"/>
              </a:xfrm>
              <a:custGeom>
                <a:avLst/>
                <a:gdLst>
                  <a:gd name="T0" fmla="*/ 11 w 125"/>
                  <a:gd name="T1" fmla="*/ 42 h 165"/>
                  <a:gd name="T2" fmla="*/ 31 w 125"/>
                  <a:gd name="T3" fmla="*/ 45 h 165"/>
                  <a:gd name="T4" fmla="*/ 18 w 125"/>
                  <a:gd name="T5" fmla="*/ 17 h 165"/>
                  <a:gd name="T6" fmla="*/ 43 w 125"/>
                  <a:gd name="T7" fmla="*/ 10 h 165"/>
                  <a:gd name="T8" fmla="*/ 20 w 125"/>
                  <a:gd name="T9" fmla="*/ 0 h 165"/>
                  <a:gd name="T10" fmla="*/ 97 w 125"/>
                  <a:gd name="T11" fmla="*/ 67 h 165"/>
                  <a:gd name="T12" fmla="*/ 93 w 125"/>
                  <a:gd name="T13" fmla="*/ 50 h 165"/>
                  <a:gd name="T14" fmla="*/ 120 w 125"/>
                  <a:gd name="T15" fmla="*/ 99 h 165"/>
                  <a:gd name="T16" fmla="*/ 125 w 125"/>
                  <a:gd name="T17" fmla="*/ 92 h 165"/>
                  <a:gd name="T18" fmla="*/ 102 w 125"/>
                  <a:gd name="T19" fmla="*/ 139 h 165"/>
                  <a:gd name="T20" fmla="*/ 97 w 125"/>
                  <a:gd name="T21" fmla="*/ 119 h 165"/>
                  <a:gd name="T22" fmla="*/ 97 w 125"/>
                  <a:gd name="T23" fmla="*/ 149 h 165"/>
                  <a:gd name="T24" fmla="*/ 88 w 125"/>
                  <a:gd name="T25" fmla="*/ 141 h 165"/>
                  <a:gd name="T26" fmla="*/ 90 w 125"/>
                  <a:gd name="T27" fmla="*/ 163 h 165"/>
                  <a:gd name="T28" fmla="*/ 73 w 125"/>
                  <a:gd name="T29" fmla="*/ 143 h 165"/>
                  <a:gd name="T30" fmla="*/ 82 w 125"/>
                  <a:gd name="T31" fmla="*/ 165 h 165"/>
                  <a:gd name="T32" fmla="*/ 67 w 125"/>
                  <a:gd name="T33" fmla="*/ 158 h 165"/>
                  <a:gd name="T34" fmla="*/ 73 w 125"/>
                  <a:gd name="T35" fmla="*/ 165 h 165"/>
                  <a:gd name="T36" fmla="*/ 40 w 125"/>
                  <a:gd name="T37" fmla="*/ 148 h 165"/>
                  <a:gd name="T38" fmla="*/ 55 w 125"/>
                  <a:gd name="T39" fmla="*/ 146 h 165"/>
                  <a:gd name="T40" fmla="*/ 30 w 125"/>
                  <a:gd name="T41" fmla="*/ 124 h 165"/>
                  <a:gd name="T42" fmla="*/ 40 w 125"/>
                  <a:gd name="T43" fmla="*/ 101 h 165"/>
                  <a:gd name="T44" fmla="*/ 30 w 125"/>
                  <a:gd name="T45" fmla="*/ 109 h 165"/>
                  <a:gd name="T46" fmla="*/ 33 w 125"/>
                  <a:gd name="T47" fmla="*/ 104 h 165"/>
                  <a:gd name="T48" fmla="*/ 28 w 125"/>
                  <a:gd name="T49" fmla="*/ 89 h 165"/>
                  <a:gd name="T50" fmla="*/ 0 w 125"/>
                  <a:gd name="T51" fmla="*/ 65 h 165"/>
                  <a:gd name="T52" fmla="*/ 25 w 125"/>
                  <a:gd name="T53" fmla="*/ 75 h 165"/>
                  <a:gd name="T54" fmla="*/ 31 w 125"/>
                  <a:gd name="T55" fmla="*/ 65 h 165"/>
                  <a:gd name="T56" fmla="*/ 0 w 125"/>
                  <a:gd name="T57" fmla="*/ 54 h 165"/>
                  <a:gd name="T58" fmla="*/ 16 w 125"/>
                  <a:gd name="T59" fmla="*/ 54 h 165"/>
                  <a:gd name="T60" fmla="*/ 11 w 125"/>
                  <a:gd name="T61" fmla="*/ 42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25" h="165">
                    <a:moveTo>
                      <a:pt x="11" y="42"/>
                    </a:moveTo>
                    <a:lnTo>
                      <a:pt x="31" y="45"/>
                    </a:lnTo>
                    <a:lnTo>
                      <a:pt x="18" y="17"/>
                    </a:lnTo>
                    <a:lnTo>
                      <a:pt x="43" y="10"/>
                    </a:lnTo>
                    <a:lnTo>
                      <a:pt x="20" y="0"/>
                    </a:lnTo>
                    <a:lnTo>
                      <a:pt x="97" y="67"/>
                    </a:lnTo>
                    <a:lnTo>
                      <a:pt x="93" y="50"/>
                    </a:lnTo>
                    <a:lnTo>
                      <a:pt x="120" y="99"/>
                    </a:lnTo>
                    <a:lnTo>
                      <a:pt x="125" y="92"/>
                    </a:lnTo>
                    <a:lnTo>
                      <a:pt x="102" y="139"/>
                    </a:lnTo>
                    <a:lnTo>
                      <a:pt x="97" y="119"/>
                    </a:lnTo>
                    <a:lnTo>
                      <a:pt x="97" y="149"/>
                    </a:lnTo>
                    <a:lnTo>
                      <a:pt x="88" y="141"/>
                    </a:lnTo>
                    <a:lnTo>
                      <a:pt x="90" y="163"/>
                    </a:lnTo>
                    <a:lnTo>
                      <a:pt x="73" y="143"/>
                    </a:lnTo>
                    <a:lnTo>
                      <a:pt x="82" y="165"/>
                    </a:lnTo>
                    <a:lnTo>
                      <a:pt x="67" y="158"/>
                    </a:lnTo>
                    <a:lnTo>
                      <a:pt x="73" y="165"/>
                    </a:lnTo>
                    <a:lnTo>
                      <a:pt x="40" y="148"/>
                    </a:lnTo>
                    <a:lnTo>
                      <a:pt x="55" y="146"/>
                    </a:lnTo>
                    <a:lnTo>
                      <a:pt x="30" y="124"/>
                    </a:lnTo>
                    <a:lnTo>
                      <a:pt x="40" y="101"/>
                    </a:lnTo>
                    <a:lnTo>
                      <a:pt x="30" y="109"/>
                    </a:lnTo>
                    <a:lnTo>
                      <a:pt x="33" y="104"/>
                    </a:lnTo>
                    <a:lnTo>
                      <a:pt x="28" y="89"/>
                    </a:lnTo>
                    <a:lnTo>
                      <a:pt x="0" y="65"/>
                    </a:lnTo>
                    <a:lnTo>
                      <a:pt x="25" y="75"/>
                    </a:lnTo>
                    <a:lnTo>
                      <a:pt x="31" y="65"/>
                    </a:lnTo>
                    <a:lnTo>
                      <a:pt x="0" y="54"/>
                    </a:lnTo>
                    <a:lnTo>
                      <a:pt x="16" y="54"/>
                    </a:lnTo>
                    <a:lnTo>
                      <a:pt x="11" y="42"/>
                    </a:lnTo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47" name="Freeform 113"/>
              <p:cNvSpPr>
                <a:spLocks/>
              </p:cNvSpPr>
              <p:nvPr/>
            </p:nvSpPr>
            <p:spPr bwMode="auto">
              <a:xfrm>
                <a:off x="1865313" y="2014538"/>
                <a:ext cx="111125" cy="128587"/>
              </a:xfrm>
              <a:custGeom>
                <a:avLst/>
                <a:gdLst>
                  <a:gd name="T0" fmla="*/ 27 w 64"/>
                  <a:gd name="T1" fmla="*/ 74 h 74"/>
                  <a:gd name="T2" fmla="*/ 0 w 64"/>
                  <a:gd name="T3" fmla="*/ 35 h 74"/>
                  <a:gd name="T4" fmla="*/ 25 w 64"/>
                  <a:gd name="T5" fmla="*/ 38 h 74"/>
                  <a:gd name="T6" fmla="*/ 27 w 64"/>
                  <a:gd name="T7" fmla="*/ 27 h 74"/>
                  <a:gd name="T8" fmla="*/ 10 w 64"/>
                  <a:gd name="T9" fmla="*/ 15 h 74"/>
                  <a:gd name="T10" fmla="*/ 18 w 64"/>
                  <a:gd name="T11" fmla="*/ 17 h 74"/>
                  <a:gd name="T12" fmla="*/ 12 w 64"/>
                  <a:gd name="T13" fmla="*/ 7 h 74"/>
                  <a:gd name="T14" fmla="*/ 20 w 64"/>
                  <a:gd name="T15" fmla="*/ 0 h 74"/>
                  <a:gd name="T16" fmla="*/ 44 w 64"/>
                  <a:gd name="T17" fmla="*/ 37 h 74"/>
                  <a:gd name="T18" fmla="*/ 64 w 64"/>
                  <a:gd name="T19" fmla="*/ 42 h 74"/>
                  <a:gd name="T20" fmla="*/ 27 w 64"/>
                  <a:gd name="T21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4" h="74">
                    <a:moveTo>
                      <a:pt x="27" y="74"/>
                    </a:moveTo>
                    <a:lnTo>
                      <a:pt x="0" y="35"/>
                    </a:lnTo>
                    <a:lnTo>
                      <a:pt x="25" y="38"/>
                    </a:lnTo>
                    <a:lnTo>
                      <a:pt x="27" y="27"/>
                    </a:lnTo>
                    <a:lnTo>
                      <a:pt x="10" y="15"/>
                    </a:lnTo>
                    <a:lnTo>
                      <a:pt x="18" y="17"/>
                    </a:lnTo>
                    <a:lnTo>
                      <a:pt x="12" y="7"/>
                    </a:lnTo>
                    <a:lnTo>
                      <a:pt x="20" y="0"/>
                    </a:lnTo>
                    <a:lnTo>
                      <a:pt x="44" y="37"/>
                    </a:lnTo>
                    <a:lnTo>
                      <a:pt x="64" y="42"/>
                    </a:lnTo>
                    <a:lnTo>
                      <a:pt x="27" y="74"/>
                    </a:lnTo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48" name="Freeform 114"/>
              <p:cNvSpPr>
                <a:spLocks/>
              </p:cNvSpPr>
              <p:nvPr/>
            </p:nvSpPr>
            <p:spPr bwMode="auto">
              <a:xfrm>
                <a:off x="2016125" y="1931988"/>
                <a:ext cx="112713" cy="120650"/>
              </a:xfrm>
              <a:custGeom>
                <a:avLst/>
                <a:gdLst>
                  <a:gd name="T0" fmla="*/ 62 w 64"/>
                  <a:gd name="T1" fmla="*/ 28 h 69"/>
                  <a:gd name="T2" fmla="*/ 64 w 64"/>
                  <a:gd name="T3" fmla="*/ 52 h 69"/>
                  <a:gd name="T4" fmla="*/ 59 w 64"/>
                  <a:gd name="T5" fmla="*/ 43 h 69"/>
                  <a:gd name="T6" fmla="*/ 61 w 64"/>
                  <a:gd name="T7" fmla="*/ 62 h 69"/>
                  <a:gd name="T8" fmla="*/ 55 w 64"/>
                  <a:gd name="T9" fmla="*/ 60 h 69"/>
                  <a:gd name="T10" fmla="*/ 39 w 64"/>
                  <a:gd name="T11" fmla="*/ 64 h 69"/>
                  <a:gd name="T12" fmla="*/ 30 w 64"/>
                  <a:gd name="T13" fmla="*/ 69 h 69"/>
                  <a:gd name="T14" fmla="*/ 0 w 64"/>
                  <a:gd name="T15" fmla="*/ 43 h 69"/>
                  <a:gd name="T16" fmla="*/ 19 w 64"/>
                  <a:gd name="T17" fmla="*/ 37 h 69"/>
                  <a:gd name="T18" fmla="*/ 12 w 64"/>
                  <a:gd name="T19" fmla="*/ 10 h 69"/>
                  <a:gd name="T20" fmla="*/ 37 w 64"/>
                  <a:gd name="T21" fmla="*/ 28 h 69"/>
                  <a:gd name="T22" fmla="*/ 20 w 64"/>
                  <a:gd name="T23" fmla="*/ 8 h 69"/>
                  <a:gd name="T24" fmla="*/ 49 w 64"/>
                  <a:gd name="T25" fmla="*/ 0 h 69"/>
                  <a:gd name="T26" fmla="*/ 62 w 64"/>
                  <a:gd name="T27" fmla="*/ 28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4" h="69">
                    <a:moveTo>
                      <a:pt x="62" y="28"/>
                    </a:moveTo>
                    <a:lnTo>
                      <a:pt x="64" y="52"/>
                    </a:lnTo>
                    <a:lnTo>
                      <a:pt x="59" y="43"/>
                    </a:lnTo>
                    <a:lnTo>
                      <a:pt x="61" y="62"/>
                    </a:lnTo>
                    <a:lnTo>
                      <a:pt x="55" y="60"/>
                    </a:lnTo>
                    <a:lnTo>
                      <a:pt x="39" y="64"/>
                    </a:lnTo>
                    <a:lnTo>
                      <a:pt x="30" y="69"/>
                    </a:lnTo>
                    <a:lnTo>
                      <a:pt x="0" y="43"/>
                    </a:lnTo>
                    <a:lnTo>
                      <a:pt x="19" y="37"/>
                    </a:lnTo>
                    <a:lnTo>
                      <a:pt x="12" y="10"/>
                    </a:lnTo>
                    <a:lnTo>
                      <a:pt x="37" y="28"/>
                    </a:lnTo>
                    <a:lnTo>
                      <a:pt x="20" y="8"/>
                    </a:lnTo>
                    <a:lnTo>
                      <a:pt x="49" y="0"/>
                    </a:lnTo>
                    <a:lnTo>
                      <a:pt x="62" y="28"/>
                    </a:lnTo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49" name="Freeform 115"/>
              <p:cNvSpPr>
                <a:spLocks/>
              </p:cNvSpPr>
              <p:nvPr/>
            </p:nvSpPr>
            <p:spPr bwMode="auto">
              <a:xfrm>
                <a:off x="2114550" y="1835150"/>
                <a:ext cx="66675" cy="73025"/>
              </a:xfrm>
              <a:custGeom>
                <a:avLst/>
                <a:gdLst>
                  <a:gd name="T0" fmla="*/ 39 w 39"/>
                  <a:gd name="T1" fmla="*/ 42 h 42"/>
                  <a:gd name="T2" fmla="*/ 0 w 39"/>
                  <a:gd name="T3" fmla="*/ 0 h 42"/>
                  <a:gd name="T4" fmla="*/ 39 w 39"/>
                  <a:gd name="T5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9" h="42">
                    <a:moveTo>
                      <a:pt x="39" y="42"/>
                    </a:moveTo>
                    <a:lnTo>
                      <a:pt x="0" y="0"/>
                    </a:lnTo>
                    <a:lnTo>
                      <a:pt x="39" y="42"/>
                    </a:lnTo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50" name="Freeform 116"/>
              <p:cNvSpPr>
                <a:spLocks/>
              </p:cNvSpPr>
              <p:nvPr/>
            </p:nvSpPr>
            <p:spPr bwMode="auto">
              <a:xfrm>
                <a:off x="1968500" y="1825625"/>
                <a:ext cx="119063" cy="88900"/>
              </a:xfrm>
              <a:custGeom>
                <a:avLst/>
                <a:gdLst>
                  <a:gd name="T0" fmla="*/ 61 w 67"/>
                  <a:gd name="T1" fmla="*/ 10 h 51"/>
                  <a:gd name="T2" fmla="*/ 67 w 67"/>
                  <a:gd name="T3" fmla="*/ 51 h 51"/>
                  <a:gd name="T4" fmla="*/ 0 w 67"/>
                  <a:gd name="T5" fmla="*/ 20 h 51"/>
                  <a:gd name="T6" fmla="*/ 19 w 67"/>
                  <a:gd name="T7" fmla="*/ 17 h 51"/>
                  <a:gd name="T8" fmla="*/ 12 w 67"/>
                  <a:gd name="T9" fmla="*/ 17 h 51"/>
                  <a:gd name="T10" fmla="*/ 19 w 67"/>
                  <a:gd name="T11" fmla="*/ 9 h 51"/>
                  <a:gd name="T12" fmla="*/ 9 w 67"/>
                  <a:gd name="T13" fmla="*/ 0 h 51"/>
                  <a:gd name="T14" fmla="*/ 0 w 67"/>
                  <a:gd name="T15" fmla="*/ 9 h 51"/>
                  <a:gd name="T16" fmla="*/ 22 w 67"/>
                  <a:gd name="T17" fmla="*/ 0 h 51"/>
                  <a:gd name="T18" fmla="*/ 61 w 67"/>
                  <a:gd name="T19" fmla="*/ 1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7" h="51">
                    <a:moveTo>
                      <a:pt x="61" y="10"/>
                    </a:moveTo>
                    <a:lnTo>
                      <a:pt x="67" y="51"/>
                    </a:lnTo>
                    <a:lnTo>
                      <a:pt x="0" y="20"/>
                    </a:lnTo>
                    <a:lnTo>
                      <a:pt x="19" y="17"/>
                    </a:lnTo>
                    <a:lnTo>
                      <a:pt x="12" y="17"/>
                    </a:lnTo>
                    <a:lnTo>
                      <a:pt x="19" y="9"/>
                    </a:lnTo>
                    <a:lnTo>
                      <a:pt x="9" y="0"/>
                    </a:lnTo>
                    <a:lnTo>
                      <a:pt x="0" y="9"/>
                    </a:lnTo>
                    <a:lnTo>
                      <a:pt x="22" y="0"/>
                    </a:lnTo>
                    <a:lnTo>
                      <a:pt x="61" y="10"/>
                    </a:lnTo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51" name="Freeform 117"/>
              <p:cNvSpPr>
                <a:spLocks/>
              </p:cNvSpPr>
              <p:nvPr/>
            </p:nvSpPr>
            <p:spPr bwMode="auto">
              <a:xfrm>
                <a:off x="1949450" y="1924050"/>
                <a:ext cx="31750" cy="39688"/>
              </a:xfrm>
              <a:custGeom>
                <a:avLst/>
                <a:gdLst>
                  <a:gd name="T0" fmla="*/ 11 w 18"/>
                  <a:gd name="T1" fmla="*/ 6 h 23"/>
                  <a:gd name="T2" fmla="*/ 18 w 18"/>
                  <a:gd name="T3" fmla="*/ 23 h 23"/>
                  <a:gd name="T4" fmla="*/ 0 w 18"/>
                  <a:gd name="T5" fmla="*/ 0 h 23"/>
                  <a:gd name="T6" fmla="*/ 11 w 18"/>
                  <a:gd name="T7" fmla="*/ 6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" h="23">
                    <a:moveTo>
                      <a:pt x="11" y="6"/>
                    </a:moveTo>
                    <a:lnTo>
                      <a:pt x="18" y="23"/>
                    </a:lnTo>
                    <a:lnTo>
                      <a:pt x="0" y="0"/>
                    </a:lnTo>
                    <a:lnTo>
                      <a:pt x="11" y="6"/>
                    </a:lnTo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52" name="Freeform 118"/>
              <p:cNvSpPr>
                <a:spLocks/>
              </p:cNvSpPr>
              <p:nvPr/>
            </p:nvSpPr>
            <p:spPr bwMode="auto">
              <a:xfrm>
                <a:off x="1698625" y="1979613"/>
                <a:ext cx="236538" cy="165100"/>
              </a:xfrm>
              <a:custGeom>
                <a:avLst/>
                <a:gdLst>
                  <a:gd name="T0" fmla="*/ 92 w 134"/>
                  <a:gd name="T1" fmla="*/ 15 h 95"/>
                  <a:gd name="T2" fmla="*/ 107 w 134"/>
                  <a:gd name="T3" fmla="*/ 0 h 95"/>
                  <a:gd name="T4" fmla="*/ 118 w 134"/>
                  <a:gd name="T5" fmla="*/ 45 h 95"/>
                  <a:gd name="T6" fmla="*/ 131 w 134"/>
                  <a:gd name="T7" fmla="*/ 48 h 95"/>
                  <a:gd name="T8" fmla="*/ 134 w 134"/>
                  <a:gd name="T9" fmla="*/ 33 h 95"/>
                  <a:gd name="T10" fmla="*/ 109 w 134"/>
                  <a:gd name="T11" fmla="*/ 72 h 95"/>
                  <a:gd name="T12" fmla="*/ 49 w 134"/>
                  <a:gd name="T13" fmla="*/ 95 h 95"/>
                  <a:gd name="T14" fmla="*/ 81 w 134"/>
                  <a:gd name="T15" fmla="*/ 65 h 95"/>
                  <a:gd name="T16" fmla="*/ 45 w 134"/>
                  <a:gd name="T17" fmla="*/ 75 h 95"/>
                  <a:gd name="T18" fmla="*/ 52 w 134"/>
                  <a:gd name="T19" fmla="*/ 58 h 95"/>
                  <a:gd name="T20" fmla="*/ 37 w 134"/>
                  <a:gd name="T21" fmla="*/ 63 h 95"/>
                  <a:gd name="T22" fmla="*/ 0 w 134"/>
                  <a:gd name="T23" fmla="*/ 67 h 95"/>
                  <a:gd name="T24" fmla="*/ 30 w 134"/>
                  <a:gd name="T25" fmla="*/ 47 h 95"/>
                  <a:gd name="T26" fmla="*/ 5 w 134"/>
                  <a:gd name="T27" fmla="*/ 53 h 95"/>
                  <a:gd name="T28" fmla="*/ 104 w 134"/>
                  <a:gd name="T29" fmla="*/ 53 h 95"/>
                  <a:gd name="T30" fmla="*/ 92 w 134"/>
                  <a:gd name="T31" fmla="*/ 1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34" h="95">
                    <a:moveTo>
                      <a:pt x="92" y="15"/>
                    </a:moveTo>
                    <a:lnTo>
                      <a:pt x="107" y="0"/>
                    </a:lnTo>
                    <a:lnTo>
                      <a:pt x="118" y="45"/>
                    </a:lnTo>
                    <a:lnTo>
                      <a:pt x="131" y="48"/>
                    </a:lnTo>
                    <a:lnTo>
                      <a:pt x="134" y="33"/>
                    </a:lnTo>
                    <a:lnTo>
                      <a:pt x="109" y="72"/>
                    </a:lnTo>
                    <a:lnTo>
                      <a:pt x="49" y="95"/>
                    </a:lnTo>
                    <a:lnTo>
                      <a:pt x="81" y="65"/>
                    </a:lnTo>
                    <a:lnTo>
                      <a:pt x="45" y="75"/>
                    </a:lnTo>
                    <a:lnTo>
                      <a:pt x="52" y="58"/>
                    </a:lnTo>
                    <a:lnTo>
                      <a:pt x="37" y="63"/>
                    </a:lnTo>
                    <a:lnTo>
                      <a:pt x="0" y="67"/>
                    </a:lnTo>
                    <a:lnTo>
                      <a:pt x="30" y="47"/>
                    </a:lnTo>
                    <a:lnTo>
                      <a:pt x="5" y="53"/>
                    </a:lnTo>
                    <a:lnTo>
                      <a:pt x="104" y="53"/>
                    </a:lnTo>
                    <a:lnTo>
                      <a:pt x="92" y="15"/>
                    </a:lnTo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53" name="Freeform 119"/>
              <p:cNvSpPr>
                <a:spLocks/>
              </p:cNvSpPr>
              <p:nvPr/>
            </p:nvSpPr>
            <p:spPr bwMode="auto">
              <a:xfrm>
                <a:off x="1587500" y="1943100"/>
                <a:ext cx="123825" cy="111125"/>
              </a:xfrm>
              <a:custGeom>
                <a:avLst/>
                <a:gdLst>
                  <a:gd name="T0" fmla="*/ 33 w 70"/>
                  <a:gd name="T1" fmla="*/ 19 h 64"/>
                  <a:gd name="T2" fmla="*/ 58 w 70"/>
                  <a:gd name="T3" fmla="*/ 4 h 64"/>
                  <a:gd name="T4" fmla="*/ 58 w 70"/>
                  <a:gd name="T5" fmla="*/ 9 h 64"/>
                  <a:gd name="T6" fmla="*/ 70 w 70"/>
                  <a:gd name="T7" fmla="*/ 5 h 64"/>
                  <a:gd name="T8" fmla="*/ 67 w 70"/>
                  <a:gd name="T9" fmla="*/ 0 h 64"/>
                  <a:gd name="T10" fmla="*/ 60 w 70"/>
                  <a:gd name="T11" fmla="*/ 44 h 64"/>
                  <a:gd name="T12" fmla="*/ 60 w 70"/>
                  <a:gd name="T13" fmla="*/ 27 h 64"/>
                  <a:gd name="T14" fmla="*/ 30 w 70"/>
                  <a:gd name="T15" fmla="*/ 64 h 64"/>
                  <a:gd name="T16" fmla="*/ 25 w 70"/>
                  <a:gd name="T17" fmla="*/ 49 h 64"/>
                  <a:gd name="T18" fmla="*/ 5 w 70"/>
                  <a:gd name="T19" fmla="*/ 59 h 64"/>
                  <a:gd name="T20" fmla="*/ 5 w 70"/>
                  <a:gd name="T21" fmla="*/ 51 h 64"/>
                  <a:gd name="T22" fmla="*/ 0 w 70"/>
                  <a:gd name="T23" fmla="*/ 54 h 64"/>
                  <a:gd name="T24" fmla="*/ 33 w 70"/>
                  <a:gd name="T25" fmla="*/ 19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0" h="64">
                    <a:moveTo>
                      <a:pt x="33" y="19"/>
                    </a:moveTo>
                    <a:lnTo>
                      <a:pt x="58" y="4"/>
                    </a:lnTo>
                    <a:lnTo>
                      <a:pt x="58" y="9"/>
                    </a:lnTo>
                    <a:lnTo>
                      <a:pt x="70" y="5"/>
                    </a:lnTo>
                    <a:lnTo>
                      <a:pt x="67" y="0"/>
                    </a:lnTo>
                    <a:lnTo>
                      <a:pt x="60" y="44"/>
                    </a:lnTo>
                    <a:lnTo>
                      <a:pt x="60" y="27"/>
                    </a:lnTo>
                    <a:lnTo>
                      <a:pt x="30" y="64"/>
                    </a:lnTo>
                    <a:lnTo>
                      <a:pt x="25" y="49"/>
                    </a:lnTo>
                    <a:lnTo>
                      <a:pt x="5" y="59"/>
                    </a:lnTo>
                    <a:lnTo>
                      <a:pt x="5" y="51"/>
                    </a:lnTo>
                    <a:lnTo>
                      <a:pt x="0" y="54"/>
                    </a:lnTo>
                    <a:lnTo>
                      <a:pt x="33" y="19"/>
                    </a:lnTo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54" name="Freeform 120"/>
              <p:cNvSpPr>
                <a:spLocks/>
              </p:cNvSpPr>
              <p:nvPr/>
            </p:nvSpPr>
            <p:spPr bwMode="auto">
              <a:xfrm>
                <a:off x="1816100" y="1900238"/>
                <a:ext cx="49213" cy="20637"/>
              </a:xfrm>
              <a:custGeom>
                <a:avLst/>
                <a:gdLst>
                  <a:gd name="T0" fmla="*/ 0 w 27"/>
                  <a:gd name="T1" fmla="*/ 0 h 12"/>
                  <a:gd name="T2" fmla="*/ 27 w 27"/>
                  <a:gd name="T3" fmla="*/ 2 h 12"/>
                  <a:gd name="T4" fmla="*/ 7 w 27"/>
                  <a:gd name="T5" fmla="*/ 10 h 12"/>
                  <a:gd name="T6" fmla="*/ 22 w 27"/>
                  <a:gd name="T7" fmla="*/ 12 h 12"/>
                  <a:gd name="T8" fmla="*/ 0 w 27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12">
                    <a:moveTo>
                      <a:pt x="0" y="0"/>
                    </a:moveTo>
                    <a:lnTo>
                      <a:pt x="27" y="2"/>
                    </a:lnTo>
                    <a:lnTo>
                      <a:pt x="7" y="10"/>
                    </a:lnTo>
                    <a:lnTo>
                      <a:pt x="22" y="12"/>
                    </a:lnTo>
                    <a:lnTo>
                      <a:pt x="0" y="0"/>
                    </a:lnTo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55" name="Freeform 121"/>
              <p:cNvSpPr>
                <a:spLocks/>
              </p:cNvSpPr>
              <p:nvPr/>
            </p:nvSpPr>
            <p:spPr bwMode="auto">
              <a:xfrm>
                <a:off x="1787525" y="1852613"/>
                <a:ext cx="82550" cy="25400"/>
              </a:xfrm>
              <a:custGeom>
                <a:avLst/>
                <a:gdLst>
                  <a:gd name="T0" fmla="*/ 41 w 46"/>
                  <a:gd name="T1" fmla="*/ 0 h 15"/>
                  <a:gd name="T2" fmla="*/ 46 w 46"/>
                  <a:gd name="T3" fmla="*/ 14 h 15"/>
                  <a:gd name="T4" fmla="*/ 0 w 46"/>
                  <a:gd name="T5" fmla="*/ 15 h 15"/>
                  <a:gd name="T6" fmla="*/ 41 w 46"/>
                  <a:gd name="T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6" h="15">
                    <a:moveTo>
                      <a:pt x="41" y="0"/>
                    </a:moveTo>
                    <a:lnTo>
                      <a:pt x="46" y="14"/>
                    </a:lnTo>
                    <a:lnTo>
                      <a:pt x="0" y="15"/>
                    </a:lnTo>
                    <a:lnTo>
                      <a:pt x="41" y="0"/>
                    </a:lnTo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56" name="Freeform 122"/>
              <p:cNvSpPr>
                <a:spLocks/>
              </p:cNvSpPr>
              <p:nvPr/>
            </p:nvSpPr>
            <p:spPr bwMode="auto">
              <a:xfrm>
                <a:off x="2097088" y="1730375"/>
                <a:ext cx="14287" cy="39688"/>
              </a:xfrm>
              <a:custGeom>
                <a:avLst/>
                <a:gdLst>
                  <a:gd name="T0" fmla="*/ 0 w 9"/>
                  <a:gd name="T1" fmla="*/ 0 h 23"/>
                  <a:gd name="T2" fmla="*/ 9 w 9"/>
                  <a:gd name="T3" fmla="*/ 23 h 23"/>
                  <a:gd name="T4" fmla="*/ 0 w 9"/>
                  <a:gd name="T5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23">
                    <a:moveTo>
                      <a:pt x="0" y="0"/>
                    </a:moveTo>
                    <a:lnTo>
                      <a:pt x="9" y="23"/>
                    </a:lnTo>
                    <a:lnTo>
                      <a:pt x="0" y="0"/>
                    </a:lnTo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57" name="Freeform 123"/>
              <p:cNvSpPr>
                <a:spLocks/>
              </p:cNvSpPr>
              <p:nvPr/>
            </p:nvSpPr>
            <p:spPr bwMode="auto">
              <a:xfrm>
                <a:off x="2160588" y="1924050"/>
                <a:ext cx="20637" cy="11113"/>
              </a:xfrm>
              <a:custGeom>
                <a:avLst/>
                <a:gdLst>
                  <a:gd name="T0" fmla="*/ 12 w 12"/>
                  <a:gd name="T1" fmla="*/ 0 h 6"/>
                  <a:gd name="T2" fmla="*/ 0 w 12"/>
                  <a:gd name="T3" fmla="*/ 6 h 6"/>
                  <a:gd name="T4" fmla="*/ 12 w 12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6">
                    <a:moveTo>
                      <a:pt x="12" y="0"/>
                    </a:moveTo>
                    <a:lnTo>
                      <a:pt x="0" y="6"/>
                    </a:lnTo>
                    <a:lnTo>
                      <a:pt x="12" y="0"/>
                    </a:lnTo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58" name="Freeform 124"/>
              <p:cNvSpPr>
                <a:spLocks/>
              </p:cNvSpPr>
              <p:nvPr/>
            </p:nvSpPr>
            <p:spPr bwMode="auto">
              <a:xfrm>
                <a:off x="2143125" y="1963738"/>
                <a:ext cx="342900" cy="188912"/>
              </a:xfrm>
              <a:custGeom>
                <a:avLst/>
                <a:gdLst>
                  <a:gd name="T0" fmla="*/ 24 w 196"/>
                  <a:gd name="T1" fmla="*/ 0 h 108"/>
                  <a:gd name="T2" fmla="*/ 0 w 196"/>
                  <a:gd name="T3" fmla="*/ 4 h 108"/>
                  <a:gd name="T4" fmla="*/ 7 w 196"/>
                  <a:gd name="T5" fmla="*/ 12 h 108"/>
                  <a:gd name="T6" fmla="*/ 0 w 196"/>
                  <a:gd name="T7" fmla="*/ 9 h 108"/>
                  <a:gd name="T8" fmla="*/ 66 w 196"/>
                  <a:gd name="T9" fmla="*/ 101 h 108"/>
                  <a:gd name="T10" fmla="*/ 71 w 196"/>
                  <a:gd name="T11" fmla="*/ 94 h 108"/>
                  <a:gd name="T12" fmla="*/ 72 w 196"/>
                  <a:gd name="T13" fmla="*/ 101 h 108"/>
                  <a:gd name="T14" fmla="*/ 72 w 196"/>
                  <a:gd name="T15" fmla="*/ 96 h 108"/>
                  <a:gd name="T16" fmla="*/ 91 w 196"/>
                  <a:gd name="T17" fmla="*/ 94 h 108"/>
                  <a:gd name="T18" fmla="*/ 94 w 196"/>
                  <a:gd name="T19" fmla="*/ 99 h 108"/>
                  <a:gd name="T20" fmla="*/ 128 w 196"/>
                  <a:gd name="T21" fmla="*/ 103 h 108"/>
                  <a:gd name="T22" fmla="*/ 131 w 196"/>
                  <a:gd name="T23" fmla="*/ 108 h 108"/>
                  <a:gd name="T24" fmla="*/ 141 w 196"/>
                  <a:gd name="T25" fmla="*/ 106 h 108"/>
                  <a:gd name="T26" fmla="*/ 143 w 196"/>
                  <a:gd name="T27" fmla="*/ 98 h 108"/>
                  <a:gd name="T28" fmla="*/ 196 w 196"/>
                  <a:gd name="T29" fmla="*/ 61 h 108"/>
                  <a:gd name="T30" fmla="*/ 128 w 196"/>
                  <a:gd name="T31" fmla="*/ 66 h 108"/>
                  <a:gd name="T32" fmla="*/ 136 w 196"/>
                  <a:gd name="T33" fmla="*/ 72 h 108"/>
                  <a:gd name="T34" fmla="*/ 121 w 196"/>
                  <a:gd name="T35" fmla="*/ 74 h 108"/>
                  <a:gd name="T36" fmla="*/ 109 w 196"/>
                  <a:gd name="T37" fmla="*/ 69 h 108"/>
                  <a:gd name="T38" fmla="*/ 97 w 196"/>
                  <a:gd name="T39" fmla="*/ 61 h 108"/>
                  <a:gd name="T40" fmla="*/ 94 w 196"/>
                  <a:gd name="T41" fmla="*/ 71 h 108"/>
                  <a:gd name="T42" fmla="*/ 67 w 196"/>
                  <a:gd name="T43" fmla="*/ 56 h 108"/>
                  <a:gd name="T44" fmla="*/ 77 w 196"/>
                  <a:gd name="T45" fmla="*/ 46 h 108"/>
                  <a:gd name="T46" fmla="*/ 24 w 196"/>
                  <a:gd name="T47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96" h="108">
                    <a:moveTo>
                      <a:pt x="24" y="0"/>
                    </a:moveTo>
                    <a:lnTo>
                      <a:pt x="0" y="4"/>
                    </a:lnTo>
                    <a:lnTo>
                      <a:pt x="7" y="12"/>
                    </a:lnTo>
                    <a:lnTo>
                      <a:pt x="0" y="9"/>
                    </a:lnTo>
                    <a:lnTo>
                      <a:pt x="66" y="101"/>
                    </a:lnTo>
                    <a:lnTo>
                      <a:pt x="71" y="94"/>
                    </a:lnTo>
                    <a:lnTo>
                      <a:pt x="72" y="101"/>
                    </a:lnTo>
                    <a:lnTo>
                      <a:pt x="72" y="96"/>
                    </a:lnTo>
                    <a:lnTo>
                      <a:pt x="91" y="94"/>
                    </a:lnTo>
                    <a:lnTo>
                      <a:pt x="94" y="99"/>
                    </a:lnTo>
                    <a:lnTo>
                      <a:pt x="128" y="103"/>
                    </a:lnTo>
                    <a:lnTo>
                      <a:pt x="131" y="108"/>
                    </a:lnTo>
                    <a:lnTo>
                      <a:pt x="141" y="106"/>
                    </a:lnTo>
                    <a:lnTo>
                      <a:pt x="143" y="98"/>
                    </a:lnTo>
                    <a:lnTo>
                      <a:pt x="196" y="61"/>
                    </a:lnTo>
                    <a:lnTo>
                      <a:pt x="128" y="66"/>
                    </a:lnTo>
                    <a:lnTo>
                      <a:pt x="136" y="72"/>
                    </a:lnTo>
                    <a:lnTo>
                      <a:pt x="121" y="74"/>
                    </a:lnTo>
                    <a:lnTo>
                      <a:pt x="109" y="69"/>
                    </a:lnTo>
                    <a:lnTo>
                      <a:pt x="97" y="61"/>
                    </a:lnTo>
                    <a:lnTo>
                      <a:pt x="94" y="71"/>
                    </a:lnTo>
                    <a:lnTo>
                      <a:pt x="67" y="56"/>
                    </a:lnTo>
                    <a:lnTo>
                      <a:pt x="77" y="46"/>
                    </a:lnTo>
                    <a:lnTo>
                      <a:pt x="24" y="0"/>
                    </a:lnTo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59" name="Freeform 125"/>
              <p:cNvSpPr>
                <a:spLocks/>
              </p:cNvSpPr>
              <p:nvPr/>
            </p:nvSpPr>
            <p:spPr bwMode="auto">
              <a:xfrm>
                <a:off x="2155825" y="1998663"/>
                <a:ext cx="55563" cy="73025"/>
              </a:xfrm>
              <a:custGeom>
                <a:avLst/>
                <a:gdLst>
                  <a:gd name="T0" fmla="*/ 15 w 32"/>
                  <a:gd name="T1" fmla="*/ 0 h 42"/>
                  <a:gd name="T2" fmla="*/ 32 w 32"/>
                  <a:gd name="T3" fmla="*/ 42 h 42"/>
                  <a:gd name="T4" fmla="*/ 0 w 32"/>
                  <a:gd name="T5" fmla="*/ 32 h 42"/>
                  <a:gd name="T6" fmla="*/ 15 w 32"/>
                  <a:gd name="T7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2" h="42">
                    <a:moveTo>
                      <a:pt x="15" y="0"/>
                    </a:moveTo>
                    <a:lnTo>
                      <a:pt x="32" y="42"/>
                    </a:lnTo>
                    <a:lnTo>
                      <a:pt x="0" y="32"/>
                    </a:lnTo>
                    <a:lnTo>
                      <a:pt x="15" y="0"/>
                    </a:lnTo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60" name="Freeform 126"/>
              <p:cNvSpPr>
                <a:spLocks/>
              </p:cNvSpPr>
              <p:nvPr/>
            </p:nvSpPr>
            <p:spPr bwMode="auto">
              <a:xfrm>
                <a:off x="2003425" y="1997075"/>
                <a:ext cx="100013" cy="134938"/>
              </a:xfrm>
              <a:custGeom>
                <a:avLst/>
                <a:gdLst>
                  <a:gd name="T0" fmla="*/ 2 w 56"/>
                  <a:gd name="T1" fmla="*/ 0 h 77"/>
                  <a:gd name="T2" fmla="*/ 56 w 56"/>
                  <a:gd name="T3" fmla="*/ 6 h 77"/>
                  <a:gd name="T4" fmla="*/ 0 w 56"/>
                  <a:gd name="T5" fmla="*/ 77 h 77"/>
                  <a:gd name="T6" fmla="*/ 2 w 56"/>
                  <a:gd name="T7" fmla="*/ 0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6" h="77">
                    <a:moveTo>
                      <a:pt x="2" y="0"/>
                    </a:moveTo>
                    <a:lnTo>
                      <a:pt x="56" y="6"/>
                    </a:lnTo>
                    <a:lnTo>
                      <a:pt x="0" y="77"/>
                    </a:lnTo>
                    <a:lnTo>
                      <a:pt x="2" y="0"/>
                    </a:lnTo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61" name="Freeform 127"/>
              <p:cNvSpPr>
                <a:spLocks/>
              </p:cNvSpPr>
              <p:nvPr/>
            </p:nvSpPr>
            <p:spPr bwMode="auto">
              <a:xfrm>
                <a:off x="3440113" y="2840038"/>
                <a:ext cx="244475" cy="142875"/>
              </a:xfrm>
              <a:custGeom>
                <a:avLst/>
                <a:gdLst>
                  <a:gd name="T0" fmla="*/ 59 w 139"/>
                  <a:gd name="T1" fmla="*/ 82 h 82"/>
                  <a:gd name="T2" fmla="*/ 24 w 139"/>
                  <a:gd name="T3" fmla="*/ 69 h 82"/>
                  <a:gd name="T4" fmla="*/ 35 w 139"/>
                  <a:gd name="T5" fmla="*/ 61 h 82"/>
                  <a:gd name="T6" fmla="*/ 30 w 139"/>
                  <a:gd name="T7" fmla="*/ 62 h 82"/>
                  <a:gd name="T8" fmla="*/ 35 w 139"/>
                  <a:gd name="T9" fmla="*/ 54 h 82"/>
                  <a:gd name="T10" fmla="*/ 8 w 139"/>
                  <a:gd name="T11" fmla="*/ 49 h 82"/>
                  <a:gd name="T12" fmla="*/ 35 w 139"/>
                  <a:gd name="T13" fmla="*/ 37 h 82"/>
                  <a:gd name="T14" fmla="*/ 27 w 139"/>
                  <a:gd name="T15" fmla="*/ 39 h 82"/>
                  <a:gd name="T16" fmla="*/ 35 w 139"/>
                  <a:gd name="T17" fmla="*/ 30 h 82"/>
                  <a:gd name="T18" fmla="*/ 0 w 139"/>
                  <a:gd name="T19" fmla="*/ 30 h 82"/>
                  <a:gd name="T20" fmla="*/ 5 w 139"/>
                  <a:gd name="T21" fmla="*/ 19 h 82"/>
                  <a:gd name="T22" fmla="*/ 17 w 139"/>
                  <a:gd name="T23" fmla="*/ 24 h 82"/>
                  <a:gd name="T24" fmla="*/ 10 w 139"/>
                  <a:gd name="T25" fmla="*/ 19 h 82"/>
                  <a:gd name="T26" fmla="*/ 13 w 139"/>
                  <a:gd name="T27" fmla="*/ 17 h 82"/>
                  <a:gd name="T28" fmla="*/ 8 w 139"/>
                  <a:gd name="T29" fmla="*/ 12 h 82"/>
                  <a:gd name="T30" fmla="*/ 12 w 139"/>
                  <a:gd name="T31" fmla="*/ 14 h 82"/>
                  <a:gd name="T32" fmla="*/ 12 w 139"/>
                  <a:gd name="T33" fmla="*/ 10 h 82"/>
                  <a:gd name="T34" fmla="*/ 13 w 139"/>
                  <a:gd name="T35" fmla="*/ 12 h 82"/>
                  <a:gd name="T36" fmla="*/ 12 w 139"/>
                  <a:gd name="T37" fmla="*/ 9 h 82"/>
                  <a:gd name="T38" fmla="*/ 25 w 139"/>
                  <a:gd name="T39" fmla="*/ 19 h 82"/>
                  <a:gd name="T40" fmla="*/ 25 w 139"/>
                  <a:gd name="T41" fmla="*/ 15 h 82"/>
                  <a:gd name="T42" fmla="*/ 27 w 139"/>
                  <a:gd name="T43" fmla="*/ 19 h 82"/>
                  <a:gd name="T44" fmla="*/ 22 w 139"/>
                  <a:gd name="T45" fmla="*/ 7 h 82"/>
                  <a:gd name="T46" fmla="*/ 27 w 139"/>
                  <a:gd name="T47" fmla="*/ 7 h 82"/>
                  <a:gd name="T48" fmla="*/ 19 w 139"/>
                  <a:gd name="T49" fmla="*/ 0 h 82"/>
                  <a:gd name="T50" fmla="*/ 42 w 139"/>
                  <a:gd name="T51" fmla="*/ 35 h 82"/>
                  <a:gd name="T52" fmla="*/ 49 w 139"/>
                  <a:gd name="T53" fmla="*/ 24 h 82"/>
                  <a:gd name="T54" fmla="*/ 52 w 139"/>
                  <a:gd name="T55" fmla="*/ 29 h 82"/>
                  <a:gd name="T56" fmla="*/ 54 w 139"/>
                  <a:gd name="T57" fmla="*/ 12 h 82"/>
                  <a:gd name="T58" fmla="*/ 64 w 139"/>
                  <a:gd name="T59" fmla="*/ 22 h 82"/>
                  <a:gd name="T60" fmla="*/ 74 w 139"/>
                  <a:gd name="T61" fmla="*/ 9 h 82"/>
                  <a:gd name="T62" fmla="*/ 82 w 139"/>
                  <a:gd name="T63" fmla="*/ 24 h 82"/>
                  <a:gd name="T64" fmla="*/ 79 w 139"/>
                  <a:gd name="T65" fmla="*/ 9 h 82"/>
                  <a:gd name="T66" fmla="*/ 102 w 139"/>
                  <a:gd name="T67" fmla="*/ 9 h 82"/>
                  <a:gd name="T68" fmla="*/ 101 w 139"/>
                  <a:gd name="T69" fmla="*/ 0 h 82"/>
                  <a:gd name="T70" fmla="*/ 126 w 139"/>
                  <a:gd name="T71" fmla="*/ 3 h 82"/>
                  <a:gd name="T72" fmla="*/ 119 w 139"/>
                  <a:gd name="T73" fmla="*/ 10 h 82"/>
                  <a:gd name="T74" fmla="*/ 132 w 139"/>
                  <a:gd name="T75" fmla="*/ 27 h 82"/>
                  <a:gd name="T76" fmla="*/ 132 w 139"/>
                  <a:gd name="T77" fmla="*/ 24 h 82"/>
                  <a:gd name="T78" fmla="*/ 136 w 139"/>
                  <a:gd name="T79" fmla="*/ 37 h 82"/>
                  <a:gd name="T80" fmla="*/ 139 w 139"/>
                  <a:gd name="T81" fmla="*/ 35 h 82"/>
                  <a:gd name="T82" fmla="*/ 126 w 139"/>
                  <a:gd name="T83" fmla="*/ 54 h 82"/>
                  <a:gd name="T84" fmla="*/ 131 w 139"/>
                  <a:gd name="T85" fmla="*/ 52 h 82"/>
                  <a:gd name="T86" fmla="*/ 59 w 139"/>
                  <a:gd name="T87" fmla="*/ 82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39" h="82">
                    <a:moveTo>
                      <a:pt x="59" y="82"/>
                    </a:moveTo>
                    <a:lnTo>
                      <a:pt x="24" y="69"/>
                    </a:lnTo>
                    <a:lnTo>
                      <a:pt x="35" y="61"/>
                    </a:lnTo>
                    <a:lnTo>
                      <a:pt x="30" y="62"/>
                    </a:lnTo>
                    <a:lnTo>
                      <a:pt x="35" y="54"/>
                    </a:lnTo>
                    <a:lnTo>
                      <a:pt x="8" y="49"/>
                    </a:lnTo>
                    <a:lnTo>
                      <a:pt x="35" y="37"/>
                    </a:lnTo>
                    <a:lnTo>
                      <a:pt x="27" y="39"/>
                    </a:lnTo>
                    <a:lnTo>
                      <a:pt x="35" y="30"/>
                    </a:lnTo>
                    <a:lnTo>
                      <a:pt x="0" y="30"/>
                    </a:lnTo>
                    <a:lnTo>
                      <a:pt x="5" y="19"/>
                    </a:lnTo>
                    <a:lnTo>
                      <a:pt x="17" y="24"/>
                    </a:lnTo>
                    <a:lnTo>
                      <a:pt x="10" y="19"/>
                    </a:lnTo>
                    <a:lnTo>
                      <a:pt x="13" y="17"/>
                    </a:lnTo>
                    <a:lnTo>
                      <a:pt x="8" y="12"/>
                    </a:lnTo>
                    <a:lnTo>
                      <a:pt x="12" y="14"/>
                    </a:lnTo>
                    <a:lnTo>
                      <a:pt x="12" y="10"/>
                    </a:lnTo>
                    <a:lnTo>
                      <a:pt x="13" y="12"/>
                    </a:lnTo>
                    <a:lnTo>
                      <a:pt x="12" y="9"/>
                    </a:lnTo>
                    <a:lnTo>
                      <a:pt x="25" y="19"/>
                    </a:lnTo>
                    <a:lnTo>
                      <a:pt x="25" y="15"/>
                    </a:lnTo>
                    <a:lnTo>
                      <a:pt x="27" y="19"/>
                    </a:lnTo>
                    <a:lnTo>
                      <a:pt x="22" y="7"/>
                    </a:lnTo>
                    <a:lnTo>
                      <a:pt x="27" y="7"/>
                    </a:lnTo>
                    <a:lnTo>
                      <a:pt x="19" y="0"/>
                    </a:lnTo>
                    <a:lnTo>
                      <a:pt x="42" y="35"/>
                    </a:lnTo>
                    <a:lnTo>
                      <a:pt x="49" y="24"/>
                    </a:lnTo>
                    <a:lnTo>
                      <a:pt x="52" y="29"/>
                    </a:lnTo>
                    <a:lnTo>
                      <a:pt x="54" y="12"/>
                    </a:lnTo>
                    <a:lnTo>
                      <a:pt x="64" y="22"/>
                    </a:lnTo>
                    <a:lnTo>
                      <a:pt x="74" y="9"/>
                    </a:lnTo>
                    <a:lnTo>
                      <a:pt x="82" y="24"/>
                    </a:lnTo>
                    <a:lnTo>
                      <a:pt x="79" y="9"/>
                    </a:lnTo>
                    <a:lnTo>
                      <a:pt x="102" y="9"/>
                    </a:lnTo>
                    <a:lnTo>
                      <a:pt x="101" y="0"/>
                    </a:lnTo>
                    <a:lnTo>
                      <a:pt x="126" y="3"/>
                    </a:lnTo>
                    <a:lnTo>
                      <a:pt x="119" y="10"/>
                    </a:lnTo>
                    <a:lnTo>
                      <a:pt x="132" y="27"/>
                    </a:lnTo>
                    <a:lnTo>
                      <a:pt x="132" y="24"/>
                    </a:lnTo>
                    <a:lnTo>
                      <a:pt x="136" y="37"/>
                    </a:lnTo>
                    <a:lnTo>
                      <a:pt x="139" y="35"/>
                    </a:lnTo>
                    <a:lnTo>
                      <a:pt x="126" y="54"/>
                    </a:lnTo>
                    <a:lnTo>
                      <a:pt x="131" y="52"/>
                    </a:lnTo>
                    <a:lnTo>
                      <a:pt x="59" y="82"/>
                    </a:lnTo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62" name="Freeform 128"/>
              <p:cNvSpPr>
                <a:spLocks/>
              </p:cNvSpPr>
              <p:nvPr/>
            </p:nvSpPr>
            <p:spPr bwMode="auto">
              <a:xfrm>
                <a:off x="5600700" y="2232025"/>
                <a:ext cx="98425" cy="180975"/>
              </a:xfrm>
              <a:custGeom>
                <a:avLst/>
                <a:gdLst>
                  <a:gd name="T0" fmla="*/ 13 w 57"/>
                  <a:gd name="T1" fmla="*/ 0 h 104"/>
                  <a:gd name="T2" fmla="*/ 57 w 57"/>
                  <a:gd name="T3" fmla="*/ 104 h 104"/>
                  <a:gd name="T4" fmla="*/ 45 w 57"/>
                  <a:gd name="T5" fmla="*/ 99 h 104"/>
                  <a:gd name="T6" fmla="*/ 48 w 57"/>
                  <a:gd name="T7" fmla="*/ 103 h 104"/>
                  <a:gd name="T8" fmla="*/ 13 w 57"/>
                  <a:gd name="T9" fmla="*/ 88 h 104"/>
                  <a:gd name="T10" fmla="*/ 22 w 57"/>
                  <a:gd name="T11" fmla="*/ 84 h 104"/>
                  <a:gd name="T12" fmla="*/ 17 w 57"/>
                  <a:gd name="T13" fmla="*/ 71 h 104"/>
                  <a:gd name="T14" fmla="*/ 0 w 57"/>
                  <a:gd name="T15" fmla="*/ 66 h 104"/>
                  <a:gd name="T16" fmla="*/ 13 w 57"/>
                  <a:gd name="T17" fmla="*/ 0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7" h="104">
                    <a:moveTo>
                      <a:pt x="13" y="0"/>
                    </a:moveTo>
                    <a:lnTo>
                      <a:pt x="57" y="104"/>
                    </a:lnTo>
                    <a:lnTo>
                      <a:pt x="45" y="99"/>
                    </a:lnTo>
                    <a:lnTo>
                      <a:pt x="48" y="103"/>
                    </a:lnTo>
                    <a:lnTo>
                      <a:pt x="13" y="88"/>
                    </a:lnTo>
                    <a:lnTo>
                      <a:pt x="22" y="84"/>
                    </a:lnTo>
                    <a:lnTo>
                      <a:pt x="17" y="71"/>
                    </a:lnTo>
                    <a:lnTo>
                      <a:pt x="0" y="66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63" name="Freeform 129"/>
              <p:cNvSpPr>
                <a:spLocks/>
              </p:cNvSpPr>
              <p:nvPr/>
            </p:nvSpPr>
            <p:spPr bwMode="auto">
              <a:xfrm>
                <a:off x="5622925" y="1943100"/>
                <a:ext cx="331788" cy="274638"/>
              </a:xfrm>
              <a:custGeom>
                <a:avLst/>
                <a:gdLst>
                  <a:gd name="T0" fmla="*/ 0 w 190"/>
                  <a:gd name="T1" fmla="*/ 143 h 157"/>
                  <a:gd name="T2" fmla="*/ 87 w 190"/>
                  <a:gd name="T3" fmla="*/ 42 h 157"/>
                  <a:gd name="T4" fmla="*/ 190 w 190"/>
                  <a:gd name="T5" fmla="*/ 0 h 157"/>
                  <a:gd name="T6" fmla="*/ 168 w 190"/>
                  <a:gd name="T7" fmla="*/ 32 h 157"/>
                  <a:gd name="T8" fmla="*/ 67 w 190"/>
                  <a:gd name="T9" fmla="*/ 100 h 157"/>
                  <a:gd name="T10" fmla="*/ 57 w 190"/>
                  <a:gd name="T11" fmla="*/ 103 h 157"/>
                  <a:gd name="T12" fmla="*/ 59 w 190"/>
                  <a:gd name="T13" fmla="*/ 123 h 157"/>
                  <a:gd name="T14" fmla="*/ 45 w 190"/>
                  <a:gd name="T15" fmla="*/ 132 h 157"/>
                  <a:gd name="T16" fmla="*/ 45 w 190"/>
                  <a:gd name="T17" fmla="*/ 153 h 157"/>
                  <a:gd name="T18" fmla="*/ 40 w 190"/>
                  <a:gd name="T19" fmla="*/ 148 h 157"/>
                  <a:gd name="T20" fmla="*/ 7 w 190"/>
                  <a:gd name="T21" fmla="*/ 157 h 157"/>
                  <a:gd name="T22" fmla="*/ 17 w 190"/>
                  <a:gd name="T23" fmla="*/ 147 h 157"/>
                  <a:gd name="T24" fmla="*/ 0 w 190"/>
                  <a:gd name="T25" fmla="*/ 143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0" h="157">
                    <a:moveTo>
                      <a:pt x="0" y="143"/>
                    </a:moveTo>
                    <a:lnTo>
                      <a:pt x="87" y="42"/>
                    </a:lnTo>
                    <a:lnTo>
                      <a:pt x="190" y="0"/>
                    </a:lnTo>
                    <a:lnTo>
                      <a:pt x="168" y="32"/>
                    </a:lnTo>
                    <a:lnTo>
                      <a:pt x="67" y="100"/>
                    </a:lnTo>
                    <a:lnTo>
                      <a:pt x="57" y="103"/>
                    </a:lnTo>
                    <a:lnTo>
                      <a:pt x="59" y="123"/>
                    </a:lnTo>
                    <a:lnTo>
                      <a:pt x="45" y="132"/>
                    </a:lnTo>
                    <a:lnTo>
                      <a:pt x="45" y="153"/>
                    </a:lnTo>
                    <a:lnTo>
                      <a:pt x="40" y="148"/>
                    </a:lnTo>
                    <a:lnTo>
                      <a:pt x="7" y="157"/>
                    </a:lnTo>
                    <a:lnTo>
                      <a:pt x="17" y="147"/>
                    </a:lnTo>
                    <a:lnTo>
                      <a:pt x="0" y="143"/>
                    </a:lnTo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64" name="Freeform 130"/>
              <p:cNvSpPr>
                <a:spLocks/>
              </p:cNvSpPr>
              <p:nvPr/>
            </p:nvSpPr>
            <p:spPr bwMode="auto">
              <a:xfrm>
                <a:off x="7794625" y="6148388"/>
                <a:ext cx="69850" cy="77787"/>
              </a:xfrm>
              <a:custGeom>
                <a:avLst/>
                <a:gdLst>
                  <a:gd name="T0" fmla="*/ 1 w 40"/>
                  <a:gd name="T1" fmla="*/ 18 h 44"/>
                  <a:gd name="T2" fmla="*/ 8 w 40"/>
                  <a:gd name="T3" fmla="*/ 20 h 44"/>
                  <a:gd name="T4" fmla="*/ 33 w 40"/>
                  <a:gd name="T5" fmla="*/ 0 h 44"/>
                  <a:gd name="T6" fmla="*/ 40 w 40"/>
                  <a:gd name="T7" fmla="*/ 25 h 44"/>
                  <a:gd name="T8" fmla="*/ 38 w 40"/>
                  <a:gd name="T9" fmla="*/ 20 h 44"/>
                  <a:gd name="T10" fmla="*/ 35 w 40"/>
                  <a:gd name="T11" fmla="*/ 30 h 44"/>
                  <a:gd name="T12" fmla="*/ 28 w 40"/>
                  <a:gd name="T13" fmla="*/ 35 h 44"/>
                  <a:gd name="T14" fmla="*/ 25 w 40"/>
                  <a:gd name="T15" fmla="*/ 42 h 44"/>
                  <a:gd name="T16" fmla="*/ 16 w 40"/>
                  <a:gd name="T17" fmla="*/ 44 h 44"/>
                  <a:gd name="T18" fmla="*/ 0 w 40"/>
                  <a:gd name="T19" fmla="*/ 28 h 44"/>
                  <a:gd name="T20" fmla="*/ 3 w 40"/>
                  <a:gd name="T21" fmla="*/ 33 h 44"/>
                  <a:gd name="T22" fmla="*/ 1 w 40"/>
                  <a:gd name="T23" fmla="*/ 18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44">
                    <a:moveTo>
                      <a:pt x="1" y="18"/>
                    </a:moveTo>
                    <a:lnTo>
                      <a:pt x="8" y="20"/>
                    </a:lnTo>
                    <a:lnTo>
                      <a:pt x="33" y="0"/>
                    </a:lnTo>
                    <a:lnTo>
                      <a:pt x="40" y="25"/>
                    </a:lnTo>
                    <a:lnTo>
                      <a:pt x="38" y="20"/>
                    </a:lnTo>
                    <a:lnTo>
                      <a:pt x="35" y="30"/>
                    </a:lnTo>
                    <a:lnTo>
                      <a:pt x="28" y="35"/>
                    </a:lnTo>
                    <a:lnTo>
                      <a:pt x="25" y="42"/>
                    </a:lnTo>
                    <a:lnTo>
                      <a:pt x="16" y="44"/>
                    </a:lnTo>
                    <a:lnTo>
                      <a:pt x="0" y="28"/>
                    </a:lnTo>
                    <a:lnTo>
                      <a:pt x="3" y="33"/>
                    </a:lnTo>
                    <a:lnTo>
                      <a:pt x="1" y="18"/>
                    </a:lnTo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65" name="Freeform 131"/>
              <p:cNvSpPr>
                <a:spLocks/>
              </p:cNvSpPr>
              <p:nvPr/>
            </p:nvSpPr>
            <p:spPr bwMode="auto">
              <a:xfrm>
                <a:off x="8183563" y="6037263"/>
                <a:ext cx="173037" cy="173037"/>
              </a:xfrm>
              <a:custGeom>
                <a:avLst/>
                <a:gdLst>
                  <a:gd name="T0" fmla="*/ 71 w 98"/>
                  <a:gd name="T1" fmla="*/ 8 h 99"/>
                  <a:gd name="T2" fmla="*/ 78 w 98"/>
                  <a:gd name="T3" fmla="*/ 0 h 99"/>
                  <a:gd name="T4" fmla="*/ 81 w 98"/>
                  <a:gd name="T5" fmla="*/ 7 h 99"/>
                  <a:gd name="T6" fmla="*/ 83 w 98"/>
                  <a:gd name="T7" fmla="*/ 10 h 99"/>
                  <a:gd name="T8" fmla="*/ 93 w 98"/>
                  <a:gd name="T9" fmla="*/ 7 h 99"/>
                  <a:gd name="T10" fmla="*/ 93 w 98"/>
                  <a:gd name="T11" fmla="*/ 12 h 99"/>
                  <a:gd name="T12" fmla="*/ 94 w 98"/>
                  <a:gd name="T13" fmla="*/ 8 h 99"/>
                  <a:gd name="T14" fmla="*/ 98 w 98"/>
                  <a:gd name="T15" fmla="*/ 13 h 99"/>
                  <a:gd name="T16" fmla="*/ 93 w 98"/>
                  <a:gd name="T17" fmla="*/ 27 h 99"/>
                  <a:gd name="T18" fmla="*/ 79 w 98"/>
                  <a:gd name="T19" fmla="*/ 44 h 99"/>
                  <a:gd name="T20" fmla="*/ 83 w 98"/>
                  <a:gd name="T21" fmla="*/ 54 h 99"/>
                  <a:gd name="T22" fmla="*/ 64 w 98"/>
                  <a:gd name="T23" fmla="*/ 55 h 99"/>
                  <a:gd name="T24" fmla="*/ 51 w 98"/>
                  <a:gd name="T25" fmla="*/ 91 h 99"/>
                  <a:gd name="T26" fmla="*/ 36 w 98"/>
                  <a:gd name="T27" fmla="*/ 99 h 99"/>
                  <a:gd name="T28" fmla="*/ 26 w 98"/>
                  <a:gd name="T29" fmla="*/ 99 h 99"/>
                  <a:gd name="T30" fmla="*/ 24 w 98"/>
                  <a:gd name="T31" fmla="*/ 97 h 99"/>
                  <a:gd name="T32" fmla="*/ 17 w 98"/>
                  <a:gd name="T33" fmla="*/ 96 h 99"/>
                  <a:gd name="T34" fmla="*/ 12 w 98"/>
                  <a:gd name="T35" fmla="*/ 92 h 99"/>
                  <a:gd name="T36" fmla="*/ 2 w 98"/>
                  <a:gd name="T37" fmla="*/ 92 h 99"/>
                  <a:gd name="T38" fmla="*/ 6 w 98"/>
                  <a:gd name="T39" fmla="*/ 87 h 99"/>
                  <a:gd name="T40" fmla="*/ 2 w 98"/>
                  <a:gd name="T41" fmla="*/ 91 h 99"/>
                  <a:gd name="T42" fmla="*/ 4 w 98"/>
                  <a:gd name="T43" fmla="*/ 87 h 99"/>
                  <a:gd name="T44" fmla="*/ 0 w 98"/>
                  <a:gd name="T45" fmla="*/ 89 h 99"/>
                  <a:gd name="T46" fmla="*/ 26 w 98"/>
                  <a:gd name="T47" fmla="*/ 55 h 99"/>
                  <a:gd name="T48" fmla="*/ 51 w 98"/>
                  <a:gd name="T49" fmla="*/ 37 h 99"/>
                  <a:gd name="T50" fmla="*/ 71 w 98"/>
                  <a:gd name="T51" fmla="*/ 8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98" h="99">
                    <a:moveTo>
                      <a:pt x="71" y="8"/>
                    </a:moveTo>
                    <a:lnTo>
                      <a:pt x="78" y="0"/>
                    </a:lnTo>
                    <a:lnTo>
                      <a:pt x="81" y="7"/>
                    </a:lnTo>
                    <a:lnTo>
                      <a:pt x="83" y="10"/>
                    </a:lnTo>
                    <a:lnTo>
                      <a:pt x="93" y="7"/>
                    </a:lnTo>
                    <a:lnTo>
                      <a:pt x="93" y="12"/>
                    </a:lnTo>
                    <a:lnTo>
                      <a:pt x="94" y="8"/>
                    </a:lnTo>
                    <a:lnTo>
                      <a:pt x="98" y="13"/>
                    </a:lnTo>
                    <a:lnTo>
                      <a:pt x="93" y="27"/>
                    </a:lnTo>
                    <a:lnTo>
                      <a:pt x="79" y="44"/>
                    </a:lnTo>
                    <a:lnTo>
                      <a:pt x="83" y="54"/>
                    </a:lnTo>
                    <a:lnTo>
                      <a:pt x="64" y="55"/>
                    </a:lnTo>
                    <a:lnTo>
                      <a:pt x="51" y="91"/>
                    </a:lnTo>
                    <a:lnTo>
                      <a:pt x="36" y="99"/>
                    </a:lnTo>
                    <a:lnTo>
                      <a:pt x="26" y="99"/>
                    </a:lnTo>
                    <a:lnTo>
                      <a:pt x="24" y="97"/>
                    </a:lnTo>
                    <a:lnTo>
                      <a:pt x="17" y="96"/>
                    </a:lnTo>
                    <a:lnTo>
                      <a:pt x="12" y="92"/>
                    </a:lnTo>
                    <a:lnTo>
                      <a:pt x="2" y="92"/>
                    </a:lnTo>
                    <a:lnTo>
                      <a:pt x="6" y="87"/>
                    </a:lnTo>
                    <a:lnTo>
                      <a:pt x="2" y="91"/>
                    </a:lnTo>
                    <a:lnTo>
                      <a:pt x="4" y="87"/>
                    </a:lnTo>
                    <a:lnTo>
                      <a:pt x="0" y="89"/>
                    </a:lnTo>
                    <a:lnTo>
                      <a:pt x="26" y="55"/>
                    </a:lnTo>
                    <a:lnTo>
                      <a:pt x="51" y="37"/>
                    </a:lnTo>
                    <a:lnTo>
                      <a:pt x="71" y="8"/>
                    </a:lnTo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66" name="Freeform 132"/>
              <p:cNvSpPr>
                <a:spLocks/>
              </p:cNvSpPr>
              <p:nvPr/>
            </p:nvSpPr>
            <p:spPr bwMode="auto">
              <a:xfrm>
                <a:off x="8321675" y="5876925"/>
                <a:ext cx="122238" cy="190500"/>
              </a:xfrm>
              <a:custGeom>
                <a:avLst/>
                <a:gdLst>
                  <a:gd name="T0" fmla="*/ 1 w 70"/>
                  <a:gd name="T1" fmla="*/ 0 h 108"/>
                  <a:gd name="T2" fmla="*/ 6 w 70"/>
                  <a:gd name="T3" fmla="*/ 7 h 108"/>
                  <a:gd name="T4" fmla="*/ 16 w 70"/>
                  <a:gd name="T5" fmla="*/ 10 h 108"/>
                  <a:gd name="T6" fmla="*/ 18 w 70"/>
                  <a:gd name="T7" fmla="*/ 15 h 108"/>
                  <a:gd name="T8" fmla="*/ 23 w 70"/>
                  <a:gd name="T9" fmla="*/ 20 h 108"/>
                  <a:gd name="T10" fmla="*/ 20 w 70"/>
                  <a:gd name="T11" fmla="*/ 19 h 108"/>
                  <a:gd name="T12" fmla="*/ 25 w 70"/>
                  <a:gd name="T13" fmla="*/ 34 h 108"/>
                  <a:gd name="T14" fmla="*/ 28 w 70"/>
                  <a:gd name="T15" fmla="*/ 35 h 108"/>
                  <a:gd name="T16" fmla="*/ 33 w 70"/>
                  <a:gd name="T17" fmla="*/ 41 h 108"/>
                  <a:gd name="T18" fmla="*/ 33 w 70"/>
                  <a:gd name="T19" fmla="*/ 30 h 108"/>
                  <a:gd name="T20" fmla="*/ 45 w 70"/>
                  <a:gd name="T21" fmla="*/ 47 h 108"/>
                  <a:gd name="T22" fmla="*/ 60 w 70"/>
                  <a:gd name="T23" fmla="*/ 51 h 108"/>
                  <a:gd name="T24" fmla="*/ 68 w 70"/>
                  <a:gd name="T25" fmla="*/ 46 h 108"/>
                  <a:gd name="T26" fmla="*/ 70 w 70"/>
                  <a:gd name="T27" fmla="*/ 54 h 108"/>
                  <a:gd name="T28" fmla="*/ 67 w 70"/>
                  <a:gd name="T29" fmla="*/ 67 h 108"/>
                  <a:gd name="T30" fmla="*/ 53 w 70"/>
                  <a:gd name="T31" fmla="*/ 76 h 108"/>
                  <a:gd name="T32" fmla="*/ 48 w 70"/>
                  <a:gd name="T33" fmla="*/ 89 h 108"/>
                  <a:gd name="T34" fmla="*/ 33 w 70"/>
                  <a:gd name="T35" fmla="*/ 108 h 108"/>
                  <a:gd name="T36" fmla="*/ 31 w 70"/>
                  <a:gd name="T37" fmla="*/ 104 h 108"/>
                  <a:gd name="T38" fmla="*/ 26 w 70"/>
                  <a:gd name="T39" fmla="*/ 104 h 108"/>
                  <a:gd name="T40" fmla="*/ 28 w 70"/>
                  <a:gd name="T41" fmla="*/ 96 h 108"/>
                  <a:gd name="T42" fmla="*/ 26 w 70"/>
                  <a:gd name="T43" fmla="*/ 84 h 108"/>
                  <a:gd name="T44" fmla="*/ 16 w 70"/>
                  <a:gd name="T45" fmla="*/ 69 h 108"/>
                  <a:gd name="T46" fmla="*/ 23 w 70"/>
                  <a:gd name="T47" fmla="*/ 64 h 108"/>
                  <a:gd name="T48" fmla="*/ 25 w 70"/>
                  <a:gd name="T49" fmla="*/ 35 h 108"/>
                  <a:gd name="T50" fmla="*/ 18 w 70"/>
                  <a:gd name="T51" fmla="*/ 30 h 108"/>
                  <a:gd name="T52" fmla="*/ 20 w 70"/>
                  <a:gd name="T53" fmla="*/ 32 h 108"/>
                  <a:gd name="T54" fmla="*/ 20 w 70"/>
                  <a:gd name="T55" fmla="*/ 25 h 108"/>
                  <a:gd name="T56" fmla="*/ 16 w 70"/>
                  <a:gd name="T57" fmla="*/ 29 h 108"/>
                  <a:gd name="T58" fmla="*/ 11 w 70"/>
                  <a:gd name="T59" fmla="*/ 20 h 108"/>
                  <a:gd name="T60" fmla="*/ 10 w 70"/>
                  <a:gd name="T61" fmla="*/ 12 h 108"/>
                  <a:gd name="T62" fmla="*/ 0 w 70"/>
                  <a:gd name="T63" fmla="*/ 0 h 108"/>
                  <a:gd name="T64" fmla="*/ 1 w 70"/>
                  <a:gd name="T65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70" h="108">
                    <a:moveTo>
                      <a:pt x="1" y="0"/>
                    </a:moveTo>
                    <a:lnTo>
                      <a:pt x="6" y="7"/>
                    </a:lnTo>
                    <a:lnTo>
                      <a:pt x="16" y="10"/>
                    </a:lnTo>
                    <a:lnTo>
                      <a:pt x="18" y="15"/>
                    </a:lnTo>
                    <a:lnTo>
                      <a:pt x="23" y="20"/>
                    </a:lnTo>
                    <a:lnTo>
                      <a:pt x="20" y="19"/>
                    </a:lnTo>
                    <a:lnTo>
                      <a:pt x="25" y="34"/>
                    </a:lnTo>
                    <a:lnTo>
                      <a:pt x="28" y="35"/>
                    </a:lnTo>
                    <a:lnTo>
                      <a:pt x="33" y="41"/>
                    </a:lnTo>
                    <a:lnTo>
                      <a:pt x="33" y="30"/>
                    </a:lnTo>
                    <a:lnTo>
                      <a:pt x="45" y="47"/>
                    </a:lnTo>
                    <a:lnTo>
                      <a:pt x="60" y="51"/>
                    </a:lnTo>
                    <a:lnTo>
                      <a:pt x="68" y="46"/>
                    </a:lnTo>
                    <a:lnTo>
                      <a:pt x="70" y="54"/>
                    </a:lnTo>
                    <a:lnTo>
                      <a:pt x="67" y="67"/>
                    </a:lnTo>
                    <a:lnTo>
                      <a:pt x="53" y="76"/>
                    </a:lnTo>
                    <a:lnTo>
                      <a:pt x="48" y="89"/>
                    </a:lnTo>
                    <a:lnTo>
                      <a:pt x="33" y="108"/>
                    </a:lnTo>
                    <a:lnTo>
                      <a:pt x="31" y="104"/>
                    </a:lnTo>
                    <a:lnTo>
                      <a:pt x="26" y="104"/>
                    </a:lnTo>
                    <a:lnTo>
                      <a:pt x="28" y="96"/>
                    </a:lnTo>
                    <a:lnTo>
                      <a:pt x="26" y="84"/>
                    </a:lnTo>
                    <a:lnTo>
                      <a:pt x="16" y="69"/>
                    </a:lnTo>
                    <a:lnTo>
                      <a:pt x="23" y="64"/>
                    </a:lnTo>
                    <a:lnTo>
                      <a:pt x="25" y="35"/>
                    </a:lnTo>
                    <a:lnTo>
                      <a:pt x="18" y="30"/>
                    </a:lnTo>
                    <a:lnTo>
                      <a:pt x="20" y="32"/>
                    </a:lnTo>
                    <a:lnTo>
                      <a:pt x="20" y="25"/>
                    </a:lnTo>
                    <a:lnTo>
                      <a:pt x="16" y="29"/>
                    </a:lnTo>
                    <a:lnTo>
                      <a:pt x="11" y="20"/>
                    </a:lnTo>
                    <a:lnTo>
                      <a:pt x="10" y="12"/>
                    </a:lnTo>
                    <a:lnTo>
                      <a:pt x="0" y="0"/>
                    </a:lnTo>
                    <a:lnTo>
                      <a:pt x="1" y="0"/>
                    </a:lnTo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67" name="Freeform 133"/>
              <p:cNvSpPr>
                <a:spLocks/>
              </p:cNvSpPr>
              <p:nvPr/>
            </p:nvSpPr>
            <p:spPr bwMode="auto">
              <a:xfrm>
                <a:off x="4324350" y="1833563"/>
                <a:ext cx="169863" cy="358775"/>
              </a:xfrm>
              <a:custGeom>
                <a:avLst/>
                <a:gdLst>
                  <a:gd name="T0" fmla="*/ 49 w 96"/>
                  <a:gd name="T1" fmla="*/ 21 h 206"/>
                  <a:gd name="T2" fmla="*/ 57 w 96"/>
                  <a:gd name="T3" fmla="*/ 60 h 206"/>
                  <a:gd name="T4" fmla="*/ 61 w 96"/>
                  <a:gd name="T5" fmla="*/ 58 h 206"/>
                  <a:gd name="T6" fmla="*/ 71 w 96"/>
                  <a:gd name="T7" fmla="*/ 74 h 206"/>
                  <a:gd name="T8" fmla="*/ 69 w 96"/>
                  <a:gd name="T9" fmla="*/ 0 h 206"/>
                  <a:gd name="T10" fmla="*/ 86 w 96"/>
                  <a:gd name="T11" fmla="*/ 47 h 206"/>
                  <a:gd name="T12" fmla="*/ 96 w 96"/>
                  <a:gd name="T13" fmla="*/ 31 h 206"/>
                  <a:gd name="T14" fmla="*/ 69 w 96"/>
                  <a:gd name="T15" fmla="*/ 206 h 206"/>
                  <a:gd name="T16" fmla="*/ 61 w 96"/>
                  <a:gd name="T17" fmla="*/ 190 h 206"/>
                  <a:gd name="T18" fmla="*/ 71 w 96"/>
                  <a:gd name="T19" fmla="*/ 184 h 206"/>
                  <a:gd name="T20" fmla="*/ 41 w 96"/>
                  <a:gd name="T21" fmla="*/ 159 h 206"/>
                  <a:gd name="T22" fmla="*/ 76 w 96"/>
                  <a:gd name="T23" fmla="*/ 134 h 206"/>
                  <a:gd name="T24" fmla="*/ 37 w 96"/>
                  <a:gd name="T25" fmla="*/ 144 h 206"/>
                  <a:gd name="T26" fmla="*/ 36 w 96"/>
                  <a:gd name="T27" fmla="*/ 127 h 206"/>
                  <a:gd name="T28" fmla="*/ 44 w 96"/>
                  <a:gd name="T29" fmla="*/ 131 h 206"/>
                  <a:gd name="T30" fmla="*/ 72 w 96"/>
                  <a:gd name="T31" fmla="*/ 85 h 206"/>
                  <a:gd name="T32" fmla="*/ 61 w 96"/>
                  <a:gd name="T33" fmla="*/ 104 h 206"/>
                  <a:gd name="T34" fmla="*/ 59 w 96"/>
                  <a:gd name="T35" fmla="*/ 80 h 206"/>
                  <a:gd name="T36" fmla="*/ 54 w 96"/>
                  <a:gd name="T37" fmla="*/ 94 h 206"/>
                  <a:gd name="T38" fmla="*/ 51 w 96"/>
                  <a:gd name="T39" fmla="*/ 87 h 206"/>
                  <a:gd name="T40" fmla="*/ 36 w 96"/>
                  <a:gd name="T41" fmla="*/ 117 h 206"/>
                  <a:gd name="T42" fmla="*/ 20 w 96"/>
                  <a:gd name="T43" fmla="*/ 102 h 206"/>
                  <a:gd name="T44" fmla="*/ 31 w 96"/>
                  <a:gd name="T45" fmla="*/ 95 h 206"/>
                  <a:gd name="T46" fmla="*/ 7 w 96"/>
                  <a:gd name="T47" fmla="*/ 72 h 206"/>
                  <a:gd name="T48" fmla="*/ 20 w 96"/>
                  <a:gd name="T49" fmla="*/ 77 h 206"/>
                  <a:gd name="T50" fmla="*/ 15 w 96"/>
                  <a:gd name="T51" fmla="*/ 52 h 206"/>
                  <a:gd name="T52" fmla="*/ 7 w 96"/>
                  <a:gd name="T53" fmla="*/ 52 h 206"/>
                  <a:gd name="T54" fmla="*/ 7 w 96"/>
                  <a:gd name="T55" fmla="*/ 63 h 206"/>
                  <a:gd name="T56" fmla="*/ 0 w 96"/>
                  <a:gd name="T57" fmla="*/ 25 h 206"/>
                  <a:gd name="T58" fmla="*/ 7 w 96"/>
                  <a:gd name="T59" fmla="*/ 30 h 206"/>
                  <a:gd name="T60" fmla="*/ 10 w 96"/>
                  <a:gd name="T61" fmla="*/ 16 h 206"/>
                  <a:gd name="T62" fmla="*/ 17 w 96"/>
                  <a:gd name="T63" fmla="*/ 26 h 206"/>
                  <a:gd name="T64" fmla="*/ 17 w 96"/>
                  <a:gd name="T65" fmla="*/ 15 h 206"/>
                  <a:gd name="T66" fmla="*/ 37 w 96"/>
                  <a:gd name="T67" fmla="*/ 15 h 206"/>
                  <a:gd name="T68" fmla="*/ 31 w 96"/>
                  <a:gd name="T69" fmla="*/ 43 h 206"/>
                  <a:gd name="T70" fmla="*/ 34 w 96"/>
                  <a:gd name="T71" fmla="*/ 40 h 206"/>
                  <a:gd name="T72" fmla="*/ 44 w 96"/>
                  <a:gd name="T73" fmla="*/ 55 h 206"/>
                  <a:gd name="T74" fmla="*/ 46 w 96"/>
                  <a:gd name="T75" fmla="*/ 18 h 206"/>
                  <a:gd name="T76" fmla="*/ 49 w 96"/>
                  <a:gd name="T77" fmla="*/ 21 h 206"/>
                  <a:gd name="T78" fmla="*/ 49 w 96"/>
                  <a:gd name="T79" fmla="*/ 21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96" h="206">
                    <a:moveTo>
                      <a:pt x="49" y="21"/>
                    </a:moveTo>
                    <a:lnTo>
                      <a:pt x="57" y="60"/>
                    </a:lnTo>
                    <a:lnTo>
                      <a:pt x="61" y="58"/>
                    </a:lnTo>
                    <a:lnTo>
                      <a:pt x="71" y="74"/>
                    </a:lnTo>
                    <a:lnTo>
                      <a:pt x="69" y="0"/>
                    </a:lnTo>
                    <a:lnTo>
                      <a:pt x="86" y="47"/>
                    </a:lnTo>
                    <a:lnTo>
                      <a:pt x="96" y="31"/>
                    </a:lnTo>
                    <a:lnTo>
                      <a:pt x="69" y="206"/>
                    </a:lnTo>
                    <a:lnTo>
                      <a:pt x="61" y="190"/>
                    </a:lnTo>
                    <a:lnTo>
                      <a:pt x="71" y="184"/>
                    </a:lnTo>
                    <a:lnTo>
                      <a:pt x="41" y="159"/>
                    </a:lnTo>
                    <a:lnTo>
                      <a:pt x="76" y="134"/>
                    </a:lnTo>
                    <a:lnTo>
                      <a:pt x="37" y="144"/>
                    </a:lnTo>
                    <a:lnTo>
                      <a:pt x="36" y="127"/>
                    </a:lnTo>
                    <a:lnTo>
                      <a:pt x="44" y="131"/>
                    </a:lnTo>
                    <a:lnTo>
                      <a:pt x="72" y="85"/>
                    </a:lnTo>
                    <a:lnTo>
                      <a:pt x="61" y="104"/>
                    </a:lnTo>
                    <a:lnTo>
                      <a:pt x="59" y="80"/>
                    </a:lnTo>
                    <a:lnTo>
                      <a:pt x="54" y="94"/>
                    </a:lnTo>
                    <a:lnTo>
                      <a:pt x="51" y="87"/>
                    </a:lnTo>
                    <a:lnTo>
                      <a:pt x="36" y="117"/>
                    </a:lnTo>
                    <a:lnTo>
                      <a:pt x="20" y="102"/>
                    </a:lnTo>
                    <a:lnTo>
                      <a:pt x="31" y="95"/>
                    </a:lnTo>
                    <a:lnTo>
                      <a:pt x="7" y="72"/>
                    </a:lnTo>
                    <a:lnTo>
                      <a:pt x="20" y="77"/>
                    </a:lnTo>
                    <a:lnTo>
                      <a:pt x="15" y="52"/>
                    </a:lnTo>
                    <a:lnTo>
                      <a:pt x="7" y="52"/>
                    </a:lnTo>
                    <a:lnTo>
                      <a:pt x="7" y="63"/>
                    </a:lnTo>
                    <a:lnTo>
                      <a:pt x="0" y="25"/>
                    </a:lnTo>
                    <a:lnTo>
                      <a:pt x="7" y="30"/>
                    </a:lnTo>
                    <a:lnTo>
                      <a:pt x="10" y="16"/>
                    </a:lnTo>
                    <a:lnTo>
                      <a:pt x="17" y="26"/>
                    </a:lnTo>
                    <a:lnTo>
                      <a:pt x="17" y="15"/>
                    </a:lnTo>
                    <a:lnTo>
                      <a:pt x="37" y="15"/>
                    </a:lnTo>
                    <a:lnTo>
                      <a:pt x="31" y="43"/>
                    </a:lnTo>
                    <a:lnTo>
                      <a:pt x="34" y="40"/>
                    </a:lnTo>
                    <a:lnTo>
                      <a:pt x="44" y="55"/>
                    </a:lnTo>
                    <a:lnTo>
                      <a:pt x="46" y="18"/>
                    </a:lnTo>
                    <a:lnTo>
                      <a:pt x="49" y="21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68" name="Freeform 134"/>
              <p:cNvSpPr>
                <a:spLocks/>
              </p:cNvSpPr>
              <p:nvPr/>
            </p:nvSpPr>
            <p:spPr bwMode="auto">
              <a:xfrm>
                <a:off x="4546600" y="2028825"/>
                <a:ext cx="88900" cy="96838"/>
              </a:xfrm>
              <a:custGeom>
                <a:avLst/>
                <a:gdLst>
                  <a:gd name="T0" fmla="*/ 25 w 50"/>
                  <a:gd name="T1" fmla="*/ 0 h 56"/>
                  <a:gd name="T2" fmla="*/ 50 w 50"/>
                  <a:gd name="T3" fmla="*/ 27 h 56"/>
                  <a:gd name="T4" fmla="*/ 20 w 50"/>
                  <a:gd name="T5" fmla="*/ 56 h 56"/>
                  <a:gd name="T6" fmla="*/ 25 w 50"/>
                  <a:gd name="T7" fmla="*/ 35 h 56"/>
                  <a:gd name="T8" fmla="*/ 0 w 50"/>
                  <a:gd name="T9" fmla="*/ 47 h 56"/>
                  <a:gd name="T10" fmla="*/ 25 w 50"/>
                  <a:gd name="T11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0" h="56">
                    <a:moveTo>
                      <a:pt x="25" y="0"/>
                    </a:moveTo>
                    <a:lnTo>
                      <a:pt x="50" y="27"/>
                    </a:lnTo>
                    <a:lnTo>
                      <a:pt x="20" y="56"/>
                    </a:lnTo>
                    <a:lnTo>
                      <a:pt x="25" y="35"/>
                    </a:lnTo>
                    <a:lnTo>
                      <a:pt x="0" y="47"/>
                    </a:lnTo>
                    <a:lnTo>
                      <a:pt x="25" y="0"/>
                    </a:lnTo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69" name="Freeform 135"/>
              <p:cNvSpPr>
                <a:spLocks/>
              </p:cNvSpPr>
              <p:nvPr/>
            </p:nvSpPr>
            <p:spPr bwMode="auto">
              <a:xfrm>
                <a:off x="4471988" y="1774825"/>
                <a:ext cx="209550" cy="115888"/>
              </a:xfrm>
              <a:custGeom>
                <a:avLst/>
                <a:gdLst>
                  <a:gd name="T0" fmla="*/ 67 w 119"/>
                  <a:gd name="T1" fmla="*/ 2 h 67"/>
                  <a:gd name="T2" fmla="*/ 119 w 119"/>
                  <a:gd name="T3" fmla="*/ 40 h 67"/>
                  <a:gd name="T4" fmla="*/ 29 w 119"/>
                  <a:gd name="T5" fmla="*/ 67 h 67"/>
                  <a:gd name="T6" fmla="*/ 45 w 119"/>
                  <a:gd name="T7" fmla="*/ 67 h 67"/>
                  <a:gd name="T8" fmla="*/ 39 w 119"/>
                  <a:gd name="T9" fmla="*/ 60 h 67"/>
                  <a:gd name="T10" fmla="*/ 55 w 119"/>
                  <a:gd name="T11" fmla="*/ 50 h 67"/>
                  <a:gd name="T12" fmla="*/ 10 w 119"/>
                  <a:gd name="T13" fmla="*/ 44 h 67"/>
                  <a:gd name="T14" fmla="*/ 17 w 119"/>
                  <a:gd name="T15" fmla="*/ 35 h 67"/>
                  <a:gd name="T16" fmla="*/ 0 w 119"/>
                  <a:gd name="T17" fmla="*/ 29 h 67"/>
                  <a:gd name="T18" fmla="*/ 24 w 119"/>
                  <a:gd name="T19" fmla="*/ 37 h 67"/>
                  <a:gd name="T20" fmla="*/ 20 w 119"/>
                  <a:gd name="T21" fmla="*/ 12 h 67"/>
                  <a:gd name="T22" fmla="*/ 29 w 119"/>
                  <a:gd name="T23" fmla="*/ 25 h 67"/>
                  <a:gd name="T24" fmla="*/ 29 w 119"/>
                  <a:gd name="T25" fmla="*/ 0 h 67"/>
                  <a:gd name="T26" fmla="*/ 60 w 119"/>
                  <a:gd name="T27" fmla="*/ 39 h 67"/>
                  <a:gd name="T28" fmla="*/ 62 w 119"/>
                  <a:gd name="T29" fmla="*/ 8 h 67"/>
                  <a:gd name="T30" fmla="*/ 67 w 119"/>
                  <a:gd name="T31" fmla="*/ 13 h 67"/>
                  <a:gd name="T32" fmla="*/ 67 w 119"/>
                  <a:gd name="T33" fmla="*/ 2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9" h="67">
                    <a:moveTo>
                      <a:pt x="67" y="2"/>
                    </a:moveTo>
                    <a:lnTo>
                      <a:pt x="119" y="40"/>
                    </a:lnTo>
                    <a:lnTo>
                      <a:pt x="29" y="67"/>
                    </a:lnTo>
                    <a:lnTo>
                      <a:pt x="45" y="67"/>
                    </a:lnTo>
                    <a:lnTo>
                      <a:pt x="39" y="60"/>
                    </a:lnTo>
                    <a:lnTo>
                      <a:pt x="55" y="50"/>
                    </a:lnTo>
                    <a:lnTo>
                      <a:pt x="10" y="44"/>
                    </a:lnTo>
                    <a:lnTo>
                      <a:pt x="17" y="35"/>
                    </a:lnTo>
                    <a:lnTo>
                      <a:pt x="0" y="29"/>
                    </a:lnTo>
                    <a:lnTo>
                      <a:pt x="24" y="37"/>
                    </a:lnTo>
                    <a:lnTo>
                      <a:pt x="20" y="12"/>
                    </a:lnTo>
                    <a:lnTo>
                      <a:pt x="29" y="25"/>
                    </a:lnTo>
                    <a:lnTo>
                      <a:pt x="29" y="0"/>
                    </a:lnTo>
                    <a:lnTo>
                      <a:pt x="60" y="39"/>
                    </a:lnTo>
                    <a:lnTo>
                      <a:pt x="62" y="8"/>
                    </a:lnTo>
                    <a:lnTo>
                      <a:pt x="67" y="13"/>
                    </a:lnTo>
                    <a:lnTo>
                      <a:pt x="67" y="2"/>
                    </a:lnTo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70" name="Freeform 136"/>
              <p:cNvSpPr>
                <a:spLocks/>
              </p:cNvSpPr>
              <p:nvPr/>
            </p:nvSpPr>
            <p:spPr bwMode="auto">
              <a:xfrm>
                <a:off x="1514475" y="2182813"/>
                <a:ext cx="436563" cy="406400"/>
              </a:xfrm>
              <a:custGeom>
                <a:avLst/>
                <a:gdLst>
                  <a:gd name="T0" fmla="*/ 0 w 249"/>
                  <a:gd name="T1" fmla="*/ 103 h 232"/>
                  <a:gd name="T2" fmla="*/ 13 w 249"/>
                  <a:gd name="T3" fmla="*/ 110 h 232"/>
                  <a:gd name="T4" fmla="*/ 6 w 249"/>
                  <a:gd name="T5" fmla="*/ 133 h 232"/>
                  <a:gd name="T6" fmla="*/ 27 w 249"/>
                  <a:gd name="T7" fmla="*/ 140 h 232"/>
                  <a:gd name="T8" fmla="*/ 70 w 249"/>
                  <a:gd name="T9" fmla="*/ 140 h 232"/>
                  <a:gd name="T10" fmla="*/ 83 w 249"/>
                  <a:gd name="T11" fmla="*/ 157 h 232"/>
                  <a:gd name="T12" fmla="*/ 70 w 249"/>
                  <a:gd name="T13" fmla="*/ 165 h 232"/>
                  <a:gd name="T14" fmla="*/ 27 w 249"/>
                  <a:gd name="T15" fmla="*/ 165 h 232"/>
                  <a:gd name="T16" fmla="*/ 33 w 249"/>
                  <a:gd name="T17" fmla="*/ 194 h 232"/>
                  <a:gd name="T18" fmla="*/ 48 w 249"/>
                  <a:gd name="T19" fmla="*/ 200 h 232"/>
                  <a:gd name="T20" fmla="*/ 70 w 249"/>
                  <a:gd name="T21" fmla="*/ 200 h 232"/>
                  <a:gd name="T22" fmla="*/ 78 w 249"/>
                  <a:gd name="T23" fmla="*/ 232 h 232"/>
                  <a:gd name="T24" fmla="*/ 120 w 249"/>
                  <a:gd name="T25" fmla="*/ 224 h 232"/>
                  <a:gd name="T26" fmla="*/ 162 w 249"/>
                  <a:gd name="T27" fmla="*/ 200 h 232"/>
                  <a:gd name="T28" fmla="*/ 169 w 249"/>
                  <a:gd name="T29" fmla="*/ 194 h 232"/>
                  <a:gd name="T30" fmla="*/ 206 w 249"/>
                  <a:gd name="T31" fmla="*/ 224 h 232"/>
                  <a:gd name="T32" fmla="*/ 219 w 249"/>
                  <a:gd name="T33" fmla="*/ 215 h 232"/>
                  <a:gd name="T34" fmla="*/ 234 w 249"/>
                  <a:gd name="T35" fmla="*/ 200 h 232"/>
                  <a:gd name="T36" fmla="*/ 234 w 249"/>
                  <a:gd name="T37" fmla="*/ 187 h 232"/>
                  <a:gd name="T38" fmla="*/ 241 w 249"/>
                  <a:gd name="T39" fmla="*/ 187 h 232"/>
                  <a:gd name="T40" fmla="*/ 249 w 249"/>
                  <a:gd name="T41" fmla="*/ 165 h 232"/>
                  <a:gd name="T42" fmla="*/ 192 w 249"/>
                  <a:gd name="T43" fmla="*/ 133 h 232"/>
                  <a:gd name="T44" fmla="*/ 192 w 249"/>
                  <a:gd name="T45" fmla="*/ 103 h 232"/>
                  <a:gd name="T46" fmla="*/ 176 w 249"/>
                  <a:gd name="T47" fmla="*/ 59 h 232"/>
                  <a:gd name="T48" fmla="*/ 197 w 249"/>
                  <a:gd name="T49" fmla="*/ 14 h 232"/>
                  <a:gd name="T50" fmla="*/ 192 w 249"/>
                  <a:gd name="T51" fmla="*/ 0 h 232"/>
                  <a:gd name="T52" fmla="*/ 162 w 249"/>
                  <a:gd name="T53" fmla="*/ 0 h 232"/>
                  <a:gd name="T54" fmla="*/ 149 w 249"/>
                  <a:gd name="T55" fmla="*/ 44 h 232"/>
                  <a:gd name="T56" fmla="*/ 127 w 249"/>
                  <a:gd name="T57" fmla="*/ 37 h 232"/>
                  <a:gd name="T58" fmla="*/ 112 w 249"/>
                  <a:gd name="T59" fmla="*/ 37 h 232"/>
                  <a:gd name="T60" fmla="*/ 92 w 249"/>
                  <a:gd name="T61" fmla="*/ 29 h 232"/>
                  <a:gd name="T62" fmla="*/ 78 w 249"/>
                  <a:gd name="T63" fmla="*/ 44 h 232"/>
                  <a:gd name="T64" fmla="*/ 70 w 249"/>
                  <a:gd name="T65" fmla="*/ 22 h 232"/>
                  <a:gd name="T66" fmla="*/ 48 w 249"/>
                  <a:gd name="T67" fmla="*/ 22 h 232"/>
                  <a:gd name="T68" fmla="*/ 6 w 249"/>
                  <a:gd name="T69" fmla="*/ 59 h 232"/>
                  <a:gd name="T70" fmla="*/ 6 w 249"/>
                  <a:gd name="T71" fmla="*/ 68 h 232"/>
                  <a:gd name="T72" fmla="*/ 0 w 249"/>
                  <a:gd name="T73" fmla="*/ 89 h 232"/>
                  <a:gd name="T74" fmla="*/ 0 w 249"/>
                  <a:gd name="T75" fmla="*/ 103 h 232"/>
                  <a:gd name="T76" fmla="*/ 0 w 249"/>
                  <a:gd name="T77" fmla="*/ 103 h 232"/>
                  <a:gd name="T78" fmla="*/ 0 w 249"/>
                  <a:gd name="T79" fmla="*/ 103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49" h="232">
                    <a:moveTo>
                      <a:pt x="0" y="103"/>
                    </a:moveTo>
                    <a:lnTo>
                      <a:pt x="13" y="110"/>
                    </a:lnTo>
                    <a:lnTo>
                      <a:pt x="6" y="133"/>
                    </a:lnTo>
                    <a:lnTo>
                      <a:pt x="27" y="140"/>
                    </a:lnTo>
                    <a:lnTo>
                      <a:pt x="70" y="140"/>
                    </a:lnTo>
                    <a:lnTo>
                      <a:pt x="83" y="157"/>
                    </a:lnTo>
                    <a:lnTo>
                      <a:pt x="70" y="165"/>
                    </a:lnTo>
                    <a:lnTo>
                      <a:pt x="27" y="165"/>
                    </a:lnTo>
                    <a:lnTo>
                      <a:pt x="33" y="194"/>
                    </a:lnTo>
                    <a:lnTo>
                      <a:pt x="48" y="200"/>
                    </a:lnTo>
                    <a:lnTo>
                      <a:pt x="70" y="200"/>
                    </a:lnTo>
                    <a:lnTo>
                      <a:pt x="78" y="232"/>
                    </a:lnTo>
                    <a:lnTo>
                      <a:pt x="120" y="224"/>
                    </a:lnTo>
                    <a:lnTo>
                      <a:pt x="162" y="200"/>
                    </a:lnTo>
                    <a:lnTo>
                      <a:pt x="169" y="194"/>
                    </a:lnTo>
                    <a:lnTo>
                      <a:pt x="206" y="224"/>
                    </a:lnTo>
                    <a:lnTo>
                      <a:pt x="219" y="215"/>
                    </a:lnTo>
                    <a:lnTo>
                      <a:pt x="234" y="200"/>
                    </a:lnTo>
                    <a:lnTo>
                      <a:pt x="234" y="187"/>
                    </a:lnTo>
                    <a:lnTo>
                      <a:pt x="241" y="187"/>
                    </a:lnTo>
                    <a:lnTo>
                      <a:pt x="249" y="165"/>
                    </a:lnTo>
                    <a:lnTo>
                      <a:pt x="192" y="133"/>
                    </a:lnTo>
                    <a:lnTo>
                      <a:pt x="192" y="103"/>
                    </a:lnTo>
                    <a:lnTo>
                      <a:pt x="176" y="59"/>
                    </a:lnTo>
                    <a:lnTo>
                      <a:pt x="197" y="14"/>
                    </a:lnTo>
                    <a:lnTo>
                      <a:pt x="192" y="0"/>
                    </a:lnTo>
                    <a:lnTo>
                      <a:pt x="162" y="0"/>
                    </a:lnTo>
                    <a:lnTo>
                      <a:pt x="149" y="44"/>
                    </a:lnTo>
                    <a:lnTo>
                      <a:pt x="127" y="37"/>
                    </a:lnTo>
                    <a:lnTo>
                      <a:pt x="112" y="37"/>
                    </a:lnTo>
                    <a:lnTo>
                      <a:pt x="92" y="29"/>
                    </a:lnTo>
                    <a:lnTo>
                      <a:pt x="78" y="44"/>
                    </a:lnTo>
                    <a:lnTo>
                      <a:pt x="70" y="22"/>
                    </a:lnTo>
                    <a:lnTo>
                      <a:pt x="48" y="22"/>
                    </a:lnTo>
                    <a:lnTo>
                      <a:pt x="6" y="59"/>
                    </a:lnTo>
                    <a:lnTo>
                      <a:pt x="6" y="68"/>
                    </a:lnTo>
                    <a:lnTo>
                      <a:pt x="0" y="89"/>
                    </a:lnTo>
                    <a:lnTo>
                      <a:pt x="0" y="103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71" name="Freeform 137"/>
              <p:cNvSpPr>
                <a:spLocks/>
              </p:cNvSpPr>
              <p:nvPr/>
            </p:nvSpPr>
            <p:spPr bwMode="auto">
              <a:xfrm>
                <a:off x="2195513" y="2170113"/>
                <a:ext cx="679450" cy="831850"/>
              </a:xfrm>
              <a:custGeom>
                <a:avLst/>
                <a:gdLst>
                  <a:gd name="T0" fmla="*/ 39 w 387"/>
                  <a:gd name="T1" fmla="*/ 166 h 476"/>
                  <a:gd name="T2" fmla="*/ 118 w 387"/>
                  <a:gd name="T3" fmla="*/ 188 h 476"/>
                  <a:gd name="T4" fmla="*/ 151 w 387"/>
                  <a:gd name="T5" fmla="*/ 197 h 476"/>
                  <a:gd name="T6" fmla="*/ 166 w 387"/>
                  <a:gd name="T7" fmla="*/ 188 h 476"/>
                  <a:gd name="T8" fmla="*/ 180 w 387"/>
                  <a:gd name="T9" fmla="*/ 234 h 476"/>
                  <a:gd name="T10" fmla="*/ 208 w 387"/>
                  <a:gd name="T11" fmla="*/ 242 h 476"/>
                  <a:gd name="T12" fmla="*/ 237 w 387"/>
                  <a:gd name="T13" fmla="*/ 286 h 476"/>
                  <a:gd name="T14" fmla="*/ 217 w 387"/>
                  <a:gd name="T15" fmla="*/ 355 h 476"/>
                  <a:gd name="T16" fmla="*/ 166 w 387"/>
                  <a:gd name="T17" fmla="*/ 355 h 476"/>
                  <a:gd name="T18" fmla="*/ 160 w 387"/>
                  <a:gd name="T19" fmla="*/ 370 h 476"/>
                  <a:gd name="T20" fmla="*/ 180 w 387"/>
                  <a:gd name="T21" fmla="*/ 400 h 476"/>
                  <a:gd name="T22" fmla="*/ 208 w 387"/>
                  <a:gd name="T23" fmla="*/ 393 h 476"/>
                  <a:gd name="T24" fmla="*/ 247 w 387"/>
                  <a:gd name="T25" fmla="*/ 429 h 476"/>
                  <a:gd name="T26" fmla="*/ 322 w 387"/>
                  <a:gd name="T27" fmla="*/ 476 h 476"/>
                  <a:gd name="T28" fmla="*/ 289 w 387"/>
                  <a:gd name="T29" fmla="*/ 429 h 476"/>
                  <a:gd name="T30" fmla="*/ 330 w 387"/>
                  <a:gd name="T31" fmla="*/ 445 h 476"/>
                  <a:gd name="T32" fmla="*/ 346 w 387"/>
                  <a:gd name="T33" fmla="*/ 418 h 476"/>
                  <a:gd name="T34" fmla="*/ 337 w 387"/>
                  <a:gd name="T35" fmla="*/ 393 h 476"/>
                  <a:gd name="T36" fmla="*/ 300 w 387"/>
                  <a:gd name="T37" fmla="*/ 346 h 476"/>
                  <a:gd name="T38" fmla="*/ 330 w 387"/>
                  <a:gd name="T39" fmla="*/ 346 h 476"/>
                  <a:gd name="T40" fmla="*/ 352 w 387"/>
                  <a:gd name="T41" fmla="*/ 370 h 476"/>
                  <a:gd name="T42" fmla="*/ 374 w 387"/>
                  <a:gd name="T43" fmla="*/ 355 h 476"/>
                  <a:gd name="T44" fmla="*/ 337 w 387"/>
                  <a:gd name="T45" fmla="*/ 257 h 476"/>
                  <a:gd name="T46" fmla="*/ 294 w 387"/>
                  <a:gd name="T47" fmla="*/ 242 h 476"/>
                  <a:gd name="T48" fmla="*/ 310 w 387"/>
                  <a:gd name="T49" fmla="*/ 210 h 476"/>
                  <a:gd name="T50" fmla="*/ 300 w 387"/>
                  <a:gd name="T51" fmla="*/ 188 h 476"/>
                  <a:gd name="T52" fmla="*/ 267 w 387"/>
                  <a:gd name="T53" fmla="*/ 149 h 476"/>
                  <a:gd name="T54" fmla="*/ 217 w 387"/>
                  <a:gd name="T55" fmla="*/ 104 h 476"/>
                  <a:gd name="T56" fmla="*/ 195 w 387"/>
                  <a:gd name="T57" fmla="*/ 69 h 476"/>
                  <a:gd name="T58" fmla="*/ 151 w 387"/>
                  <a:gd name="T59" fmla="*/ 69 h 476"/>
                  <a:gd name="T60" fmla="*/ 118 w 387"/>
                  <a:gd name="T61" fmla="*/ 86 h 476"/>
                  <a:gd name="T62" fmla="*/ 118 w 387"/>
                  <a:gd name="T63" fmla="*/ 39 h 476"/>
                  <a:gd name="T64" fmla="*/ 96 w 387"/>
                  <a:gd name="T65" fmla="*/ 0 h 476"/>
                  <a:gd name="T66" fmla="*/ 59 w 387"/>
                  <a:gd name="T67" fmla="*/ 86 h 476"/>
                  <a:gd name="T68" fmla="*/ 46 w 387"/>
                  <a:gd name="T69" fmla="*/ 101 h 476"/>
                  <a:gd name="T70" fmla="*/ 81 w 387"/>
                  <a:gd name="T71" fmla="*/ 0 h 476"/>
                  <a:gd name="T72" fmla="*/ 0 w 387"/>
                  <a:gd name="T73" fmla="*/ 76 h 476"/>
                  <a:gd name="T74" fmla="*/ 0 w 387"/>
                  <a:gd name="T75" fmla="*/ 104 h 4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87" h="476">
                    <a:moveTo>
                      <a:pt x="0" y="104"/>
                    </a:moveTo>
                    <a:lnTo>
                      <a:pt x="39" y="166"/>
                    </a:lnTo>
                    <a:lnTo>
                      <a:pt x="109" y="188"/>
                    </a:lnTo>
                    <a:lnTo>
                      <a:pt x="118" y="188"/>
                    </a:lnTo>
                    <a:lnTo>
                      <a:pt x="138" y="197"/>
                    </a:lnTo>
                    <a:lnTo>
                      <a:pt x="151" y="197"/>
                    </a:lnTo>
                    <a:lnTo>
                      <a:pt x="160" y="166"/>
                    </a:lnTo>
                    <a:lnTo>
                      <a:pt x="166" y="188"/>
                    </a:lnTo>
                    <a:lnTo>
                      <a:pt x="195" y="210"/>
                    </a:lnTo>
                    <a:lnTo>
                      <a:pt x="180" y="234"/>
                    </a:lnTo>
                    <a:lnTo>
                      <a:pt x="201" y="225"/>
                    </a:lnTo>
                    <a:lnTo>
                      <a:pt x="208" y="242"/>
                    </a:lnTo>
                    <a:lnTo>
                      <a:pt x="223" y="257"/>
                    </a:lnTo>
                    <a:lnTo>
                      <a:pt x="237" y="286"/>
                    </a:lnTo>
                    <a:lnTo>
                      <a:pt x="208" y="333"/>
                    </a:lnTo>
                    <a:lnTo>
                      <a:pt x="217" y="355"/>
                    </a:lnTo>
                    <a:lnTo>
                      <a:pt x="208" y="363"/>
                    </a:lnTo>
                    <a:lnTo>
                      <a:pt x="166" y="355"/>
                    </a:lnTo>
                    <a:lnTo>
                      <a:pt x="166" y="370"/>
                    </a:lnTo>
                    <a:lnTo>
                      <a:pt x="160" y="370"/>
                    </a:lnTo>
                    <a:lnTo>
                      <a:pt x="160" y="400"/>
                    </a:lnTo>
                    <a:lnTo>
                      <a:pt x="180" y="400"/>
                    </a:lnTo>
                    <a:lnTo>
                      <a:pt x="195" y="393"/>
                    </a:lnTo>
                    <a:lnTo>
                      <a:pt x="208" y="393"/>
                    </a:lnTo>
                    <a:lnTo>
                      <a:pt x="247" y="418"/>
                    </a:lnTo>
                    <a:lnTo>
                      <a:pt x="247" y="429"/>
                    </a:lnTo>
                    <a:lnTo>
                      <a:pt x="294" y="467"/>
                    </a:lnTo>
                    <a:lnTo>
                      <a:pt x="322" y="476"/>
                    </a:lnTo>
                    <a:lnTo>
                      <a:pt x="322" y="467"/>
                    </a:lnTo>
                    <a:lnTo>
                      <a:pt x="289" y="429"/>
                    </a:lnTo>
                    <a:lnTo>
                      <a:pt x="289" y="410"/>
                    </a:lnTo>
                    <a:lnTo>
                      <a:pt x="330" y="445"/>
                    </a:lnTo>
                    <a:lnTo>
                      <a:pt x="346" y="445"/>
                    </a:lnTo>
                    <a:lnTo>
                      <a:pt x="346" y="418"/>
                    </a:lnTo>
                    <a:lnTo>
                      <a:pt x="337" y="410"/>
                    </a:lnTo>
                    <a:lnTo>
                      <a:pt x="337" y="393"/>
                    </a:lnTo>
                    <a:lnTo>
                      <a:pt x="310" y="363"/>
                    </a:lnTo>
                    <a:lnTo>
                      <a:pt x="300" y="346"/>
                    </a:lnTo>
                    <a:lnTo>
                      <a:pt x="310" y="326"/>
                    </a:lnTo>
                    <a:lnTo>
                      <a:pt x="330" y="346"/>
                    </a:lnTo>
                    <a:lnTo>
                      <a:pt x="337" y="363"/>
                    </a:lnTo>
                    <a:lnTo>
                      <a:pt x="352" y="370"/>
                    </a:lnTo>
                    <a:lnTo>
                      <a:pt x="352" y="355"/>
                    </a:lnTo>
                    <a:lnTo>
                      <a:pt x="374" y="355"/>
                    </a:lnTo>
                    <a:lnTo>
                      <a:pt x="387" y="318"/>
                    </a:lnTo>
                    <a:lnTo>
                      <a:pt x="337" y="257"/>
                    </a:lnTo>
                    <a:lnTo>
                      <a:pt x="310" y="257"/>
                    </a:lnTo>
                    <a:lnTo>
                      <a:pt x="294" y="242"/>
                    </a:lnTo>
                    <a:lnTo>
                      <a:pt x="294" y="225"/>
                    </a:lnTo>
                    <a:lnTo>
                      <a:pt x="310" y="210"/>
                    </a:lnTo>
                    <a:lnTo>
                      <a:pt x="294" y="197"/>
                    </a:lnTo>
                    <a:lnTo>
                      <a:pt x="300" y="188"/>
                    </a:lnTo>
                    <a:lnTo>
                      <a:pt x="294" y="158"/>
                    </a:lnTo>
                    <a:lnTo>
                      <a:pt x="267" y="149"/>
                    </a:lnTo>
                    <a:lnTo>
                      <a:pt x="252" y="119"/>
                    </a:lnTo>
                    <a:lnTo>
                      <a:pt x="217" y="104"/>
                    </a:lnTo>
                    <a:lnTo>
                      <a:pt x="208" y="69"/>
                    </a:lnTo>
                    <a:lnTo>
                      <a:pt x="195" y="69"/>
                    </a:lnTo>
                    <a:lnTo>
                      <a:pt x="166" y="54"/>
                    </a:lnTo>
                    <a:lnTo>
                      <a:pt x="151" y="69"/>
                    </a:lnTo>
                    <a:lnTo>
                      <a:pt x="131" y="69"/>
                    </a:lnTo>
                    <a:lnTo>
                      <a:pt x="118" y="86"/>
                    </a:lnTo>
                    <a:lnTo>
                      <a:pt x="124" y="54"/>
                    </a:lnTo>
                    <a:lnTo>
                      <a:pt x="118" y="39"/>
                    </a:lnTo>
                    <a:lnTo>
                      <a:pt x="118" y="0"/>
                    </a:lnTo>
                    <a:lnTo>
                      <a:pt x="96" y="0"/>
                    </a:lnTo>
                    <a:lnTo>
                      <a:pt x="66" y="47"/>
                    </a:lnTo>
                    <a:lnTo>
                      <a:pt x="59" y="86"/>
                    </a:lnTo>
                    <a:lnTo>
                      <a:pt x="66" y="112"/>
                    </a:lnTo>
                    <a:lnTo>
                      <a:pt x="46" y="101"/>
                    </a:lnTo>
                    <a:lnTo>
                      <a:pt x="46" y="47"/>
                    </a:lnTo>
                    <a:lnTo>
                      <a:pt x="81" y="0"/>
                    </a:lnTo>
                    <a:lnTo>
                      <a:pt x="39" y="0"/>
                    </a:lnTo>
                    <a:lnTo>
                      <a:pt x="0" y="76"/>
                    </a:lnTo>
                    <a:lnTo>
                      <a:pt x="0" y="104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72" name="Freeform 138"/>
              <p:cNvSpPr>
                <a:spLocks/>
              </p:cNvSpPr>
              <p:nvPr/>
            </p:nvSpPr>
            <p:spPr bwMode="auto">
              <a:xfrm>
                <a:off x="1377950" y="3559175"/>
                <a:ext cx="1358900" cy="788988"/>
              </a:xfrm>
              <a:custGeom>
                <a:avLst/>
                <a:gdLst>
                  <a:gd name="T0" fmla="*/ 397 w 774"/>
                  <a:gd name="T1" fmla="*/ 10 h 450"/>
                  <a:gd name="T2" fmla="*/ 412 w 774"/>
                  <a:gd name="T3" fmla="*/ 18 h 450"/>
                  <a:gd name="T4" fmla="*/ 445 w 774"/>
                  <a:gd name="T5" fmla="*/ 39 h 450"/>
                  <a:gd name="T6" fmla="*/ 440 w 774"/>
                  <a:gd name="T7" fmla="*/ 62 h 450"/>
                  <a:gd name="T8" fmla="*/ 459 w 774"/>
                  <a:gd name="T9" fmla="*/ 62 h 450"/>
                  <a:gd name="T10" fmla="*/ 487 w 774"/>
                  <a:gd name="T11" fmla="*/ 62 h 450"/>
                  <a:gd name="T12" fmla="*/ 504 w 774"/>
                  <a:gd name="T13" fmla="*/ 62 h 450"/>
                  <a:gd name="T14" fmla="*/ 546 w 774"/>
                  <a:gd name="T15" fmla="*/ 71 h 450"/>
                  <a:gd name="T16" fmla="*/ 504 w 774"/>
                  <a:gd name="T17" fmla="*/ 84 h 450"/>
                  <a:gd name="T18" fmla="*/ 504 w 774"/>
                  <a:gd name="T19" fmla="*/ 101 h 450"/>
                  <a:gd name="T20" fmla="*/ 496 w 774"/>
                  <a:gd name="T21" fmla="*/ 166 h 450"/>
                  <a:gd name="T22" fmla="*/ 509 w 774"/>
                  <a:gd name="T23" fmla="*/ 160 h 450"/>
                  <a:gd name="T24" fmla="*/ 531 w 774"/>
                  <a:gd name="T25" fmla="*/ 92 h 450"/>
                  <a:gd name="T26" fmla="*/ 551 w 774"/>
                  <a:gd name="T27" fmla="*/ 92 h 450"/>
                  <a:gd name="T28" fmla="*/ 546 w 774"/>
                  <a:gd name="T29" fmla="*/ 129 h 450"/>
                  <a:gd name="T30" fmla="*/ 561 w 774"/>
                  <a:gd name="T31" fmla="*/ 138 h 450"/>
                  <a:gd name="T32" fmla="*/ 551 w 774"/>
                  <a:gd name="T33" fmla="*/ 166 h 450"/>
                  <a:gd name="T34" fmla="*/ 616 w 774"/>
                  <a:gd name="T35" fmla="*/ 138 h 450"/>
                  <a:gd name="T36" fmla="*/ 645 w 774"/>
                  <a:gd name="T37" fmla="*/ 129 h 450"/>
                  <a:gd name="T38" fmla="*/ 666 w 774"/>
                  <a:gd name="T39" fmla="*/ 101 h 450"/>
                  <a:gd name="T40" fmla="*/ 723 w 774"/>
                  <a:gd name="T41" fmla="*/ 92 h 450"/>
                  <a:gd name="T42" fmla="*/ 752 w 774"/>
                  <a:gd name="T43" fmla="*/ 54 h 450"/>
                  <a:gd name="T44" fmla="*/ 765 w 774"/>
                  <a:gd name="T45" fmla="*/ 84 h 450"/>
                  <a:gd name="T46" fmla="*/ 774 w 774"/>
                  <a:gd name="T47" fmla="*/ 101 h 450"/>
                  <a:gd name="T48" fmla="*/ 752 w 774"/>
                  <a:gd name="T49" fmla="*/ 113 h 450"/>
                  <a:gd name="T50" fmla="*/ 723 w 774"/>
                  <a:gd name="T51" fmla="*/ 166 h 450"/>
                  <a:gd name="T52" fmla="*/ 730 w 774"/>
                  <a:gd name="T53" fmla="*/ 175 h 450"/>
                  <a:gd name="T54" fmla="*/ 678 w 774"/>
                  <a:gd name="T55" fmla="*/ 183 h 450"/>
                  <a:gd name="T56" fmla="*/ 666 w 774"/>
                  <a:gd name="T57" fmla="*/ 213 h 450"/>
                  <a:gd name="T58" fmla="*/ 658 w 774"/>
                  <a:gd name="T59" fmla="*/ 250 h 450"/>
                  <a:gd name="T60" fmla="*/ 645 w 774"/>
                  <a:gd name="T61" fmla="*/ 220 h 450"/>
                  <a:gd name="T62" fmla="*/ 638 w 774"/>
                  <a:gd name="T63" fmla="*/ 220 h 450"/>
                  <a:gd name="T64" fmla="*/ 645 w 774"/>
                  <a:gd name="T65" fmla="*/ 294 h 450"/>
                  <a:gd name="T66" fmla="*/ 581 w 774"/>
                  <a:gd name="T67" fmla="*/ 361 h 450"/>
                  <a:gd name="T68" fmla="*/ 596 w 774"/>
                  <a:gd name="T69" fmla="*/ 450 h 450"/>
                  <a:gd name="T70" fmla="*/ 561 w 774"/>
                  <a:gd name="T71" fmla="*/ 422 h 450"/>
                  <a:gd name="T72" fmla="*/ 546 w 774"/>
                  <a:gd name="T73" fmla="*/ 368 h 450"/>
                  <a:gd name="T74" fmla="*/ 531 w 774"/>
                  <a:gd name="T75" fmla="*/ 368 h 450"/>
                  <a:gd name="T76" fmla="*/ 465 w 774"/>
                  <a:gd name="T77" fmla="*/ 376 h 450"/>
                  <a:gd name="T78" fmla="*/ 454 w 774"/>
                  <a:gd name="T79" fmla="*/ 385 h 450"/>
                  <a:gd name="T80" fmla="*/ 418 w 774"/>
                  <a:gd name="T81" fmla="*/ 376 h 450"/>
                  <a:gd name="T82" fmla="*/ 370 w 774"/>
                  <a:gd name="T83" fmla="*/ 415 h 450"/>
                  <a:gd name="T84" fmla="*/ 340 w 774"/>
                  <a:gd name="T85" fmla="*/ 437 h 450"/>
                  <a:gd name="T86" fmla="*/ 296 w 774"/>
                  <a:gd name="T87" fmla="*/ 376 h 450"/>
                  <a:gd name="T88" fmla="*/ 283 w 774"/>
                  <a:gd name="T89" fmla="*/ 385 h 450"/>
                  <a:gd name="T90" fmla="*/ 269 w 774"/>
                  <a:gd name="T91" fmla="*/ 361 h 450"/>
                  <a:gd name="T92" fmla="*/ 177 w 774"/>
                  <a:gd name="T93" fmla="*/ 353 h 450"/>
                  <a:gd name="T94" fmla="*/ 105 w 774"/>
                  <a:gd name="T95" fmla="*/ 331 h 450"/>
                  <a:gd name="T96" fmla="*/ 83 w 774"/>
                  <a:gd name="T97" fmla="*/ 316 h 450"/>
                  <a:gd name="T98" fmla="*/ 48 w 774"/>
                  <a:gd name="T99" fmla="*/ 294 h 450"/>
                  <a:gd name="T100" fmla="*/ 35 w 774"/>
                  <a:gd name="T101" fmla="*/ 266 h 450"/>
                  <a:gd name="T102" fmla="*/ 25 w 774"/>
                  <a:gd name="T103" fmla="*/ 250 h 450"/>
                  <a:gd name="T104" fmla="*/ 35 w 774"/>
                  <a:gd name="T105" fmla="*/ 242 h 450"/>
                  <a:gd name="T106" fmla="*/ 20 w 774"/>
                  <a:gd name="T107" fmla="*/ 234 h 450"/>
                  <a:gd name="T108" fmla="*/ 6 w 774"/>
                  <a:gd name="T109" fmla="*/ 213 h 450"/>
                  <a:gd name="T110" fmla="*/ 0 w 774"/>
                  <a:gd name="T111" fmla="*/ 197 h 450"/>
                  <a:gd name="T112" fmla="*/ 0 w 774"/>
                  <a:gd name="T113" fmla="*/ 138 h 450"/>
                  <a:gd name="T114" fmla="*/ 0 w 774"/>
                  <a:gd name="T115" fmla="*/ 23 h 450"/>
                  <a:gd name="T116" fmla="*/ 20 w 774"/>
                  <a:gd name="T117" fmla="*/ 47 h 450"/>
                  <a:gd name="T118" fmla="*/ 25 w 774"/>
                  <a:gd name="T119" fmla="*/ 10 h 450"/>
                  <a:gd name="T120" fmla="*/ 25 w 774"/>
                  <a:gd name="T121" fmla="*/ 10 h 4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774" h="450">
                    <a:moveTo>
                      <a:pt x="25" y="10"/>
                    </a:moveTo>
                    <a:lnTo>
                      <a:pt x="397" y="10"/>
                    </a:lnTo>
                    <a:lnTo>
                      <a:pt x="402" y="0"/>
                    </a:lnTo>
                    <a:lnTo>
                      <a:pt x="412" y="18"/>
                    </a:lnTo>
                    <a:lnTo>
                      <a:pt x="424" y="18"/>
                    </a:lnTo>
                    <a:lnTo>
                      <a:pt x="445" y="39"/>
                    </a:lnTo>
                    <a:lnTo>
                      <a:pt x="465" y="39"/>
                    </a:lnTo>
                    <a:lnTo>
                      <a:pt x="440" y="62"/>
                    </a:lnTo>
                    <a:lnTo>
                      <a:pt x="454" y="54"/>
                    </a:lnTo>
                    <a:lnTo>
                      <a:pt x="459" y="62"/>
                    </a:lnTo>
                    <a:lnTo>
                      <a:pt x="487" y="54"/>
                    </a:lnTo>
                    <a:lnTo>
                      <a:pt x="487" y="62"/>
                    </a:lnTo>
                    <a:lnTo>
                      <a:pt x="496" y="54"/>
                    </a:lnTo>
                    <a:lnTo>
                      <a:pt x="504" y="62"/>
                    </a:lnTo>
                    <a:lnTo>
                      <a:pt x="539" y="62"/>
                    </a:lnTo>
                    <a:lnTo>
                      <a:pt x="546" y="71"/>
                    </a:lnTo>
                    <a:lnTo>
                      <a:pt x="546" y="84"/>
                    </a:lnTo>
                    <a:lnTo>
                      <a:pt x="504" y="84"/>
                    </a:lnTo>
                    <a:lnTo>
                      <a:pt x="496" y="113"/>
                    </a:lnTo>
                    <a:lnTo>
                      <a:pt x="504" y="101"/>
                    </a:lnTo>
                    <a:lnTo>
                      <a:pt x="496" y="138"/>
                    </a:lnTo>
                    <a:lnTo>
                      <a:pt x="496" y="166"/>
                    </a:lnTo>
                    <a:lnTo>
                      <a:pt x="504" y="166"/>
                    </a:lnTo>
                    <a:lnTo>
                      <a:pt x="509" y="160"/>
                    </a:lnTo>
                    <a:lnTo>
                      <a:pt x="509" y="121"/>
                    </a:lnTo>
                    <a:lnTo>
                      <a:pt x="531" y="92"/>
                    </a:lnTo>
                    <a:lnTo>
                      <a:pt x="531" y="84"/>
                    </a:lnTo>
                    <a:lnTo>
                      <a:pt x="551" y="92"/>
                    </a:lnTo>
                    <a:lnTo>
                      <a:pt x="551" y="113"/>
                    </a:lnTo>
                    <a:lnTo>
                      <a:pt x="546" y="129"/>
                    </a:lnTo>
                    <a:lnTo>
                      <a:pt x="561" y="121"/>
                    </a:lnTo>
                    <a:lnTo>
                      <a:pt x="561" y="138"/>
                    </a:lnTo>
                    <a:lnTo>
                      <a:pt x="573" y="138"/>
                    </a:lnTo>
                    <a:lnTo>
                      <a:pt x="551" y="166"/>
                    </a:lnTo>
                    <a:lnTo>
                      <a:pt x="581" y="166"/>
                    </a:lnTo>
                    <a:lnTo>
                      <a:pt x="616" y="138"/>
                    </a:lnTo>
                    <a:lnTo>
                      <a:pt x="616" y="129"/>
                    </a:lnTo>
                    <a:lnTo>
                      <a:pt x="645" y="129"/>
                    </a:lnTo>
                    <a:lnTo>
                      <a:pt x="645" y="113"/>
                    </a:lnTo>
                    <a:lnTo>
                      <a:pt x="666" y="101"/>
                    </a:lnTo>
                    <a:lnTo>
                      <a:pt x="708" y="101"/>
                    </a:lnTo>
                    <a:lnTo>
                      <a:pt x="723" y="92"/>
                    </a:lnTo>
                    <a:lnTo>
                      <a:pt x="745" y="47"/>
                    </a:lnTo>
                    <a:lnTo>
                      <a:pt x="752" y="54"/>
                    </a:lnTo>
                    <a:lnTo>
                      <a:pt x="759" y="47"/>
                    </a:lnTo>
                    <a:lnTo>
                      <a:pt x="765" y="84"/>
                    </a:lnTo>
                    <a:lnTo>
                      <a:pt x="774" y="92"/>
                    </a:lnTo>
                    <a:lnTo>
                      <a:pt x="774" y="101"/>
                    </a:lnTo>
                    <a:lnTo>
                      <a:pt x="765" y="113"/>
                    </a:lnTo>
                    <a:lnTo>
                      <a:pt x="752" y="113"/>
                    </a:lnTo>
                    <a:lnTo>
                      <a:pt x="715" y="145"/>
                    </a:lnTo>
                    <a:lnTo>
                      <a:pt x="723" y="166"/>
                    </a:lnTo>
                    <a:lnTo>
                      <a:pt x="730" y="160"/>
                    </a:lnTo>
                    <a:lnTo>
                      <a:pt x="730" y="175"/>
                    </a:lnTo>
                    <a:lnTo>
                      <a:pt x="708" y="166"/>
                    </a:lnTo>
                    <a:lnTo>
                      <a:pt x="678" y="183"/>
                    </a:lnTo>
                    <a:lnTo>
                      <a:pt x="671" y="220"/>
                    </a:lnTo>
                    <a:lnTo>
                      <a:pt x="666" y="213"/>
                    </a:lnTo>
                    <a:lnTo>
                      <a:pt x="666" y="220"/>
                    </a:lnTo>
                    <a:lnTo>
                      <a:pt x="658" y="250"/>
                    </a:lnTo>
                    <a:lnTo>
                      <a:pt x="658" y="234"/>
                    </a:lnTo>
                    <a:lnTo>
                      <a:pt x="645" y="220"/>
                    </a:lnTo>
                    <a:lnTo>
                      <a:pt x="645" y="203"/>
                    </a:lnTo>
                    <a:lnTo>
                      <a:pt x="638" y="220"/>
                    </a:lnTo>
                    <a:lnTo>
                      <a:pt x="658" y="277"/>
                    </a:lnTo>
                    <a:lnTo>
                      <a:pt x="645" y="294"/>
                    </a:lnTo>
                    <a:lnTo>
                      <a:pt x="588" y="339"/>
                    </a:lnTo>
                    <a:lnTo>
                      <a:pt x="581" y="361"/>
                    </a:lnTo>
                    <a:lnTo>
                      <a:pt x="596" y="422"/>
                    </a:lnTo>
                    <a:lnTo>
                      <a:pt x="596" y="450"/>
                    </a:lnTo>
                    <a:lnTo>
                      <a:pt x="588" y="450"/>
                    </a:lnTo>
                    <a:lnTo>
                      <a:pt x="561" y="422"/>
                    </a:lnTo>
                    <a:lnTo>
                      <a:pt x="561" y="385"/>
                    </a:lnTo>
                    <a:lnTo>
                      <a:pt x="546" y="368"/>
                    </a:lnTo>
                    <a:lnTo>
                      <a:pt x="531" y="376"/>
                    </a:lnTo>
                    <a:lnTo>
                      <a:pt x="531" y="368"/>
                    </a:lnTo>
                    <a:lnTo>
                      <a:pt x="480" y="368"/>
                    </a:lnTo>
                    <a:lnTo>
                      <a:pt x="465" y="376"/>
                    </a:lnTo>
                    <a:lnTo>
                      <a:pt x="480" y="385"/>
                    </a:lnTo>
                    <a:lnTo>
                      <a:pt x="454" y="385"/>
                    </a:lnTo>
                    <a:lnTo>
                      <a:pt x="445" y="376"/>
                    </a:lnTo>
                    <a:lnTo>
                      <a:pt x="418" y="376"/>
                    </a:lnTo>
                    <a:lnTo>
                      <a:pt x="402" y="385"/>
                    </a:lnTo>
                    <a:lnTo>
                      <a:pt x="370" y="415"/>
                    </a:lnTo>
                    <a:lnTo>
                      <a:pt x="370" y="442"/>
                    </a:lnTo>
                    <a:lnTo>
                      <a:pt x="340" y="437"/>
                    </a:lnTo>
                    <a:lnTo>
                      <a:pt x="311" y="376"/>
                    </a:lnTo>
                    <a:lnTo>
                      <a:pt x="296" y="376"/>
                    </a:lnTo>
                    <a:lnTo>
                      <a:pt x="291" y="385"/>
                    </a:lnTo>
                    <a:lnTo>
                      <a:pt x="283" y="385"/>
                    </a:lnTo>
                    <a:lnTo>
                      <a:pt x="269" y="376"/>
                    </a:lnTo>
                    <a:lnTo>
                      <a:pt x="269" y="361"/>
                    </a:lnTo>
                    <a:lnTo>
                      <a:pt x="248" y="339"/>
                    </a:lnTo>
                    <a:lnTo>
                      <a:pt x="177" y="353"/>
                    </a:lnTo>
                    <a:lnTo>
                      <a:pt x="127" y="331"/>
                    </a:lnTo>
                    <a:lnTo>
                      <a:pt x="105" y="331"/>
                    </a:lnTo>
                    <a:lnTo>
                      <a:pt x="90" y="316"/>
                    </a:lnTo>
                    <a:lnTo>
                      <a:pt x="83" y="316"/>
                    </a:lnTo>
                    <a:lnTo>
                      <a:pt x="83" y="301"/>
                    </a:lnTo>
                    <a:lnTo>
                      <a:pt x="48" y="294"/>
                    </a:lnTo>
                    <a:lnTo>
                      <a:pt x="48" y="286"/>
                    </a:lnTo>
                    <a:lnTo>
                      <a:pt x="35" y="266"/>
                    </a:lnTo>
                    <a:lnTo>
                      <a:pt x="35" y="250"/>
                    </a:lnTo>
                    <a:lnTo>
                      <a:pt x="25" y="250"/>
                    </a:lnTo>
                    <a:lnTo>
                      <a:pt x="25" y="242"/>
                    </a:lnTo>
                    <a:lnTo>
                      <a:pt x="35" y="242"/>
                    </a:lnTo>
                    <a:lnTo>
                      <a:pt x="35" y="234"/>
                    </a:lnTo>
                    <a:lnTo>
                      <a:pt x="20" y="234"/>
                    </a:lnTo>
                    <a:lnTo>
                      <a:pt x="25" y="234"/>
                    </a:lnTo>
                    <a:lnTo>
                      <a:pt x="6" y="213"/>
                    </a:lnTo>
                    <a:lnTo>
                      <a:pt x="6" y="203"/>
                    </a:lnTo>
                    <a:lnTo>
                      <a:pt x="0" y="197"/>
                    </a:lnTo>
                    <a:lnTo>
                      <a:pt x="6" y="166"/>
                    </a:lnTo>
                    <a:lnTo>
                      <a:pt x="0" y="138"/>
                    </a:lnTo>
                    <a:lnTo>
                      <a:pt x="6" y="71"/>
                    </a:lnTo>
                    <a:lnTo>
                      <a:pt x="0" y="23"/>
                    </a:lnTo>
                    <a:lnTo>
                      <a:pt x="20" y="23"/>
                    </a:lnTo>
                    <a:lnTo>
                      <a:pt x="20" y="47"/>
                    </a:lnTo>
                    <a:lnTo>
                      <a:pt x="25" y="47"/>
                    </a:lnTo>
                    <a:lnTo>
                      <a:pt x="25" y="1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73" name="Freeform 139"/>
              <p:cNvSpPr>
                <a:spLocks/>
              </p:cNvSpPr>
              <p:nvPr/>
            </p:nvSpPr>
            <p:spPr bwMode="auto">
              <a:xfrm>
                <a:off x="369888" y="2386013"/>
                <a:ext cx="868362" cy="976312"/>
              </a:xfrm>
              <a:custGeom>
                <a:avLst/>
                <a:gdLst>
                  <a:gd name="T0" fmla="*/ 494 w 494"/>
                  <a:gd name="T1" fmla="*/ 516 h 559"/>
                  <a:gd name="T2" fmla="*/ 446 w 494"/>
                  <a:gd name="T3" fmla="*/ 440 h 559"/>
                  <a:gd name="T4" fmla="*/ 431 w 494"/>
                  <a:gd name="T5" fmla="*/ 411 h 559"/>
                  <a:gd name="T6" fmla="*/ 402 w 494"/>
                  <a:gd name="T7" fmla="*/ 435 h 559"/>
                  <a:gd name="T8" fmla="*/ 382 w 494"/>
                  <a:gd name="T9" fmla="*/ 395 h 559"/>
                  <a:gd name="T10" fmla="*/ 353 w 494"/>
                  <a:gd name="T11" fmla="*/ 74 h 559"/>
                  <a:gd name="T12" fmla="*/ 302 w 494"/>
                  <a:gd name="T13" fmla="*/ 65 h 559"/>
                  <a:gd name="T14" fmla="*/ 270 w 494"/>
                  <a:gd name="T15" fmla="*/ 53 h 559"/>
                  <a:gd name="T16" fmla="*/ 213 w 494"/>
                  <a:gd name="T17" fmla="*/ 38 h 559"/>
                  <a:gd name="T18" fmla="*/ 176 w 494"/>
                  <a:gd name="T19" fmla="*/ 21 h 559"/>
                  <a:gd name="T20" fmla="*/ 149 w 494"/>
                  <a:gd name="T21" fmla="*/ 0 h 559"/>
                  <a:gd name="T22" fmla="*/ 90 w 494"/>
                  <a:gd name="T23" fmla="*/ 45 h 559"/>
                  <a:gd name="T24" fmla="*/ 62 w 494"/>
                  <a:gd name="T25" fmla="*/ 65 h 559"/>
                  <a:gd name="T26" fmla="*/ 20 w 494"/>
                  <a:gd name="T27" fmla="*/ 111 h 559"/>
                  <a:gd name="T28" fmla="*/ 49 w 494"/>
                  <a:gd name="T29" fmla="*/ 156 h 559"/>
                  <a:gd name="T30" fmla="*/ 77 w 494"/>
                  <a:gd name="T31" fmla="*/ 210 h 559"/>
                  <a:gd name="T32" fmla="*/ 49 w 494"/>
                  <a:gd name="T33" fmla="*/ 195 h 559"/>
                  <a:gd name="T34" fmla="*/ 5 w 494"/>
                  <a:gd name="T35" fmla="*/ 210 h 559"/>
                  <a:gd name="T36" fmla="*/ 13 w 494"/>
                  <a:gd name="T37" fmla="*/ 240 h 559"/>
                  <a:gd name="T38" fmla="*/ 35 w 494"/>
                  <a:gd name="T39" fmla="*/ 270 h 559"/>
                  <a:gd name="T40" fmla="*/ 84 w 494"/>
                  <a:gd name="T41" fmla="*/ 253 h 559"/>
                  <a:gd name="T42" fmla="*/ 90 w 494"/>
                  <a:gd name="T43" fmla="*/ 285 h 559"/>
                  <a:gd name="T44" fmla="*/ 62 w 494"/>
                  <a:gd name="T45" fmla="*/ 306 h 559"/>
                  <a:gd name="T46" fmla="*/ 42 w 494"/>
                  <a:gd name="T47" fmla="*/ 314 h 559"/>
                  <a:gd name="T48" fmla="*/ 49 w 494"/>
                  <a:gd name="T49" fmla="*/ 411 h 559"/>
                  <a:gd name="T50" fmla="*/ 77 w 494"/>
                  <a:gd name="T51" fmla="*/ 405 h 559"/>
                  <a:gd name="T52" fmla="*/ 84 w 494"/>
                  <a:gd name="T53" fmla="*/ 440 h 559"/>
                  <a:gd name="T54" fmla="*/ 119 w 494"/>
                  <a:gd name="T55" fmla="*/ 448 h 559"/>
                  <a:gd name="T56" fmla="*/ 132 w 494"/>
                  <a:gd name="T57" fmla="*/ 440 h 559"/>
                  <a:gd name="T58" fmla="*/ 90 w 494"/>
                  <a:gd name="T59" fmla="*/ 516 h 559"/>
                  <a:gd name="T60" fmla="*/ 35 w 494"/>
                  <a:gd name="T61" fmla="*/ 554 h 559"/>
                  <a:gd name="T62" fmla="*/ 119 w 494"/>
                  <a:gd name="T63" fmla="*/ 516 h 559"/>
                  <a:gd name="T64" fmla="*/ 184 w 494"/>
                  <a:gd name="T65" fmla="*/ 448 h 559"/>
                  <a:gd name="T66" fmla="*/ 176 w 494"/>
                  <a:gd name="T67" fmla="*/ 435 h 559"/>
                  <a:gd name="T68" fmla="*/ 206 w 494"/>
                  <a:gd name="T69" fmla="*/ 388 h 559"/>
                  <a:gd name="T70" fmla="*/ 233 w 494"/>
                  <a:gd name="T71" fmla="*/ 368 h 559"/>
                  <a:gd name="T72" fmla="*/ 213 w 494"/>
                  <a:gd name="T73" fmla="*/ 411 h 559"/>
                  <a:gd name="T74" fmla="*/ 213 w 494"/>
                  <a:gd name="T75" fmla="*/ 435 h 559"/>
                  <a:gd name="T76" fmla="*/ 248 w 494"/>
                  <a:gd name="T77" fmla="*/ 411 h 559"/>
                  <a:gd name="T78" fmla="*/ 261 w 494"/>
                  <a:gd name="T79" fmla="*/ 395 h 559"/>
                  <a:gd name="T80" fmla="*/ 310 w 494"/>
                  <a:gd name="T81" fmla="*/ 405 h 559"/>
                  <a:gd name="T82" fmla="*/ 360 w 494"/>
                  <a:gd name="T83" fmla="*/ 411 h 559"/>
                  <a:gd name="T84" fmla="*/ 374 w 494"/>
                  <a:gd name="T85" fmla="*/ 428 h 559"/>
                  <a:gd name="T86" fmla="*/ 439 w 494"/>
                  <a:gd name="T87" fmla="*/ 516 h 559"/>
                  <a:gd name="T88" fmla="*/ 426 w 494"/>
                  <a:gd name="T89" fmla="*/ 462 h 559"/>
                  <a:gd name="T90" fmla="*/ 431 w 494"/>
                  <a:gd name="T91" fmla="*/ 440 h 559"/>
                  <a:gd name="T92" fmla="*/ 446 w 494"/>
                  <a:gd name="T93" fmla="*/ 479 h 559"/>
                  <a:gd name="T94" fmla="*/ 446 w 494"/>
                  <a:gd name="T95" fmla="*/ 485 h 559"/>
                  <a:gd name="T96" fmla="*/ 461 w 494"/>
                  <a:gd name="T97" fmla="*/ 509 h 559"/>
                  <a:gd name="T98" fmla="*/ 474 w 494"/>
                  <a:gd name="T99" fmla="*/ 554 h 559"/>
                  <a:gd name="T100" fmla="*/ 467 w 494"/>
                  <a:gd name="T101" fmla="*/ 516 h 559"/>
                  <a:gd name="T102" fmla="*/ 474 w 494"/>
                  <a:gd name="T103" fmla="*/ 526 h 559"/>
                  <a:gd name="T104" fmla="*/ 494 w 494"/>
                  <a:gd name="T105" fmla="*/ 546 h 559"/>
                  <a:gd name="T106" fmla="*/ 494 w 494"/>
                  <a:gd name="T107" fmla="*/ 546 h 5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94" h="559">
                    <a:moveTo>
                      <a:pt x="494" y="546"/>
                    </a:moveTo>
                    <a:lnTo>
                      <a:pt x="494" y="516"/>
                    </a:lnTo>
                    <a:lnTo>
                      <a:pt x="474" y="494"/>
                    </a:lnTo>
                    <a:lnTo>
                      <a:pt x="446" y="440"/>
                    </a:lnTo>
                    <a:lnTo>
                      <a:pt x="439" y="440"/>
                    </a:lnTo>
                    <a:lnTo>
                      <a:pt x="431" y="411"/>
                    </a:lnTo>
                    <a:lnTo>
                      <a:pt x="419" y="428"/>
                    </a:lnTo>
                    <a:lnTo>
                      <a:pt x="402" y="435"/>
                    </a:lnTo>
                    <a:lnTo>
                      <a:pt x="382" y="405"/>
                    </a:lnTo>
                    <a:lnTo>
                      <a:pt x="382" y="395"/>
                    </a:lnTo>
                    <a:lnTo>
                      <a:pt x="353" y="405"/>
                    </a:lnTo>
                    <a:lnTo>
                      <a:pt x="353" y="74"/>
                    </a:lnTo>
                    <a:lnTo>
                      <a:pt x="332" y="53"/>
                    </a:lnTo>
                    <a:lnTo>
                      <a:pt x="302" y="65"/>
                    </a:lnTo>
                    <a:lnTo>
                      <a:pt x="291" y="53"/>
                    </a:lnTo>
                    <a:lnTo>
                      <a:pt x="270" y="53"/>
                    </a:lnTo>
                    <a:lnTo>
                      <a:pt x="248" y="38"/>
                    </a:lnTo>
                    <a:lnTo>
                      <a:pt x="213" y="38"/>
                    </a:lnTo>
                    <a:lnTo>
                      <a:pt x="206" y="21"/>
                    </a:lnTo>
                    <a:lnTo>
                      <a:pt x="176" y="21"/>
                    </a:lnTo>
                    <a:lnTo>
                      <a:pt x="168" y="8"/>
                    </a:lnTo>
                    <a:lnTo>
                      <a:pt x="149" y="0"/>
                    </a:lnTo>
                    <a:lnTo>
                      <a:pt x="132" y="21"/>
                    </a:lnTo>
                    <a:lnTo>
                      <a:pt x="90" y="45"/>
                    </a:lnTo>
                    <a:lnTo>
                      <a:pt x="84" y="45"/>
                    </a:lnTo>
                    <a:lnTo>
                      <a:pt x="62" y="65"/>
                    </a:lnTo>
                    <a:lnTo>
                      <a:pt x="57" y="104"/>
                    </a:lnTo>
                    <a:lnTo>
                      <a:pt x="20" y="111"/>
                    </a:lnTo>
                    <a:lnTo>
                      <a:pt x="13" y="127"/>
                    </a:lnTo>
                    <a:lnTo>
                      <a:pt x="49" y="156"/>
                    </a:lnTo>
                    <a:lnTo>
                      <a:pt x="77" y="201"/>
                    </a:lnTo>
                    <a:lnTo>
                      <a:pt x="77" y="210"/>
                    </a:lnTo>
                    <a:lnTo>
                      <a:pt x="49" y="210"/>
                    </a:lnTo>
                    <a:lnTo>
                      <a:pt x="49" y="195"/>
                    </a:lnTo>
                    <a:lnTo>
                      <a:pt x="42" y="195"/>
                    </a:lnTo>
                    <a:lnTo>
                      <a:pt x="5" y="210"/>
                    </a:lnTo>
                    <a:lnTo>
                      <a:pt x="0" y="232"/>
                    </a:lnTo>
                    <a:lnTo>
                      <a:pt x="13" y="240"/>
                    </a:lnTo>
                    <a:lnTo>
                      <a:pt x="13" y="253"/>
                    </a:lnTo>
                    <a:lnTo>
                      <a:pt x="35" y="270"/>
                    </a:lnTo>
                    <a:lnTo>
                      <a:pt x="62" y="270"/>
                    </a:lnTo>
                    <a:lnTo>
                      <a:pt x="84" y="253"/>
                    </a:lnTo>
                    <a:lnTo>
                      <a:pt x="84" y="270"/>
                    </a:lnTo>
                    <a:lnTo>
                      <a:pt x="90" y="285"/>
                    </a:lnTo>
                    <a:lnTo>
                      <a:pt x="84" y="306"/>
                    </a:lnTo>
                    <a:lnTo>
                      <a:pt x="62" y="306"/>
                    </a:lnTo>
                    <a:lnTo>
                      <a:pt x="57" y="314"/>
                    </a:lnTo>
                    <a:lnTo>
                      <a:pt x="42" y="314"/>
                    </a:lnTo>
                    <a:lnTo>
                      <a:pt x="20" y="359"/>
                    </a:lnTo>
                    <a:lnTo>
                      <a:pt x="49" y="411"/>
                    </a:lnTo>
                    <a:lnTo>
                      <a:pt x="57" y="411"/>
                    </a:lnTo>
                    <a:lnTo>
                      <a:pt x="77" y="405"/>
                    </a:lnTo>
                    <a:lnTo>
                      <a:pt x="77" y="435"/>
                    </a:lnTo>
                    <a:lnTo>
                      <a:pt x="84" y="440"/>
                    </a:lnTo>
                    <a:lnTo>
                      <a:pt x="106" y="440"/>
                    </a:lnTo>
                    <a:lnTo>
                      <a:pt x="119" y="448"/>
                    </a:lnTo>
                    <a:lnTo>
                      <a:pt x="119" y="440"/>
                    </a:lnTo>
                    <a:lnTo>
                      <a:pt x="132" y="440"/>
                    </a:lnTo>
                    <a:lnTo>
                      <a:pt x="132" y="479"/>
                    </a:lnTo>
                    <a:lnTo>
                      <a:pt x="90" y="516"/>
                    </a:lnTo>
                    <a:lnTo>
                      <a:pt x="62" y="526"/>
                    </a:lnTo>
                    <a:lnTo>
                      <a:pt x="35" y="554"/>
                    </a:lnTo>
                    <a:lnTo>
                      <a:pt x="42" y="559"/>
                    </a:lnTo>
                    <a:lnTo>
                      <a:pt x="119" y="516"/>
                    </a:lnTo>
                    <a:lnTo>
                      <a:pt x="142" y="485"/>
                    </a:lnTo>
                    <a:lnTo>
                      <a:pt x="184" y="448"/>
                    </a:lnTo>
                    <a:lnTo>
                      <a:pt x="189" y="440"/>
                    </a:lnTo>
                    <a:lnTo>
                      <a:pt x="176" y="435"/>
                    </a:lnTo>
                    <a:lnTo>
                      <a:pt x="206" y="405"/>
                    </a:lnTo>
                    <a:lnTo>
                      <a:pt x="206" y="388"/>
                    </a:lnTo>
                    <a:lnTo>
                      <a:pt x="226" y="368"/>
                    </a:lnTo>
                    <a:lnTo>
                      <a:pt x="233" y="368"/>
                    </a:lnTo>
                    <a:lnTo>
                      <a:pt x="218" y="388"/>
                    </a:lnTo>
                    <a:lnTo>
                      <a:pt x="213" y="411"/>
                    </a:lnTo>
                    <a:lnTo>
                      <a:pt x="218" y="428"/>
                    </a:lnTo>
                    <a:lnTo>
                      <a:pt x="213" y="435"/>
                    </a:lnTo>
                    <a:lnTo>
                      <a:pt x="218" y="435"/>
                    </a:lnTo>
                    <a:lnTo>
                      <a:pt x="248" y="411"/>
                    </a:lnTo>
                    <a:lnTo>
                      <a:pt x="255" y="411"/>
                    </a:lnTo>
                    <a:lnTo>
                      <a:pt x="261" y="395"/>
                    </a:lnTo>
                    <a:lnTo>
                      <a:pt x="255" y="374"/>
                    </a:lnTo>
                    <a:lnTo>
                      <a:pt x="310" y="405"/>
                    </a:lnTo>
                    <a:lnTo>
                      <a:pt x="338" y="405"/>
                    </a:lnTo>
                    <a:lnTo>
                      <a:pt x="360" y="411"/>
                    </a:lnTo>
                    <a:lnTo>
                      <a:pt x="374" y="411"/>
                    </a:lnTo>
                    <a:lnTo>
                      <a:pt x="374" y="428"/>
                    </a:lnTo>
                    <a:lnTo>
                      <a:pt x="419" y="462"/>
                    </a:lnTo>
                    <a:lnTo>
                      <a:pt x="439" y="516"/>
                    </a:lnTo>
                    <a:lnTo>
                      <a:pt x="431" y="472"/>
                    </a:lnTo>
                    <a:lnTo>
                      <a:pt x="426" y="462"/>
                    </a:lnTo>
                    <a:lnTo>
                      <a:pt x="431" y="462"/>
                    </a:lnTo>
                    <a:lnTo>
                      <a:pt x="431" y="440"/>
                    </a:lnTo>
                    <a:lnTo>
                      <a:pt x="439" y="485"/>
                    </a:lnTo>
                    <a:lnTo>
                      <a:pt x="446" y="479"/>
                    </a:lnTo>
                    <a:lnTo>
                      <a:pt x="467" y="494"/>
                    </a:lnTo>
                    <a:lnTo>
                      <a:pt x="446" y="485"/>
                    </a:lnTo>
                    <a:lnTo>
                      <a:pt x="446" y="516"/>
                    </a:lnTo>
                    <a:lnTo>
                      <a:pt x="461" y="509"/>
                    </a:lnTo>
                    <a:lnTo>
                      <a:pt x="461" y="526"/>
                    </a:lnTo>
                    <a:lnTo>
                      <a:pt x="474" y="554"/>
                    </a:lnTo>
                    <a:lnTo>
                      <a:pt x="474" y="531"/>
                    </a:lnTo>
                    <a:lnTo>
                      <a:pt x="467" y="516"/>
                    </a:lnTo>
                    <a:lnTo>
                      <a:pt x="474" y="516"/>
                    </a:lnTo>
                    <a:lnTo>
                      <a:pt x="474" y="526"/>
                    </a:lnTo>
                    <a:lnTo>
                      <a:pt x="488" y="554"/>
                    </a:lnTo>
                    <a:lnTo>
                      <a:pt x="494" y="546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74" name="Freeform 140"/>
              <p:cNvSpPr>
                <a:spLocks/>
              </p:cNvSpPr>
              <p:nvPr/>
            </p:nvSpPr>
            <p:spPr bwMode="auto">
              <a:xfrm>
                <a:off x="990600" y="2143125"/>
                <a:ext cx="2020888" cy="1714500"/>
              </a:xfrm>
              <a:custGeom>
                <a:avLst/>
                <a:gdLst>
                  <a:gd name="T0" fmla="*/ 796 w 1151"/>
                  <a:gd name="T1" fmla="*/ 971 h 980"/>
                  <a:gd name="T2" fmla="*/ 803 w 1151"/>
                  <a:gd name="T3" fmla="*/ 941 h 980"/>
                  <a:gd name="T4" fmla="*/ 810 w 1151"/>
                  <a:gd name="T5" fmla="*/ 897 h 980"/>
                  <a:gd name="T6" fmla="*/ 746 w 1151"/>
                  <a:gd name="T7" fmla="*/ 850 h 980"/>
                  <a:gd name="T8" fmla="*/ 667 w 1151"/>
                  <a:gd name="T9" fmla="*/ 850 h 980"/>
                  <a:gd name="T10" fmla="*/ 619 w 1151"/>
                  <a:gd name="T11" fmla="*/ 822 h 980"/>
                  <a:gd name="T12" fmla="*/ 135 w 1151"/>
                  <a:gd name="T13" fmla="*/ 709 h 980"/>
                  <a:gd name="T14" fmla="*/ 93 w 1151"/>
                  <a:gd name="T15" fmla="*/ 580 h 980"/>
                  <a:gd name="T16" fmla="*/ 47 w 1151"/>
                  <a:gd name="T17" fmla="*/ 573 h 980"/>
                  <a:gd name="T18" fmla="*/ 0 w 1151"/>
                  <a:gd name="T19" fmla="*/ 210 h 980"/>
                  <a:gd name="T20" fmla="*/ 78 w 1151"/>
                  <a:gd name="T21" fmla="*/ 217 h 980"/>
                  <a:gd name="T22" fmla="*/ 156 w 1151"/>
                  <a:gd name="T23" fmla="*/ 201 h 980"/>
                  <a:gd name="T24" fmla="*/ 200 w 1151"/>
                  <a:gd name="T25" fmla="*/ 210 h 980"/>
                  <a:gd name="T26" fmla="*/ 240 w 1151"/>
                  <a:gd name="T27" fmla="*/ 217 h 980"/>
                  <a:gd name="T28" fmla="*/ 312 w 1151"/>
                  <a:gd name="T29" fmla="*/ 238 h 980"/>
                  <a:gd name="T30" fmla="*/ 349 w 1151"/>
                  <a:gd name="T31" fmla="*/ 270 h 980"/>
                  <a:gd name="T32" fmla="*/ 448 w 1151"/>
                  <a:gd name="T33" fmla="*/ 292 h 980"/>
                  <a:gd name="T34" fmla="*/ 491 w 1151"/>
                  <a:gd name="T35" fmla="*/ 264 h 980"/>
                  <a:gd name="T36" fmla="*/ 584 w 1151"/>
                  <a:gd name="T37" fmla="*/ 254 h 980"/>
                  <a:gd name="T38" fmla="*/ 597 w 1151"/>
                  <a:gd name="T39" fmla="*/ 223 h 980"/>
                  <a:gd name="T40" fmla="*/ 604 w 1151"/>
                  <a:gd name="T41" fmla="*/ 292 h 980"/>
                  <a:gd name="T42" fmla="*/ 597 w 1151"/>
                  <a:gd name="T43" fmla="*/ 180 h 980"/>
                  <a:gd name="T44" fmla="*/ 646 w 1151"/>
                  <a:gd name="T45" fmla="*/ 0 h 980"/>
                  <a:gd name="T46" fmla="*/ 646 w 1151"/>
                  <a:gd name="T47" fmla="*/ 67 h 980"/>
                  <a:gd name="T48" fmla="*/ 667 w 1151"/>
                  <a:gd name="T49" fmla="*/ 188 h 980"/>
                  <a:gd name="T50" fmla="*/ 702 w 1151"/>
                  <a:gd name="T51" fmla="*/ 223 h 980"/>
                  <a:gd name="T52" fmla="*/ 731 w 1151"/>
                  <a:gd name="T53" fmla="*/ 299 h 980"/>
                  <a:gd name="T54" fmla="*/ 768 w 1151"/>
                  <a:gd name="T55" fmla="*/ 201 h 980"/>
                  <a:gd name="T56" fmla="*/ 803 w 1151"/>
                  <a:gd name="T57" fmla="*/ 254 h 980"/>
                  <a:gd name="T58" fmla="*/ 803 w 1151"/>
                  <a:gd name="T59" fmla="*/ 307 h 980"/>
                  <a:gd name="T60" fmla="*/ 731 w 1151"/>
                  <a:gd name="T61" fmla="*/ 331 h 980"/>
                  <a:gd name="T62" fmla="*/ 709 w 1151"/>
                  <a:gd name="T63" fmla="*/ 422 h 980"/>
                  <a:gd name="T64" fmla="*/ 661 w 1151"/>
                  <a:gd name="T65" fmla="*/ 465 h 980"/>
                  <a:gd name="T66" fmla="*/ 624 w 1151"/>
                  <a:gd name="T67" fmla="*/ 573 h 980"/>
                  <a:gd name="T68" fmla="*/ 676 w 1151"/>
                  <a:gd name="T69" fmla="*/ 625 h 980"/>
                  <a:gd name="T70" fmla="*/ 783 w 1151"/>
                  <a:gd name="T71" fmla="*/ 670 h 980"/>
                  <a:gd name="T72" fmla="*/ 847 w 1151"/>
                  <a:gd name="T73" fmla="*/ 753 h 980"/>
                  <a:gd name="T74" fmla="*/ 853 w 1151"/>
                  <a:gd name="T75" fmla="*/ 600 h 980"/>
                  <a:gd name="T76" fmla="*/ 853 w 1151"/>
                  <a:gd name="T77" fmla="*/ 534 h 980"/>
                  <a:gd name="T78" fmla="*/ 847 w 1151"/>
                  <a:gd name="T79" fmla="*/ 480 h 980"/>
                  <a:gd name="T80" fmla="*/ 937 w 1151"/>
                  <a:gd name="T81" fmla="*/ 497 h 980"/>
                  <a:gd name="T82" fmla="*/ 966 w 1151"/>
                  <a:gd name="T83" fmla="*/ 573 h 980"/>
                  <a:gd name="T84" fmla="*/ 1022 w 1151"/>
                  <a:gd name="T85" fmla="*/ 534 h 980"/>
                  <a:gd name="T86" fmla="*/ 1079 w 1151"/>
                  <a:gd name="T87" fmla="*/ 664 h 980"/>
                  <a:gd name="T88" fmla="*/ 1123 w 1151"/>
                  <a:gd name="T89" fmla="*/ 692 h 980"/>
                  <a:gd name="T90" fmla="*/ 1136 w 1151"/>
                  <a:gd name="T91" fmla="*/ 723 h 980"/>
                  <a:gd name="T92" fmla="*/ 1136 w 1151"/>
                  <a:gd name="T93" fmla="*/ 766 h 980"/>
                  <a:gd name="T94" fmla="*/ 1036 w 1151"/>
                  <a:gd name="T95" fmla="*/ 790 h 980"/>
                  <a:gd name="T96" fmla="*/ 966 w 1151"/>
                  <a:gd name="T97" fmla="*/ 828 h 980"/>
                  <a:gd name="T98" fmla="*/ 996 w 1151"/>
                  <a:gd name="T99" fmla="*/ 822 h 980"/>
                  <a:gd name="T100" fmla="*/ 1007 w 1151"/>
                  <a:gd name="T101" fmla="*/ 850 h 980"/>
                  <a:gd name="T102" fmla="*/ 1049 w 1151"/>
                  <a:gd name="T103" fmla="*/ 897 h 980"/>
                  <a:gd name="T104" fmla="*/ 1079 w 1151"/>
                  <a:gd name="T105" fmla="*/ 879 h 980"/>
                  <a:gd name="T106" fmla="*/ 1016 w 1151"/>
                  <a:gd name="T107" fmla="*/ 941 h 980"/>
                  <a:gd name="T108" fmla="*/ 1022 w 1151"/>
                  <a:gd name="T109" fmla="*/ 897 h 980"/>
                  <a:gd name="T110" fmla="*/ 981 w 1151"/>
                  <a:gd name="T111" fmla="*/ 857 h 980"/>
                  <a:gd name="T112" fmla="*/ 930 w 1151"/>
                  <a:gd name="T113" fmla="*/ 911 h 980"/>
                  <a:gd name="T114" fmla="*/ 836 w 1151"/>
                  <a:gd name="T115" fmla="*/ 933 h 9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151" h="980">
                    <a:moveTo>
                      <a:pt x="836" y="933"/>
                    </a:moveTo>
                    <a:lnTo>
                      <a:pt x="836" y="949"/>
                    </a:lnTo>
                    <a:lnTo>
                      <a:pt x="803" y="956"/>
                    </a:lnTo>
                    <a:lnTo>
                      <a:pt x="796" y="971"/>
                    </a:lnTo>
                    <a:lnTo>
                      <a:pt x="775" y="980"/>
                    </a:lnTo>
                    <a:lnTo>
                      <a:pt x="796" y="949"/>
                    </a:lnTo>
                    <a:lnTo>
                      <a:pt x="783" y="949"/>
                    </a:lnTo>
                    <a:lnTo>
                      <a:pt x="803" y="941"/>
                    </a:lnTo>
                    <a:lnTo>
                      <a:pt x="803" y="904"/>
                    </a:lnTo>
                    <a:lnTo>
                      <a:pt x="816" y="926"/>
                    </a:lnTo>
                    <a:lnTo>
                      <a:pt x="825" y="911"/>
                    </a:lnTo>
                    <a:lnTo>
                      <a:pt x="810" y="897"/>
                    </a:lnTo>
                    <a:lnTo>
                      <a:pt x="768" y="879"/>
                    </a:lnTo>
                    <a:lnTo>
                      <a:pt x="761" y="874"/>
                    </a:lnTo>
                    <a:lnTo>
                      <a:pt x="753" y="850"/>
                    </a:lnTo>
                    <a:lnTo>
                      <a:pt x="746" y="850"/>
                    </a:lnTo>
                    <a:lnTo>
                      <a:pt x="731" y="828"/>
                    </a:lnTo>
                    <a:lnTo>
                      <a:pt x="718" y="822"/>
                    </a:lnTo>
                    <a:lnTo>
                      <a:pt x="687" y="850"/>
                    </a:lnTo>
                    <a:lnTo>
                      <a:pt x="667" y="850"/>
                    </a:lnTo>
                    <a:lnTo>
                      <a:pt x="646" y="828"/>
                    </a:lnTo>
                    <a:lnTo>
                      <a:pt x="634" y="828"/>
                    </a:lnTo>
                    <a:lnTo>
                      <a:pt x="624" y="813"/>
                    </a:lnTo>
                    <a:lnTo>
                      <a:pt x="619" y="822"/>
                    </a:lnTo>
                    <a:lnTo>
                      <a:pt x="240" y="822"/>
                    </a:lnTo>
                    <a:lnTo>
                      <a:pt x="178" y="775"/>
                    </a:lnTo>
                    <a:lnTo>
                      <a:pt x="170" y="746"/>
                    </a:lnTo>
                    <a:lnTo>
                      <a:pt x="135" y="709"/>
                    </a:lnTo>
                    <a:lnTo>
                      <a:pt x="141" y="699"/>
                    </a:lnTo>
                    <a:lnTo>
                      <a:pt x="141" y="655"/>
                    </a:lnTo>
                    <a:lnTo>
                      <a:pt x="119" y="632"/>
                    </a:lnTo>
                    <a:lnTo>
                      <a:pt x="93" y="580"/>
                    </a:lnTo>
                    <a:lnTo>
                      <a:pt x="86" y="580"/>
                    </a:lnTo>
                    <a:lnTo>
                      <a:pt x="78" y="549"/>
                    </a:lnTo>
                    <a:lnTo>
                      <a:pt x="64" y="565"/>
                    </a:lnTo>
                    <a:lnTo>
                      <a:pt x="47" y="573"/>
                    </a:lnTo>
                    <a:lnTo>
                      <a:pt x="27" y="543"/>
                    </a:lnTo>
                    <a:lnTo>
                      <a:pt x="27" y="534"/>
                    </a:lnTo>
                    <a:lnTo>
                      <a:pt x="0" y="543"/>
                    </a:lnTo>
                    <a:lnTo>
                      <a:pt x="0" y="210"/>
                    </a:lnTo>
                    <a:lnTo>
                      <a:pt x="21" y="210"/>
                    </a:lnTo>
                    <a:lnTo>
                      <a:pt x="71" y="247"/>
                    </a:lnTo>
                    <a:lnTo>
                      <a:pt x="71" y="223"/>
                    </a:lnTo>
                    <a:lnTo>
                      <a:pt x="78" y="217"/>
                    </a:lnTo>
                    <a:lnTo>
                      <a:pt x="93" y="210"/>
                    </a:lnTo>
                    <a:lnTo>
                      <a:pt x="106" y="217"/>
                    </a:lnTo>
                    <a:lnTo>
                      <a:pt x="156" y="180"/>
                    </a:lnTo>
                    <a:lnTo>
                      <a:pt x="156" y="201"/>
                    </a:lnTo>
                    <a:lnTo>
                      <a:pt x="170" y="201"/>
                    </a:lnTo>
                    <a:lnTo>
                      <a:pt x="178" y="171"/>
                    </a:lnTo>
                    <a:lnTo>
                      <a:pt x="200" y="188"/>
                    </a:lnTo>
                    <a:lnTo>
                      <a:pt x="200" y="210"/>
                    </a:lnTo>
                    <a:lnTo>
                      <a:pt x="215" y="217"/>
                    </a:lnTo>
                    <a:lnTo>
                      <a:pt x="222" y="201"/>
                    </a:lnTo>
                    <a:lnTo>
                      <a:pt x="222" y="217"/>
                    </a:lnTo>
                    <a:lnTo>
                      <a:pt x="240" y="217"/>
                    </a:lnTo>
                    <a:lnTo>
                      <a:pt x="240" y="201"/>
                    </a:lnTo>
                    <a:lnTo>
                      <a:pt x="262" y="201"/>
                    </a:lnTo>
                    <a:lnTo>
                      <a:pt x="300" y="223"/>
                    </a:lnTo>
                    <a:lnTo>
                      <a:pt x="312" y="238"/>
                    </a:lnTo>
                    <a:lnTo>
                      <a:pt x="334" y="238"/>
                    </a:lnTo>
                    <a:lnTo>
                      <a:pt x="354" y="247"/>
                    </a:lnTo>
                    <a:lnTo>
                      <a:pt x="354" y="264"/>
                    </a:lnTo>
                    <a:lnTo>
                      <a:pt x="349" y="270"/>
                    </a:lnTo>
                    <a:lnTo>
                      <a:pt x="349" y="284"/>
                    </a:lnTo>
                    <a:lnTo>
                      <a:pt x="377" y="292"/>
                    </a:lnTo>
                    <a:lnTo>
                      <a:pt x="419" y="270"/>
                    </a:lnTo>
                    <a:lnTo>
                      <a:pt x="448" y="292"/>
                    </a:lnTo>
                    <a:lnTo>
                      <a:pt x="448" y="270"/>
                    </a:lnTo>
                    <a:lnTo>
                      <a:pt x="433" y="264"/>
                    </a:lnTo>
                    <a:lnTo>
                      <a:pt x="475" y="238"/>
                    </a:lnTo>
                    <a:lnTo>
                      <a:pt x="491" y="264"/>
                    </a:lnTo>
                    <a:lnTo>
                      <a:pt x="555" y="292"/>
                    </a:lnTo>
                    <a:lnTo>
                      <a:pt x="577" y="292"/>
                    </a:lnTo>
                    <a:lnTo>
                      <a:pt x="577" y="264"/>
                    </a:lnTo>
                    <a:lnTo>
                      <a:pt x="584" y="254"/>
                    </a:lnTo>
                    <a:lnTo>
                      <a:pt x="555" y="238"/>
                    </a:lnTo>
                    <a:lnTo>
                      <a:pt x="577" y="223"/>
                    </a:lnTo>
                    <a:lnTo>
                      <a:pt x="584" y="201"/>
                    </a:lnTo>
                    <a:lnTo>
                      <a:pt x="597" y="223"/>
                    </a:lnTo>
                    <a:lnTo>
                      <a:pt x="619" y="247"/>
                    </a:lnTo>
                    <a:lnTo>
                      <a:pt x="597" y="264"/>
                    </a:lnTo>
                    <a:lnTo>
                      <a:pt x="597" y="284"/>
                    </a:lnTo>
                    <a:lnTo>
                      <a:pt x="604" y="292"/>
                    </a:lnTo>
                    <a:lnTo>
                      <a:pt x="634" y="254"/>
                    </a:lnTo>
                    <a:lnTo>
                      <a:pt x="624" y="238"/>
                    </a:lnTo>
                    <a:lnTo>
                      <a:pt x="634" y="217"/>
                    </a:lnTo>
                    <a:lnTo>
                      <a:pt x="597" y="180"/>
                    </a:lnTo>
                    <a:lnTo>
                      <a:pt x="604" y="126"/>
                    </a:lnTo>
                    <a:lnTo>
                      <a:pt x="624" y="117"/>
                    </a:lnTo>
                    <a:lnTo>
                      <a:pt x="619" y="6"/>
                    </a:lnTo>
                    <a:lnTo>
                      <a:pt x="646" y="0"/>
                    </a:lnTo>
                    <a:lnTo>
                      <a:pt x="676" y="6"/>
                    </a:lnTo>
                    <a:lnTo>
                      <a:pt x="681" y="15"/>
                    </a:lnTo>
                    <a:lnTo>
                      <a:pt x="661" y="67"/>
                    </a:lnTo>
                    <a:lnTo>
                      <a:pt x="646" y="67"/>
                    </a:lnTo>
                    <a:lnTo>
                      <a:pt x="634" y="82"/>
                    </a:lnTo>
                    <a:lnTo>
                      <a:pt x="639" y="99"/>
                    </a:lnTo>
                    <a:lnTo>
                      <a:pt x="634" y="114"/>
                    </a:lnTo>
                    <a:lnTo>
                      <a:pt x="667" y="188"/>
                    </a:lnTo>
                    <a:lnTo>
                      <a:pt x="661" y="210"/>
                    </a:lnTo>
                    <a:lnTo>
                      <a:pt x="667" y="217"/>
                    </a:lnTo>
                    <a:lnTo>
                      <a:pt x="687" y="254"/>
                    </a:lnTo>
                    <a:lnTo>
                      <a:pt x="702" y="223"/>
                    </a:lnTo>
                    <a:lnTo>
                      <a:pt x="718" y="247"/>
                    </a:lnTo>
                    <a:lnTo>
                      <a:pt x="709" y="284"/>
                    </a:lnTo>
                    <a:lnTo>
                      <a:pt x="726" y="299"/>
                    </a:lnTo>
                    <a:lnTo>
                      <a:pt x="731" y="299"/>
                    </a:lnTo>
                    <a:lnTo>
                      <a:pt x="731" y="284"/>
                    </a:lnTo>
                    <a:lnTo>
                      <a:pt x="753" y="270"/>
                    </a:lnTo>
                    <a:lnTo>
                      <a:pt x="753" y="201"/>
                    </a:lnTo>
                    <a:lnTo>
                      <a:pt x="768" y="201"/>
                    </a:lnTo>
                    <a:lnTo>
                      <a:pt x="783" y="210"/>
                    </a:lnTo>
                    <a:lnTo>
                      <a:pt x="783" y="223"/>
                    </a:lnTo>
                    <a:lnTo>
                      <a:pt x="803" y="223"/>
                    </a:lnTo>
                    <a:lnTo>
                      <a:pt x="803" y="254"/>
                    </a:lnTo>
                    <a:lnTo>
                      <a:pt x="783" y="264"/>
                    </a:lnTo>
                    <a:lnTo>
                      <a:pt x="783" y="284"/>
                    </a:lnTo>
                    <a:lnTo>
                      <a:pt x="803" y="292"/>
                    </a:lnTo>
                    <a:lnTo>
                      <a:pt x="803" y="307"/>
                    </a:lnTo>
                    <a:lnTo>
                      <a:pt x="768" y="344"/>
                    </a:lnTo>
                    <a:lnTo>
                      <a:pt x="753" y="338"/>
                    </a:lnTo>
                    <a:lnTo>
                      <a:pt x="753" y="331"/>
                    </a:lnTo>
                    <a:lnTo>
                      <a:pt x="731" y="331"/>
                    </a:lnTo>
                    <a:lnTo>
                      <a:pt x="746" y="344"/>
                    </a:lnTo>
                    <a:lnTo>
                      <a:pt x="726" y="366"/>
                    </a:lnTo>
                    <a:lnTo>
                      <a:pt x="726" y="383"/>
                    </a:lnTo>
                    <a:lnTo>
                      <a:pt x="709" y="422"/>
                    </a:lnTo>
                    <a:lnTo>
                      <a:pt x="687" y="422"/>
                    </a:lnTo>
                    <a:lnTo>
                      <a:pt x="676" y="442"/>
                    </a:lnTo>
                    <a:lnTo>
                      <a:pt x="681" y="457"/>
                    </a:lnTo>
                    <a:lnTo>
                      <a:pt x="661" y="465"/>
                    </a:lnTo>
                    <a:lnTo>
                      <a:pt x="661" y="487"/>
                    </a:lnTo>
                    <a:lnTo>
                      <a:pt x="646" y="487"/>
                    </a:lnTo>
                    <a:lnTo>
                      <a:pt x="624" y="543"/>
                    </a:lnTo>
                    <a:lnTo>
                      <a:pt x="624" y="573"/>
                    </a:lnTo>
                    <a:lnTo>
                      <a:pt x="634" y="580"/>
                    </a:lnTo>
                    <a:lnTo>
                      <a:pt x="646" y="580"/>
                    </a:lnTo>
                    <a:lnTo>
                      <a:pt x="661" y="632"/>
                    </a:lnTo>
                    <a:lnTo>
                      <a:pt x="676" y="625"/>
                    </a:lnTo>
                    <a:lnTo>
                      <a:pt x="702" y="632"/>
                    </a:lnTo>
                    <a:lnTo>
                      <a:pt x="718" y="655"/>
                    </a:lnTo>
                    <a:lnTo>
                      <a:pt x="753" y="670"/>
                    </a:lnTo>
                    <a:lnTo>
                      <a:pt x="783" y="670"/>
                    </a:lnTo>
                    <a:lnTo>
                      <a:pt x="796" y="686"/>
                    </a:lnTo>
                    <a:lnTo>
                      <a:pt x="796" y="739"/>
                    </a:lnTo>
                    <a:lnTo>
                      <a:pt x="825" y="775"/>
                    </a:lnTo>
                    <a:lnTo>
                      <a:pt x="847" y="753"/>
                    </a:lnTo>
                    <a:lnTo>
                      <a:pt x="825" y="692"/>
                    </a:lnTo>
                    <a:lnTo>
                      <a:pt x="847" y="686"/>
                    </a:lnTo>
                    <a:lnTo>
                      <a:pt x="858" y="655"/>
                    </a:lnTo>
                    <a:lnTo>
                      <a:pt x="853" y="600"/>
                    </a:lnTo>
                    <a:lnTo>
                      <a:pt x="836" y="580"/>
                    </a:lnTo>
                    <a:lnTo>
                      <a:pt x="847" y="573"/>
                    </a:lnTo>
                    <a:lnTo>
                      <a:pt x="853" y="573"/>
                    </a:lnTo>
                    <a:lnTo>
                      <a:pt x="853" y="534"/>
                    </a:lnTo>
                    <a:lnTo>
                      <a:pt x="847" y="524"/>
                    </a:lnTo>
                    <a:lnTo>
                      <a:pt x="853" y="497"/>
                    </a:lnTo>
                    <a:lnTo>
                      <a:pt x="847" y="487"/>
                    </a:lnTo>
                    <a:lnTo>
                      <a:pt x="847" y="480"/>
                    </a:lnTo>
                    <a:lnTo>
                      <a:pt x="853" y="465"/>
                    </a:lnTo>
                    <a:lnTo>
                      <a:pt x="880" y="480"/>
                    </a:lnTo>
                    <a:lnTo>
                      <a:pt x="900" y="465"/>
                    </a:lnTo>
                    <a:lnTo>
                      <a:pt x="937" y="497"/>
                    </a:lnTo>
                    <a:lnTo>
                      <a:pt x="930" y="504"/>
                    </a:lnTo>
                    <a:lnTo>
                      <a:pt x="937" y="512"/>
                    </a:lnTo>
                    <a:lnTo>
                      <a:pt x="966" y="512"/>
                    </a:lnTo>
                    <a:lnTo>
                      <a:pt x="966" y="573"/>
                    </a:lnTo>
                    <a:lnTo>
                      <a:pt x="986" y="600"/>
                    </a:lnTo>
                    <a:lnTo>
                      <a:pt x="1022" y="565"/>
                    </a:lnTo>
                    <a:lnTo>
                      <a:pt x="1016" y="549"/>
                    </a:lnTo>
                    <a:lnTo>
                      <a:pt x="1022" y="534"/>
                    </a:lnTo>
                    <a:lnTo>
                      <a:pt x="1073" y="625"/>
                    </a:lnTo>
                    <a:lnTo>
                      <a:pt x="1064" y="632"/>
                    </a:lnTo>
                    <a:lnTo>
                      <a:pt x="1064" y="655"/>
                    </a:lnTo>
                    <a:lnTo>
                      <a:pt x="1079" y="664"/>
                    </a:lnTo>
                    <a:lnTo>
                      <a:pt x="1079" y="670"/>
                    </a:lnTo>
                    <a:lnTo>
                      <a:pt x="1101" y="686"/>
                    </a:lnTo>
                    <a:lnTo>
                      <a:pt x="1108" y="686"/>
                    </a:lnTo>
                    <a:lnTo>
                      <a:pt x="1123" y="692"/>
                    </a:lnTo>
                    <a:lnTo>
                      <a:pt x="1108" y="699"/>
                    </a:lnTo>
                    <a:lnTo>
                      <a:pt x="1123" y="699"/>
                    </a:lnTo>
                    <a:lnTo>
                      <a:pt x="1123" y="723"/>
                    </a:lnTo>
                    <a:lnTo>
                      <a:pt x="1136" y="723"/>
                    </a:lnTo>
                    <a:lnTo>
                      <a:pt x="1145" y="731"/>
                    </a:lnTo>
                    <a:lnTo>
                      <a:pt x="1145" y="739"/>
                    </a:lnTo>
                    <a:lnTo>
                      <a:pt x="1151" y="753"/>
                    </a:lnTo>
                    <a:lnTo>
                      <a:pt x="1136" y="766"/>
                    </a:lnTo>
                    <a:lnTo>
                      <a:pt x="1108" y="775"/>
                    </a:lnTo>
                    <a:lnTo>
                      <a:pt x="1095" y="805"/>
                    </a:lnTo>
                    <a:lnTo>
                      <a:pt x="1064" y="805"/>
                    </a:lnTo>
                    <a:lnTo>
                      <a:pt x="1036" y="790"/>
                    </a:lnTo>
                    <a:lnTo>
                      <a:pt x="996" y="805"/>
                    </a:lnTo>
                    <a:lnTo>
                      <a:pt x="986" y="822"/>
                    </a:lnTo>
                    <a:lnTo>
                      <a:pt x="981" y="822"/>
                    </a:lnTo>
                    <a:lnTo>
                      <a:pt x="966" y="828"/>
                    </a:lnTo>
                    <a:lnTo>
                      <a:pt x="937" y="865"/>
                    </a:lnTo>
                    <a:lnTo>
                      <a:pt x="944" y="865"/>
                    </a:lnTo>
                    <a:lnTo>
                      <a:pt x="974" y="835"/>
                    </a:lnTo>
                    <a:lnTo>
                      <a:pt x="996" y="822"/>
                    </a:lnTo>
                    <a:lnTo>
                      <a:pt x="1031" y="822"/>
                    </a:lnTo>
                    <a:lnTo>
                      <a:pt x="1031" y="835"/>
                    </a:lnTo>
                    <a:lnTo>
                      <a:pt x="1016" y="850"/>
                    </a:lnTo>
                    <a:lnTo>
                      <a:pt x="1007" y="850"/>
                    </a:lnTo>
                    <a:lnTo>
                      <a:pt x="1016" y="857"/>
                    </a:lnTo>
                    <a:lnTo>
                      <a:pt x="1022" y="850"/>
                    </a:lnTo>
                    <a:lnTo>
                      <a:pt x="1022" y="874"/>
                    </a:lnTo>
                    <a:lnTo>
                      <a:pt x="1049" y="897"/>
                    </a:lnTo>
                    <a:lnTo>
                      <a:pt x="1064" y="897"/>
                    </a:lnTo>
                    <a:lnTo>
                      <a:pt x="1064" y="879"/>
                    </a:lnTo>
                    <a:lnTo>
                      <a:pt x="1079" y="865"/>
                    </a:lnTo>
                    <a:lnTo>
                      <a:pt x="1079" y="879"/>
                    </a:lnTo>
                    <a:lnTo>
                      <a:pt x="1095" y="879"/>
                    </a:lnTo>
                    <a:lnTo>
                      <a:pt x="1073" y="904"/>
                    </a:lnTo>
                    <a:lnTo>
                      <a:pt x="1031" y="926"/>
                    </a:lnTo>
                    <a:lnTo>
                      <a:pt x="1016" y="941"/>
                    </a:lnTo>
                    <a:lnTo>
                      <a:pt x="1007" y="926"/>
                    </a:lnTo>
                    <a:lnTo>
                      <a:pt x="1031" y="904"/>
                    </a:lnTo>
                    <a:lnTo>
                      <a:pt x="1022" y="904"/>
                    </a:lnTo>
                    <a:lnTo>
                      <a:pt x="1022" y="897"/>
                    </a:lnTo>
                    <a:lnTo>
                      <a:pt x="1007" y="904"/>
                    </a:lnTo>
                    <a:lnTo>
                      <a:pt x="996" y="904"/>
                    </a:lnTo>
                    <a:lnTo>
                      <a:pt x="986" y="897"/>
                    </a:lnTo>
                    <a:lnTo>
                      <a:pt x="981" y="857"/>
                    </a:lnTo>
                    <a:lnTo>
                      <a:pt x="974" y="865"/>
                    </a:lnTo>
                    <a:lnTo>
                      <a:pt x="966" y="857"/>
                    </a:lnTo>
                    <a:lnTo>
                      <a:pt x="944" y="904"/>
                    </a:lnTo>
                    <a:lnTo>
                      <a:pt x="930" y="911"/>
                    </a:lnTo>
                    <a:lnTo>
                      <a:pt x="887" y="911"/>
                    </a:lnTo>
                    <a:lnTo>
                      <a:pt x="858" y="933"/>
                    </a:lnTo>
                    <a:lnTo>
                      <a:pt x="836" y="933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75" name="Freeform 141"/>
              <p:cNvSpPr>
                <a:spLocks/>
              </p:cNvSpPr>
              <p:nvPr/>
            </p:nvSpPr>
            <p:spPr bwMode="auto">
              <a:xfrm>
                <a:off x="2922588" y="3481388"/>
                <a:ext cx="150812" cy="187325"/>
              </a:xfrm>
              <a:custGeom>
                <a:avLst/>
                <a:gdLst>
                  <a:gd name="T0" fmla="*/ 0 w 86"/>
                  <a:gd name="T1" fmla="*/ 85 h 107"/>
                  <a:gd name="T2" fmla="*/ 0 w 86"/>
                  <a:gd name="T3" fmla="*/ 92 h 107"/>
                  <a:gd name="T4" fmla="*/ 49 w 86"/>
                  <a:gd name="T5" fmla="*/ 92 h 107"/>
                  <a:gd name="T6" fmla="*/ 49 w 86"/>
                  <a:gd name="T7" fmla="*/ 99 h 107"/>
                  <a:gd name="T8" fmla="*/ 57 w 86"/>
                  <a:gd name="T9" fmla="*/ 92 h 107"/>
                  <a:gd name="T10" fmla="*/ 79 w 86"/>
                  <a:gd name="T11" fmla="*/ 99 h 107"/>
                  <a:gd name="T12" fmla="*/ 79 w 86"/>
                  <a:gd name="T13" fmla="*/ 107 h 107"/>
                  <a:gd name="T14" fmla="*/ 86 w 86"/>
                  <a:gd name="T15" fmla="*/ 107 h 107"/>
                  <a:gd name="T16" fmla="*/ 86 w 86"/>
                  <a:gd name="T17" fmla="*/ 92 h 107"/>
                  <a:gd name="T18" fmla="*/ 66 w 86"/>
                  <a:gd name="T19" fmla="*/ 85 h 107"/>
                  <a:gd name="T20" fmla="*/ 79 w 86"/>
                  <a:gd name="T21" fmla="*/ 70 h 107"/>
                  <a:gd name="T22" fmla="*/ 66 w 86"/>
                  <a:gd name="T23" fmla="*/ 63 h 107"/>
                  <a:gd name="T24" fmla="*/ 79 w 86"/>
                  <a:gd name="T25" fmla="*/ 55 h 107"/>
                  <a:gd name="T26" fmla="*/ 49 w 86"/>
                  <a:gd name="T27" fmla="*/ 55 h 107"/>
                  <a:gd name="T28" fmla="*/ 45 w 86"/>
                  <a:gd name="T29" fmla="*/ 47 h 107"/>
                  <a:gd name="T30" fmla="*/ 49 w 86"/>
                  <a:gd name="T31" fmla="*/ 38 h 107"/>
                  <a:gd name="T32" fmla="*/ 45 w 86"/>
                  <a:gd name="T33" fmla="*/ 38 h 107"/>
                  <a:gd name="T34" fmla="*/ 49 w 86"/>
                  <a:gd name="T35" fmla="*/ 0 h 107"/>
                  <a:gd name="T36" fmla="*/ 34 w 86"/>
                  <a:gd name="T37" fmla="*/ 10 h 107"/>
                  <a:gd name="T38" fmla="*/ 7 w 86"/>
                  <a:gd name="T39" fmla="*/ 63 h 107"/>
                  <a:gd name="T40" fmla="*/ 7 w 86"/>
                  <a:gd name="T41" fmla="*/ 70 h 107"/>
                  <a:gd name="T42" fmla="*/ 0 w 86"/>
                  <a:gd name="T43" fmla="*/ 85 h 107"/>
                  <a:gd name="T44" fmla="*/ 0 w 86"/>
                  <a:gd name="T45" fmla="*/ 85 h 107"/>
                  <a:gd name="T46" fmla="*/ 0 w 86"/>
                  <a:gd name="T47" fmla="*/ 85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86" h="107">
                    <a:moveTo>
                      <a:pt x="0" y="85"/>
                    </a:moveTo>
                    <a:lnTo>
                      <a:pt x="0" y="92"/>
                    </a:lnTo>
                    <a:lnTo>
                      <a:pt x="49" y="92"/>
                    </a:lnTo>
                    <a:lnTo>
                      <a:pt x="49" y="99"/>
                    </a:lnTo>
                    <a:lnTo>
                      <a:pt x="57" y="92"/>
                    </a:lnTo>
                    <a:lnTo>
                      <a:pt x="79" y="99"/>
                    </a:lnTo>
                    <a:lnTo>
                      <a:pt x="79" y="107"/>
                    </a:lnTo>
                    <a:lnTo>
                      <a:pt x="86" y="107"/>
                    </a:lnTo>
                    <a:lnTo>
                      <a:pt x="86" y="92"/>
                    </a:lnTo>
                    <a:lnTo>
                      <a:pt x="66" y="85"/>
                    </a:lnTo>
                    <a:lnTo>
                      <a:pt x="79" y="70"/>
                    </a:lnTo>
                    <a:lnTo>
                      <a:pt x="66" y="63"/>
                    </a:lnTo>
                    <a:lnTo>
                      <a:pt x="79" y="55"/>
                    </a:lnTo>
                    <a:lnTo>
                      <a:pt x="49" y="55"/>
                    </a:lnTo>
                    <a:lnTo>
                      <a:pt x="45" y="47"/>
                    </a:lnTo>
                    <a:lnTo>
                      <a:pt x="49" y="38"/>
                    </a:lnTo>
                    <a:lnTo>
                      <a:pt x="45" y="38"/>
                    </a:lnTo>
                    <a:lnTo>
                      <a:pt x="49" y="0"/>
                    </a:lnTo>
                    <a:lnTo>
                      <a:pt x="34" y="10"/>
                    </a:lnTo>
                    <a:lnTo>
                      <a:pt x="7" y="63"/>
                    </a:lnTo>
                    <a:lnTo>
                      <a:pt x="7" y="70"/>
                    </a:lnTo>
                    <a:lnTo>
                      <a:pt x="0" y="85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76" name="Freeform 142"/>
              <p:cNvSpPr>
                <a:spLocks/>
              </p:cNvSpPr>
              <p:nvPr/>
            </p:nvSpPr>
            <p:spPr bwMode="auto">
              <a:xfrm>
                <a:off x="1562100" y="4138613"/>
                <a:ext cx="698500" cy="500062"/>
              </a:xfrm>
              <a:custGeom>
                <a:avLst/>
                <a:gdLst>
                  <a:gd name="T0" fmla="*/ 258 w 398"/>
                  <a:gd name="T1" fmla="*/ 131 h 286"/>
                  <a:gd name="T2" fmla="*/ 264 w 398"/>
                  <a:gd name="T3" fmla="*/ 177 h 286"/>
                  <a:gd name="T4" fmla="*/ 279 w 398"/>
                  <a:gd name="T5" fmla="*/ 229 h 286"/>
                  <a:gd name="T6" fmla="*/ 350 w 398"/>
                  <a:gd name="T7" fmla="*/ 229 h 286"/>
                  <a:gd name="T8" fmla="*/ 350 w 398"/>
                  <a:gd name="T9" fmla="*/ 214 h 286"/>
                  <a:gd name="T10" fmla="*/ 392 w 398"/>
                  <a:gd name="T11" fmla="*/ 177 h 286"/>
                  <a:gd name="T12" fmla="*/ 392 w 398"/>
                  <a:gd name="T13" fmla="*/ 234 h 286"/>
                  <a:gd name="T14" fmla="*/ 376 w 398"/>
                  <a:gd name="T15" fmla="*/ 234 h 286"/>
                  <a:gd name="T16" fmla="*/ 341 w 398"/>
                  <a:gd name="T17" fmla="*/ 244 h 286"/>
                  <a:gd name="T18" fmla="*/ 341 w 398"/>
                  <a:gd name="T19" fmla="*/ 259 h 286"/>
                  <a:gd name="T20" fmla="*/ 308 w 398"/>
                  <a:gd name="T21" fmla="*/ 259 h 286"/>
                  <a:gd name="T22" fmla="*/ 279 w 398"/>
                  <a:gd name="T23" fmla="*/ 272 h 286"/>
                  <a:gd name="T24" fmla="*/ 214 w 398"/>
                  <a:gd name="T25" fmla="*/ 244 h 286"/>
                  <a:gd name="T26" fmla="*/ 179 w 398"/>
                  <a:gd name="T27" fmla="*/ 234 h 286"/>
                  <a:gd name="T28" fmla="*/ 149 w 398"/>
                  <a:gd name="T29" fmla="*/ 198 h 286"/>
                  <a:gd name="T30" fmla="*/ 149 w 398"/>
                  <a:gd name="T31" fmla="*/ 168 h 286"/>
                  <a:gd name="T32" fmla="*/ 100 w 398"/>
                  <a:gd name="T33" fmla="*/ 114 h 286"/>
                  <a:gd name="T34" fmla="*/ 85 w 398"/>
                  <a:gd name="T35" fmla="*/ 86 h 286"/>
                  <a:gd name="T36" fmla="*/ 72 w 398"/>
                  <a:gd name="T37" fmla="*/ 76 h 286"/>
                  <a:gd name="T38" fmla="*/ 45 w 398"/>
                  <a:gd name="T39" fmla="*/ 24 h 286"/>
                  <a:gd name="T40" fmla="*/ 28 w 398"/>
                  <a:gd name="T41" fmla="*/ 39 h 286"/>
                  <a:gd name="T42" fmla="*/ 93 w 398"/>
                  <a:gd name="T43" fmla="*/ 138 h 286"/>
                  <a:gd name="T44" fmla="*/ 93 w 398"/>
                  <a:gd name="T45" fmla="*/ 161 h 286"/>
                  <a:gd name="T46" fmla="*/ 65 w 398"/>
                  <a:gd name="T47" fmla="*/ 121 h 286"/>
                  <a:gd name="T48" fmla="*/ 28 w 398"/>
                  <a:gd name="T49" fmla="*/ 93 h 286"/>
                  <a:gd name="T50" fmla="*/ 28 w 398"/>
                  <a:gd name="T51" fmla="*/ 86 h 286"/>
                  <a:gd name="T52" fmla="*/ 16 w 398"/>
                  <a:gd name="T53" fmla="*/ 45 h 286"/>
                  <a:gd name="T54" fmla="*/ 23 w 398"/>
                  <a:gd name="T55" fmla="*/ 0 h 286"/>
                  <a:gd name="T56" fmla="*/ 142 w 398"/>
                  <a:gd name="T57" fmla="*/ 10 h 286"/>
                  <a:gd name="T58" fmla="*/ 165 w 398"/>
                  <a:gd name="T59" fmla="*/ 45 h 286"/>
                  <a:gd name="T60" fmla="*/ 187 w 398"/>
                  <a:gd name="T61" fmla="*/ 56 h 286"/>
                  <a:gd name="T62" fmla="*/ 207 w 398"/>
                  <a:gd name="T63" fmla="*/ 45 h 286"/>
                  <a:gd name="T64" fmla="*/ 264 w 398"/>
                  <a:gd name="T65" fmla="*/ 114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98" h="286">
                    <a:moveTo>
                      <a:pt x="264" y="114"/>
                    </a:moveTo>
                    <a:lnTo>
                      <a:pt x="258" y="131"/>
                    </a:lnTo>
                    <a:lnTo>
                      <a:pt x="258" y="168"/>
                    </a:lnTo>
                    <a:lnTo>
                      <a:pt x="264" y="177"/>
                    </a:lnTo>
                    <a:lnTo>
                      <a:pt x="264" y="183"/>
                    </a:lnTo>
                    <a:lnTo>
                      <a:pt x="279" y="229"/>
                    </a:lnTo>
                    <a:lnTo>
                      <a:pt x="308" y="234"/>
                    </a:lnTo>
                    <a:lnTo>
                      <a:pt x="350" y="229"/>
                    </a:lnTo>
                    <a:lnTo>
                      <a:pt x="341" y="229"/>
                    </a:lnTo>
                    <a:lnTo>
                      <a:pt x="350" y="214"/>
                    </a:lnTo>
                    <a:lnTo>
                      <a:pt x="355" y="183"/>
                    </a:lnTo>
                    <a:lnTo>
                      <a:pt x="392" y="177"/>
                    </a:lnTo>
                    <a:lnTo>
                      <a:pt x="398" y="183"/>
                    </a:lnTo>
                    <a:lnTo>
                      <a:pt x="392" y="234"/>
                    </a:lnTo>
                    <a:lnTo>
                      <a:pt x="383" y="229"/>
                    </a:lnTo>
                    <a:lnTo>
                      <a:pt x="376" y="234"/>
                    </a:lnTo>
                    <a:lnTo>
                      <a:pt x="350" y="234"/>
                    </a:lnTo>
                    <a:lnTo>
                      <a:pt x="341" y="244"/>
                    </a:lnTo>
                    <a:lnTo>
                      <a:pt x="355" y="259"/>
                    </a:lnTo>
                    <a:lnTo>
                      <a:pt x="341" y="259"/>
                    </a:lnTo>
                    <a:lnTo>
                      <a:pt x="335" y="286"/>
                    </a:lnTo>
                    <a:lnTo>
                      <a:pt x="308" y="259"/>
                    </a:lnTo>
                    <a:lnTo>
                      <a:pt x="293" y="259"/>
                    </a:lnTo>
                    <a:lnTo>
                      <a:pt x="279" y="272"/>
                    </a:lnTo>
                    <a:lnTo>
                      <a:pt x="258" y="259"/>
                    </a:lnTo>
                    <a:lnTo>
                      <a:pt x="214" y="244"/>
                    </a:lnTo>
                    <a:lnTo>
                      <a:pt x="207" y="234"/>
                    </a:lnTo>
                    <a:lnTo>
                      <a:pt x="179" y="234"/>
                    </a:lnTo>
                    <a:lnTo>
                      <a:pt x="165" y="214"/>
                    </a:lnTo>
                    <a:lnTo>
                      <a:pt x="149" y="198"/>
                    </a:lnTo>
                    <a:lnTo>
                      <a:pt x="165" y="183"/>
                    </a:lnTo>
                    <a:lnTo>
                      <a:pt x="149" y="168"/>
                    </a:lnTo>
                    <a:lnTo>
                      <a:pt x="122" y="121"/>
                    </a:lnTo>
                    <a:lnTo>
                      <a:pt x="100" y="114"/>
                    </a:lnTo>
                    <a:lnTo>
                      <a:pt x="100" y="108"/>
                    </a:lnTo>
                    <a:lnTo>
                      <a:pt x="85" y="86"/>
                    </a:lnTo>
                    <a:lnTo>
                      <a:pt x="85" y="76"/>
                    </a:lnTo>
                    <a:lnTo>
                      <a:pt x="72" y="76"/>
                    </a:lnTo>
                    <a:lnTo>
                      <a:pt x="50" y="24"/>
                    </a:lnTo>
                    <a:lnTo>
                      <a:pt x="45" y="24"/>
                    </a:lnTo>
                    <a:lnTo>
                      <a:pt x="23" y="10"/>
                    </a:lnTo>
                    <a:lnTo>
                      <a:pt x="28" y="39"/>
                    </a:lnTo>
                    <a:lnTo>
                      <a:pt x="85" y="138"/>
                    </a:lnTo>
                    <a:lnTo>
                      <a:pt x="93" y="138"/>
                    </a:lnTo>
                    <a:lnTo>
                      <a:pt x="100" y="155"/>
                    </a:lnTo>
                    <a:lnTo>
                      <a:pt x="93" y="161"/>
                    </a:lnTo>
                    <a:lnTo>
                      <a:pt x="56" y="131"/>
                    </a:lnTo>
                    <a:lnTo>
                      <a:pt x="65" y="121"/>
                    </a:lnTo>
                    <a:lnTo>
                      <a:pt x="56" y="108"/>
                    </a:lnTo>
                    <a:lnTo>
                      <a:pt x="28" y="93"/>
                    </a:lnTo>
                    <a:lnTo>
                      <a:pt x="23" y="76"/>
                    </a:lnTo>
                    <a:lnTo>
                      <a:pt x="28" y="86"/>
                    </a:lnTo>
                    <a:lnTo>
                      <a:pt x="45" y="61"/>
                    </a:lnTo>
                    <a:lnTo>
                      <a:pt x="16" y="45"/>
                    </a:lnTo>
                    <a:lnTo>
                      <a:pt x="0" y="0"/>
                    </a:lnTo>
                    <a:lnTo>
                      <a:pt x="23" y="0"/>
                    </a:lnTo>
                    <a:lnTo>
                      <a:pt x="72" y="24"/>
                    </a:lnTo>
                    <a:lnTo>
                      <a:pt x="142" y="10"/>
                    </a:lnTo>
                    <a:lnTo>
                      <a:pt x="165" y="32"/>
                    </a:lnTo>
                    <a:lnTo>
                      <a:pt x="165" y="45"/>
                    </a:lnTo>
                    <a:lnTo>
                      <a:pt x="179" y="56"/>
                    </a:lnTo>
                    <a:lnTo>
                      <a:pt x="187" y="56"/>
                    </a:lnTo>
                    <a:lnTo>
                      <a:pt x="192" y="45"/>
                    </a:lnTo>
                    <a:lnTo>
                      <a:pt x="207" y="45"/>
                    </a:lnTo>
                    <a:lnTo>
                      <a:pt x="234" y="108"/>
                    </a:lnTo>
                    <a:lnTo>
                      <a:pt x="264" y="114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77" name="Freeform 143"/>
              <p:cNvSpPr>
                <a:spLocks/>
              </p:cNvSpPr>
              <p:nvPr/>
            </p:nvSpPr>
            <p:spPr bwMode="auto">
              <a:xfrm>
                <a:off x="2263775" y="2749550"/>
                <a:ext cx="158750" cy="188913"/>
              </a:xfrm>
              <a:custGeom>
                <a:avLst/>
                <a:gdLst>
                  <a:gd name="T0" fmla="*/ 0 w 90"/>
                  <a:gd name="T1" fmla="*/ 86 h 108"/>
                  <a:gd name="T2" fmla="*/ 20 w 90"/>
                  <a:gd name="T3" fmla="*/ 86 h 108"/>
                  <a:gd name="T4" fmla="*/ 20 w 90"/>
                  <a:gd name="T5" fmla="*/ 108 h 108"/>
                  <a:gd name="T6" fmla="*/ 35 w 90"/>
                  <a:gd name="T7" fmla="*/ 108 h 108"/>
                  <a:gd name="T8" fmla="*/ 47 w 90"/>
                  <a:gd name="T9" fmla="*/ 79 h 108"/>
                  <a:gd name="T10" fmla="*/ 57 w 90"/>
                  <a:gd name="T11" fmla="*/ 79 h 108"/>
                  <a:gd name="T12" fmla="*/ 77 w 90"/>
                  <a:gd name="T13" fmla="*/ 99 h 108"/>
                  <a:gd name="T14" fmla="*/ 90 w 90"/>
                  <a:gd name="T15" fmla="*/ 79 h 108"/>
                  <a:gd name="T16" fmla="*/ 77 w 90"/>
                  <a:gd name="T17" fmla="*/ 79 h 108"/>
                  <a:gd name="T18" fmla="*/ 35 w 90"/>
                  <a:gd name="T19" fmla="*/ 22 h 108"/>
                  <a:gd name="T20" fmla="*/ 25 w 90"/>
                  <a:gd name="T21" fmla="*/ 0 h 108"/>
                  <a:gd name="T22" fmla="*/ 20 w 90"/>
                  <a:gd name="T23" fmla="*/ 22 h 108"/>
                  <a:gd name="T24" fmla="*/ 5 w 90"/>
                  <a:gd name="T25" fmla="*/ 32 h 108"/>
                  <a:gd name="T26" fmla="*/ 20 w 90"/>
                  <a:gd name="T27" fmla="*/ 79 h 108"/>
                  <a:gd name="T28" fmla="*/ 0 w 90"/>
                  <a:gd name="T29" fmla="*/ 86 h 108"/>
                  <a:gd name="T30" fmla="*/ 0 w 90"/>
                  <a:gd name="T31" fmla="*/ 86 h 108"/>
                  <a:gd name="T32" fmla="*/ 0 w 90"/>
                  <a:gd name="T33" fmla="*/ 86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0" h="108">
                    <a:moveTo>
                      <a:pt x="0" y="86"/>
                    </a:moveTo>
                    <a:lnTo>
                      <a:pt x="20" y="86"/>
                    </a:lnTo>
                    <a:lnTo>
                      <a:pt x="20" y="108"/>
                    </a:lnTo>
                    <a:lnTo>
                      <a:pt x="35" y="108"/>
                    </a:lnTo>
                    <a:lnTo>
                      <a:pt x="47" y="79"/>
                    </a:lnTo>
                    <a:lnTo>
                      <a:pt x="57" y="79"/>
                    </a:lnTo>
                    <a:lnTo>
                      <a:pt x="77" y="99"/>
                    </a:lnTo>
                    <a:lnTo>
                      <a:pt x="90" y="79"/>
                    </a:lnTo>
                    <a:lnTo>
                      <a:pt x="77" y="79"/>
                    </a:lnTo>
                    <a:lnTo>
                      <a:pt x="35" y="22"/>
                    </a:lnTo>
                    <a:lnTo>
                      <a:pt x="25" y="0"/>
                    </a:lnTo>
                    <a:lnTo>
                      <a:pt x="20" y="22"/>
                    </a:lnTo>
                    <a:lnTo>
                      <a:pt x="5" y="32"/>
                    </a:lnTo>
                    <a:lnTo>
                      <a:pt x="20" y="79"/>
                    </a:lnTo>
                    <a:lnTo>
                      <a:pt x="0" y="86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78" name="Freeform 144"/>
              <p:cNvSpPr>
                <a:spLocks/>
              </p:cNvSpPr>
              <p:nvPr/>
            </p:nvSpPr>
            <p:spPr bwMode="auto">
              <a:xfrm>
                <a:off x="2493963" y="2605088"/>
                <a:ext cx="53975" cy="77787"/>
              </a:xfrm>
              <a:custGeom>
                <a:avLst/>
                <a:gdLst>
                  <a:gd name="T0" fmla="*/ 0 w 30"/>
                  <a:gd name="T1" fmla="*/ 28 h 45"/>
                  <a:gd name="T2" fmla="*/ 0 w 30"/>
                  <a:gd name="T3" fmla="*/ 45 h 45"/>
                  <a:gd name="T4" fmla="*/ 23 w 30"/>
                  <a:gd name="T5" fmla="*/ 37 h 45"/>
                  <a:gd name="T6" fmla="*/ 30 w 30"/>
                  <a:gd name="T7" fmla="*/ 28 h 45"/>
                  <a:gd name="T8" fmla="*/ 30 w 30"/>
                  <a:gd name="T9" fmla="*/ 0 h 45"/>
                  <a:gd name="T10" fmla="*/ 8 w 30"/>
                  <a:gd name="T11" fmla="*/ 0 h 45"/>
                  <a:gd name="T12" fmla="*/ 0 w 30"/>
                  <a:gd name="T13" fmla="*/ 28 h 45"/>
                  <a:gd name="T14" fmla="*/ 0 w 30"/>
                  <a:gd name="T15" fmla="*/ 28 h 45"/>
                  <a:gd name="T16" fmla="*/ 0 w 30"/>
                  <a:gd name="T17" fmla="*/ 28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0" h="45">
                    <a:moveTo>
                      <a:pt x="0" y="28"/>
                    </a:moveTo>
                    <a:lnTo>
                      <a:pt x="0" y="45"/>
                    </a:lnTo>
                    <a:lnTo>
                      <a:pt x="23" y="37"/>
                    </a:lnTo>
                    <a:lnTo>
                      <a:pt x="30" y="28"/>
                    </a:lnTo>
                    <a:lnTo>
                      <a:pt x="30" y="0"/>
                    </a:lnTo>
                    <a:lnTo>
                      <a:pt x="8" y="0"/>
                    </a:lnTo>
                    <a:lnTo>
                      <a:pt x="0" y="28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79" name="Freeform 145"/>
              <p:cNvSpPr>
                <a:spLocks/>
              </p:cNvSpPr>
              <p:nvPr/>
            </p:nvSpPr>
            <p:spPr bwMode="auto">
              <a:xfrm>
                <a:off x="2263775" y="2749550"/>
                <a:ext cx="158750" cy="188913"/>
              </a:xfrm>
              <a:custGeom>
                <a:avLst/>
                <a:gdLst>
                  <a:gd name="T0" fmla="*/ 0 w 90"/>
                  <a:gd name="T1" fmla="*/ 86 h 108"/>
                  <a:gd name="T2" fmla="*/ 20 w 90"/>
                  <a:gd name="T3" fmla="*/ 86 h 108"/>
                  <a:gd name="T4" fmla="*/ 20 w 90"/>
                  <a:gd name="T5" fmla="*/ 108 h 108"/>
                  <a:gd name="T6" fmla="*/ 35 w 90"/>
                  <a:gd name="T7" fmla="*/ 108 h 108"/>
                  <a:gd name="T8" fmla="*/ 47 w 90"/>
                  <a:gd name="T9" fmla="*/ 79 h 108"/>
                  <a:gd name="T10" fmla="*/ 57 w 90"/>
                  <a:gd name="T11" fmla="*/ 79 h 108"/>
                  <a:gd name="T12" fmla="*/ 77 w 90"/>
                  <a:gd name="T13" fmla="*/ 99 h 108"/>
                  <a:gd name="T14" fmla="*/ 90 w 90"/>
                  <a:gd name="T15" fmla="*/ 79 h 108"/>
                  <a:gd name="T16" fmla="*/ 77 w 90"/>
                  <a:gd name="T17" fmla="*/ 79 h 108"/>
                  <a:gd name="T18" fmla="*/ 35 w 90"/>
                  <a:gd name="T19" fmla="*/ 22 h 108"/>
                  <a:gd name="T20" fmla="*/ 25 w 90"/>
                  <a:gd name="T21" fmla="*/ 0 h 108"/>
                  <a:gd name="T22" fmla="*/ 20 w 90"/>
                  <a:gd name="T23" fmla="*/ 22 h 108"/>
                  <a:gd name="T24" fmla="*/ 5 w 90"/>
                  <a:gd name="T25" fmla="*/ 32 h 108"/>
                  <a:gd name="T26" fmla="*/ 20 w 90"/>
                  <a:gd name="T27" fmla="*/ 79 h 108"/>
                  <a:gd name="T28" fmla="*/ 0 w 90"/>
                  <a:gd name="T29" fmla="*/ 86 h 108"/>
                  <a:gd name="T30" fmla="*/ 0 w 90"/>
                  <a:gd name="T31" fmla="*/ 86 h 108"/>
                  <a:gd name="T32" fmla="*/ 0 w 90"/>
                  <a:gd name="T33" fmla="*/ 86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0" h="108">
                    <a:moveTo>
                      <a:pt x="0" y="86"/>
                    </a:moveTo>
                    <a:lnTo>
                      <a:pt x="20" y="86"/>
                    </a:lnTo>
                    <a:lnTo>
                      <a:pt x="20" y="108"/>
                    </a:lnTo>
                    <a:lnTo>
                      <a:pt x="35" y="108"/>
                    </a:lnTo>
                    <a:lnTo>
                      <a:pt x="47" y="79"/>
                    </a:lnTo>
                    <a:lnTo>
                      <a:pt x="57" y="79"/>
                    </a:lnTo>
                    <a:lnTo>
                      <a:pt x="77" y="99"/>
                    </a:lnTo>
                    <a:lnTo>
                      <a:pt x="90" y="79"/>
                    </a:lnTo>
                    <a:lnTo>
                      <a:pt x="77" y="79"/>
                    </a:lnTo>
                    <a:lnTo>
                      <a:pt x="35" y="22"/>
                    </a:lnTo>
                    <a:lnTo>
                      <a:pt x="25" y="0"/>
                    </a:lnTo>
                    <a:lnTo>
                      <a:pt x="20" y="22"/>
                    </a:lnTo>
                    <a:lnTo>
                      <a:pt x="5" y="32"/>
                    </a:lnTo>
                    <a:lnTo>
                      <a:pt x="20" y="79"/>
                    </a:lnTo>
                    <a:lnTo>
                      <a:pt x="0" y="86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82" name="Freeform 146"/>
              <p:cNvSpPr>
                <a:spLocks/>
              </p:cNvSpPr>
              <p:nvPr/>
            </p:nvSpPr>
            <p:spPr bwMode="auto">
              <a:xfrm>
                <a:off x="2538413" y="5473700"/>
                <a:ext cx="187325" cy="1154113"/>
              </a:xfrm>
              <a:custGeom>
                <a:avLst/>
                <a:gdLst>
                  <a:gd name="T0" fmla="*/ 85 w 107"/>
                  <a:gd name="T1" fmla="*/ 0 h 661"/>
                  <a:gd name="T2" fmla="*/ 99 w 107"/>
                  <a:gd name="T3" fmla="*/ 83 h 661"/>
                  <a:gd name="T4" fmla="*/ 107 w 107"/>
                  <a:gd name="T5" fmla="*/ 98 h 661"/>
                  <a:gd name="T6" fmla="*/ 99 w 107"/>
                  <a:gd name="T7" fmla="*/ 135 h 661"/>
                  <a:gd name="T8" fmla="*/ 72 w 107"/>
                  <a:gd name="T9" fmla="*/ 256 h 661"/>
                  <a:gd name="T10" fmla="*/ 63 w 107"/>
                  <a:gd name="T11" fmla="*/ 299 h 661"/>
                  <a:gd name="T12" fmla="*/ 57 w 107"/>
                  <a:gd name="T13" fmla="*/ 343 h 661"/>
                  <a:gd name="T14" fmla="*/ 52 w 107"/>
                  <a:gd name="T15" fmla="*/ 457 h 661"/>
                  <a:gd name="T16" fmla="*/ 52 w 107"/>
                  <a:gd name="T17" fmla="*/ 501 h 661"/>
                  <a:gd name="T18" fmla="*/ 42 w 107"/>
                  <a:gd name="T19" fmla="*/ 540 h 661"/>
                  <a:gd name="T20" fmla="*/ 28 w 107"/>
                  <a:gd name="T21" fmla="*/ 594 h 661"/>
                  <a:gd name="T22" fmla="*/ 42 w 107"/>
                  <a:gd name="T23" fmla="*/ 617 h 661"/>
                  <a:gd name="T24" fmla="*/ 94 w 107"/>
                  <a:gd name="T25" fmla="*/ 622 h 661"/>
                  <a:gd name="T26" fmla="*/ 85 w 107"/>
                  <a:gd name="T27" fmla="*/ 639 h 661"/>
                  <a:gd name="T28" fmla="*/ 63 w 107"/>
                  <a:gd name="T29" fmla="*/ 661 h 661"/>
                  <a:gd name="T30" fmla="*/ 52 w 107"/>
                  <a:gd name="T31" fmla="*/ 654 h 661"/>
                  <a:gd name="T32" fmla="*/ 57 w 107"/>
                  <a:gd name="T33" fmla="*/ 646 h 661"/>
                  <a:gd name="T34" fmla="*/ 28 w 107"/>
                  <a:gd name="T35" fmla="*/ 646 h 661"/>
                  <a:gd name="T36" fmla="*/ 20 w 107"/>
                  <a:gd name="T37" fmla="*/ 639 h 661"/>
                  <a:gd name="T38" fmla="*/ 11 w 107"/>
                  <a:gd name="T39" fmla="*/ 639 h 661"/>
                  <a:gd name="T40" fmla="*/ 6 w 107"/>
                  <a:gd name="T41" fmla="*/ 617 h 661"/>
                  <a:gd name="T42" fmla="*/ 11 w 107"/>
                  <a:gd name="T43" fmla="*/ 594 h 661"/>
                  <a:gd name="T44" fmla="*/ 6 w 107"/>
                  <a:gd name="T45" fmla="*/ 617 h 661"/>
                  <a:gd name="T46" fmla="*/ 11 w 107"/>
                  <a:gd name="T47" fmla="*/ 578 h 661"/>
                  <a:gd name="T48" fmla="*/ 0 w 107"/>
                  <a:gd name="T49" fmla="*/ 572 h 661"/>
                  <a:gd name="T50" fmla="*/ 6 w 107"/>
                  <a:gd name="T51" fmla="*/ 533 h 661"/>
                  <a:gd name="T52" fmla="*/ 11 w 107"/>
                  <a:gd name="T53" fmla="*/ 540 h 661"/>
                  <a:gd name="T54" fmla="*/ 6 w 107"/>
                  <a:gd name="T55" fmla="*/ 501 h 661"/>
                  <a:gd name="T56" fmla="*/ 6 w 107"/>
                  <a:gd name="T57" fmla="*/ 488 h 661"/>
                  <a:gd name="T58" fmla="*/ 11 w 107"/>
                  <a:gd name="T59" fmla="*/ 457 h 661"/>
                  <a:gd name="T60" fmla="*/ 20 w 107"/>
                  <a:gd name="T61" fmla="*/ 464 h 661"/>
                  <a:gd name="T62" fmla="*/ 42 w 107"/>
                  <a:gd name="T63" fmla="*/ 405 h 661"/>
                  <a:gd name="T64" fmla="*/ 20 w 107"/>
                  <a:gd name="T65" fmla="*/ 399 h 661"/>
                  <a:gd name="T66" fmla="*/ 28 w 107"/>
                  <a:gd name="T67" fmla="*/ 353 h 661"/>
                  <a:gd name="T68" fmla="*/ 28 w 107"/>
                  <a:gd name="T69" fmla="*/ 323 h 661"/>
                  <a:gd name="T70" fmla="*/ 52 w 107"/>
                  <a:gd name="T71" fmla="*/ 210 h 661"/>
                  <a:gd name="T72" fmla="*/ 63 w 107"/>
                  <a:gd name="T73" fmla="*/ 83 h 661"/>
                  <a:gd name="T74" fmla="*/ 63 w 107"/>
                  <a:gd name="T75" fmla="*/ 7 h 661"/>
                  <a:gd name="T76" fmla="*/ 63 w 107"/>
                  <a:gd name="T77" fmla="*/ 7 h 6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07" h="661">
                    <a:moveTo>
                      <a:pt x="63" y="7"/>
                    </a:moveTo>
                    <a:lnTo>
                      <a:pt x="85" y="0"/>
                    </a:lnTo>
                    <a:lnTo>
                      <a:pt x="94" y="22"/>
                    </a:lnTo>
                    <a:lnTo>
                      <a:pt x="99" y="83"/>
                    </a:lnTo>
                    <a:lnTo>
                      <a:pt x="107" y="83"/>
                    </a:lnTo>
                    <a:lnTo>
                      <a:pt x="107" y="98"/>
                    </a:lnTo>
                    <a:lnTo>
                      <a:pt x="94" y="103"/>
                    </a:lnTo>
                    <a:lnTo>
                      <a:pt x="99" y="135"/>
                    </a:lnTo>
                    <a:lnTo>
                      <a:pt x="63" y="217"/>
                    </a:lnTo>
                    <a:lnTo>
                      <a:pt x="72" y="256"/>
                    </a:lnTo>
                    <a:lnTo>
                      <a:pt x="63" y="286"/>
                    </a:lnTo>
                    <a:lnTo>
                      <a:pt x="63" y="299"/>
                    </a:lnTo>
                    <a:lnTo>
                      <a:pt x="57" y="308"/>
                    </a:lnTo>
                    <a:lnTo>
                      <a:pt x="57" y="343"/>
                    </a:lnTo>
                    <a:lnTo>
                      <a:pt x="52" y="368"/>
                    </a:lnTo>
                    <a:lnTo>
                      <a:pt x="52" y="457"/>
                    </a:lnTo>
                    <a:lnTo>
                      <a:pt x="57" y="457"/>
                    </a:lnTo>
                    <a:lnTo>
                      <a:pt x="52" y="501"/>
                    </a:lnTo>
                    <a:lnTo>
                      <a:pt x="42" y="526"/>
                    </a:lnTo>
                    <a:lnTo>
                      <a:pt x="42" y="540"/>
                    </a:lnTo>
                    <a:lnTo>
                      <a:pt x="28" y="572"/>
                    </a:lnTo>
                    <a:lnTo>
                      <a:pt x="28" y="594"/>
                    </a:lnTo>
                    <a:lnTo>
                      <a:pt x="42" y="585"/>
                    </a:lnTo>
                    <a:lnTo>
                      <a:pt x="42" y="617"/>
                    </a:lnTo>
                    <a:lnTo>
                      <a:pt x="52" y="622"/>
                    </a:lnTo>
                    <a:lnTo>
                      <a:pt x="94" y="622"/>
                    </a:lnTo>
                    <a:lnTo>
                      <a:pt x="94" y="639"/>
                    </a:lnTo>
                    <a:lnTo>
                      <a:pt x="85" y="639"/>
                    </a:lnTo>
                    <a:lnTo>
                      <a:pt x="63" y="646"/>
                    </a:lnTo>
                    <a:lnTo>
                      <a:pt x="63" y="661"/>
                    </a:lnTo>
                    <a:lnTo>
                      <a:pt x="57" y="661"/>
                    </a:lnTo>
                    <a:lnTo>
                      <a:pt x="52" y="654"/>
                    </a:lnTo>
                    <a:lnTo>
                      <a:pt x="57" y="654"/>
                    </a:lnTo>
                    <a:lnTo>
                      <a:pt x="57" y="646"/>
                    </a:lnTo>
                    <a:lnTo>
                      <a:pt x="42" y="654"/>
                    </a:lnTo>
                    <a:lnTo>
                      <a:pt x="28" y="646"/>
                    </a:lnTo>
                    <a:lnTo>
                      <a:pt x="28" y="639"/>
                    </a:lnTo>
                    <a:lnTo>
                      <a:pt x="20" y="639"/>
                    </a:lnTo>
                    <a:lnTo>
                      <a:pt x="11" y="622"/>
                    </a:lnTo>
                    <a:lnTo>
                      <a:pt x="11" y="639"/>
                    </a:lnTo>
                    <a:lnTo>
                      <a:pt x="6" y="622"/>
                    </a:lnTo>
                    <a:lnTo>
                      <a:pt x="6" y="617"/>
                    </a:lnTo>
                    <a:lnTo>
                      <a:pt x="11" y="610"/>
                    </a:lnTo>
                    <a:lnTo>
                      <a:pt x="11" y="594"/>
                    </a:lnTo>
                    <a:lnTo>
                      <a:pt x="11" y="610"/>
                    </a:lnTo>
                    <a:lnTo>
                      <a:pt x="6" y="617"/>
                    </a:lnTo>
                    <a:lnTo>
                      <a:pt x="11" y="610"/>
                    </a:lnTo>
                    <a:lnTo>
                      <a:pt x="11" y="578"/>
                    </a:lnTo>
                    <a:lnTo>
                      <a:pt x="6" y="578"/>
                    </a:lnTo>
                    <a:lnTo>
                      <a:pt x="0" y="572"/>
                    </a:lnTo>
                    <a:lnTo>
                      <a:pt x="0" y="563"/>
                    </a:lnTo>
                    <a:lnTo>
                      <a:pt x="6" y="533"/>
                    </a:lnTo>
                    <a:lnTo>
                      <a:pt x="6" y="526"/>
                    </a:lnTo>
                    <a:lnTo>
                      <a:pt x="11" y="540"/>
                    </a:lnTo>
                    <a:lnTo>
                      <a:pt x="20" y="518"/>
                    </a:lnTo>
                    <a:lnTo>
                      <a:pt x="6" y="501"/>
                    </a:lnTo>
                    <a:lnTo>
                      <a:pt x="0" y="501"/>
                    </a:lnTo>
                    <a:lnTo>
                      <a:pt x="6" y="488"/>
                    </a:lnTo>
                    <a:lnTo>
                      <a:pt x="11" y="488"/>
                    </a:lnTo>
                    <a:lnTo>
                      <a:pt x="11" y="457"/>
                    </a:lnTo>
                    <a:lnTo>
                      <a:pt x="20" y="451"/>
                    </a:lnTo>
                    <a:lnTo>
                      <a:pt x="20" y="464"/>
                    </a:lnTo>
                    <a:lnTo>
                      <a:pt x="42" y="412"/>
                    </a:lnTo>
                    <a:lnTo>
                      <a:pt x="42" y="405"/>
                    </a:lnTo>
                    <a:lnTo>
                      <a:pt x="28" y="405"/>
                    </a:lnTo>
                    <a:lnTo>
                      <a:pt x="20" y="399"/>
                    </a:lnTo>
                    <a:lnTo>
                      <a:pt x="20" y="368"/>
                    </a:lnTo>
                    <a:lnTo>
                      <a:pt x="28" y="353"/>
                    </a:lnTo>
                    <a:lnTo>
                      <a:pt x="20" y="331"/>
                    </a:lnTo>
                    <a:lnTo>
                      <a:pt x="28" y="323"/>
                    </a:lnTo>
                    <a:lnTo>
                      <a:pt x="57" y="232"/>
                    </a:lnTo>
                    <a:lnTo>
                      <a:pt x="52" y="210"/>
                    </a:lnTo>
                    <a:lnTo>
                      <a:pt x="57" y="195"/>
                    </a:lnTo>
                    <a:lnTo>
                      <a:pt x="63" y="83"/>
                    </a:lnTo>
                    <a:lnTo>
                      <a:pt x="72" y="52"/>
                    </a:lnTo>
                    <a:lnTo>
                      <a:pt x="63" y="7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283" name="Freeform 147"/>
              <p:cNvSpPr>
                <a:spLocks/>
              </p:cNvSpPr>
              <p:nvPr/>
            </p:nvSpPr>
            <p:spPr bwMode="auto">
              <a:xfrm>
                <a:off x="2573338" y="6589713"/>
                <a:ext cx="122237" cy="117475"/>
              </a:xfrm>
              <a:custGeom>
                <a:avLst/>
                <a:gdLst>
                  <a:gd name="T0" fmla="*/ 70 w 70"/>
                  <a:gd name="T1" fmla="*/ 52 h 67"/>
                  <a:gd name="T2" fmla="*/ 70 w 70"/>
                  <a:gd name="T3" fmla="*/ 0 h 67"/>
                  <a:gd name="T4" fmla="*/ 50 w 70"/>
                  <a:gd name="T5" fmla="*/ 8 h 67"/>
                  <a:gd name="T6" fmla="*/ 50 w 70"/>
                  <a:gd name="T7" fmla="*/ 22 h 67"/>
                  <a:gd name="T8" fmla="*/ 42 w 70"/>
                  <a:gd name="T9" fmla="*/ 30 h 67"/>
                  <a:gd name="T10" fmla="*/ 35 w 70"/>
                  <a:gd name="T11" fmla="*/ 30 h 67"/>
                  <a:gd name="T12" fmla="*/ 7 w 70"/>
                  <a:gd name="T13" fmla="*/ 15 h 67"/>
                  <a:gd name="T14" fmla="*/ 0 w 70"/>
                  <a:gd name="T15" fmla="*/ 22 h 67"/>
                  <a:gd name="T16" fmla="*/ 7 w 70"/>
                  <a:gd name="T17" fmla="*/ 30 h 67"/>
                  <a:gd name="T18" fmla="*/ 20 w 70"/>
                  <a:gd name="T19" fmla="*/ 30 h 67"/>
                  <a:gd name="T20" fmla="*/ 20 w 70"/>
                  <a:gd name="T21" fmla="*/ 45 h 67"/>
                  <a:gd name="T22" fmla="*/ 30 w 70"/>
                  <a:gd name="T23" fmla="*/ 45 h 67"/>
                  <a:gd name="T24" fmla="*/ 30 w 70"/>
                  <a:gd name="T25" fmla="*/ 52 h 67"/>
                  <a:gd name="T26" fmla="*/ 42 w 70"/>
                  <a:gd name="T27" fmla="*/ 60 h 67"/>
                  <a:gd name="T28" fmla="*/ 50 w 70"/>
                  <a:gd name="T29" fmla="*/ 60 h 67"/>
                  <a:gd name="T30" fmla="*/ 62 w 70"/>
                  <a:gd name="T31" fmla="*/ 67 h 67"/>
                  <a:gd name="T32" fmla="*/ 70 w 70"/>
                  <a:gd name="T33" fmla="*/ 52 h 67"/>
                  <a:gd name="T34" fmla="*/ 70 w 70"/>
                  <a:gd name="T35" fmla="*/ 52 h 67"/>
                  <a:gd name="T36" fmla="*/ 70 w 70"/>
                  <a:gd name="T37" fmla="*/ 52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0" h="67">
                    <a:moveTo>
                      <a:pt x="70" y="52"/>
                    </a:moveTo>
                    <a:lnTo>
                      <a:pt x="70" y="0"/>
                    </a:lnTo>
                    <a:lnTo>
                      <a:pt x="50" y="8"/>
                    </a:lnTo>
                    <a:lnTo>
                      <a:pt x="50" y="22"/>
                    </a:lnTo>
                    <a:lnTo>
                      <a:pt x="42" y="30"/>
                    </a:lnTo>
                    <a:lnTo>
                      <a:pt x="35" y="30"/>
                    </a:lnTo>
                    <a:lnTo>
                      <a:pt x="7" y="15"/>
                    </a:lnTo>
                    <a:lnTo>
                      <a:pt x="0" y="22"/>
                    </a:lnTo>
                    <a:lnTo>
                      <a:pt x="7" y="30"/>
                    </a:lnTo>
                    <a:lnTo>
                      <a:pt x="20" y="30"/>
                    </a:lnTo>
                    <a:lnTo>
                      <a:pt x="20" y="45"/>
                    </a:lnTo>
                    <a:lnTo>
                      <a:pt x="30" y="45"/>
                    </a:lnTo>
                    <a:lnTo>
                      <a:pt x="30" y="52"/>
                    </a:lnTo>
                    <a:lnTo>
                      <a:pt x="42" y="60"/>
                    </a:lnTo>
                    <a:lnTo>
                      <a:pt x="50" y="60"/>
                    </a:lnTo>
                    <a:lnTo>
                      <a:pt x="62" y="67"/>
                    </a:lnTo>
                    <a:lnTo>
                      <a:pt x="70" y="52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12" name="Freeform 148"/>
              <p:cNvSpPr>
                <a:spLocks/>
              </p:cNvSpPr>
              <p:nvPr/>
            </p:nvSpPr>
            <p:spPr bwMode="auto">
              <a:xfrm>
                <a:off x="2695575" y="6589713"/>
                <a:ext cx="88900" cy="125412"/>
              </a:xfrm>
              <a:custGeom>
                <a:avLst/>
                <a:gdLst>
                  <a:gd name="T0" fmla="*/ 0 w 50"/>
                  <a:gd name="T1" fmla="*/ 52 h 72"/>
                  <a:gd name="T2" fmla="*/ 0 w 50"/>
                  <a:gd name="T3" fmla="*/ 0 h 72"/>
                  <a:gd name="T4" fmla="*/ 9 w 50"/>
                  <a:gd name="T5" fmla="*/ 22 h 72"/>
                  <a:gd name="T6" fmla="*/ 35 w 50"/>
                  <a:gd name="T7" fmla="*/ 45 h 72"/>
                  <a:gd name="T8" fmla="*/ 50 w 50"/>
                  <a:gd name="T9" fmla="*/ 52 h 72"/>
                  <a:gd name="T10" fmla="*/ 44 w 50"/>
                  <a:gd name="T11" fmla="*/ 59 h 72"/>
                  <a:gd name="T12" fmla="*/ 14 w 50"/>
                  <a:gd name="T13" fmla="*/ 67 h 72"/>
                  <a:gd name="T14" fmla="*/ 9 w 50"/>
                  <a:gd name="T15" fmla="*/ 72 h 72"/>
                  <a:gd name="T16" fmla="*/ 0 w 50"/>
                  <a:gd name="T17" fmla="*/ 52 h 72"/>
                  <a:gd name="T18" fmla="*/ 0 w 50"/>
                  <a:gd name="T19" fmla="*/ 52 h 72"/>
                  <a:gd name="T20" fmla="*/ 0 w 50"/>
                  <a:gd name="T21" fmla="*/ 5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0" h="72">
                    <a:moveTo>
                      <a:pt x="0" y="52"/>
                    </a:moveTo>
                    <a:lnTo>
                      <a:pt x="0" y="0"/>
                    </a:lnTo>
                    <a:lnTo>
                      <a:pt x="9" y="22"/>
                    </a:lnTo>
                    <a:lnTo>
                      <a:pt x="35" y="45"/>
                    </a:lnTo>
                    <a:lnTo>
                      <a:pt x="50" y="52"/>
                    </a:lnTo>
                    <a:lnTo>
                      <a:pt x="44" y="59"/>
                    </a:lnTo>
                    <a:lnTo>
                      <a:pt x="14" y="67"/>
                    </a:lnTo>
                    <a:lnTo>
                      <a:pt x="9" y="72"/>
                    </a:lnTo>
                    <a:lnTo>
                      <a:pt x="0" y="52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13" name="Freeform 149"/>
              <p:cNvSpPr>
                <a:spLocks/>
              </p:cNvSpPr>
              <p:nvPr/>
            </p:nvSpPr>
            <p:spPr bwMode="auto">
              <a:xfrm>
                <a:off x="2590800" y="5572125"/>
                <a:ext cx="471488" cy="987425"/>
              </a:xfrm>
              <a:custGeom>
                <a:avLst/>
                <a:gdLst>
                  <a:gd name="T0" fmla="*/ 211 w 268"/>
                  <a:gd name="T1" fmla="*/ 143 h 565"/>
                  <a:gd name="T2" fmla="*/ 268 w 268"/>
                  <a:gd name="T3" fmla="*/ 81 h 565"/>
                  <a:gd name="T4" fmla="*/ 246 w 268"/>
                  <a:gd name="T5" fmla="*/ 61 h 565"/>
                  <a:gd name="T6" fmla="*/ 233 w 268"/>
                  <a:gd name="T7" fmla="*/ 81 h 565"/>
                  <a:gd name="T8" fmla="*/ 196 w 268"/>
                  <a:gd name="T9" fmla="*/ 81 h 565"/>
                  <a:gd name="T10" fmla="*/ 204 w 268"/>
                  <a:gd name="T11" fmla="*/ 61 h 565"/>
                  <a:gd name="T12" fmla="*/ 161 w 268"/>
                  <a:gd name="T13" fmla="*/ 39 h 565"/>
                  <a:gd name="T14" fmla="*/ 126 w 268"/>
                  <a:gd name="T15" fmla="*/ 0 h 565"/>
                  <a:gd name="T16" fmla="*/ 99 w 268"/>
                  <a:gd name="T17" fmla="*/ 0 h 565"/>
                  <a:gd name="T18" fmla="*/ 77 w 268"/>
                  <a:gd name="T19" fmla="*/ 39 h 565"/>
                  <a:gd name="T20" fmla="*/ 70 w 268"/>
                  <a:gd name="T21" fmla="*/ 74 h 565"/>
                  <a:gd name="T22" fmla="*/ 43 w 268"/>
                  <a:gd name="T23" fmla="*/ 197 h 565"/>
                  <a:gd name="T24" fmla="*/ 33 w 268"/>
                  <a:gd name="T25" fmla="*/ 241 h 565"/>
                  <a:gd name="T26" fmla="*/ 22 w 268"/>
                  <a:gd name="T27" fmla="*/ 400 h 565"/>
                  <a:gd name="T28" fmla="*/ 22 w 268"/>
                  <a:gd name="T29" fmla="*/ 444 h 565"/>
                  <a:gd name="T30" fmla="*/ 12 w 268"/>
                  <a:gd name="T31" fmla="*/ 484 h 565"/>
                  <a:gd name="T32" fmla="*/ 0 w 268"/>
                  <a:gd name="T33" fmla="*/ 537 h 565"/>
                  <a:gd name="T34" fmla="*/ 12 w 268"/>
                  <a:gd name="T35" fmla="*/ 560 h 565"/>
                  <a:gd name="T36" fmla="*/ 62 w 268"/>
                  <a:gd name="T37" fmla="*/ 565 h 565"/>
                  <a:gd name="T38" fmla="*/ 70 w 268"/>
                  <a:gd name="T39" fmla="*/ 521 h 565"/>
                  <a:gd name="T40" fmla="*/ 105 w 268"/>
                  <a:gd name="T41" fmla="*/ 476 h 565"/>
                  <a:gd name="T42" fmla="*/ 99 w 268"/>
                  <a:gd name="T43" fmla="*/ 463 h 565"/>
                  <a:gd name="T44" fmla="*/ 77 w 268"/>
                  <a:gd name="T45" fmla="*/ 431 h 565"/>
                  <a:gd name="T46" fmla="*/ 105 w 268"/>
                  <a:gd name="T47" fmla="*/ 407 h 565"/>
                  <a:gd name="T48" fmla="*/ 114 w 268"/>
                  <a:gd name="T49" fmla="*/ 400 h 565"/>
                  <a:gd name="T50" fmla="*/ 121 w 268"/>
                  <a:gd name="T51" fmla="*/ 370 h 565"/>
                  <a:gd name="T52" fmla="*/ 126 w 268"/>
                  <a:gd name="T53" fmla="*/ 362 h 565"/>
                  <a:gd name="T54" fmla="*/ 114 w 268"/>
                  <a:gd name="T55" fmla="*/ 355 h 565"/>
                  <a:gd name="T56" fmla="*/ 126 w 268"/>
                  <a:gd name="T57" fmla="*/ 340 h 565"/>
                  <a:gd name="T58" fmla="*/ 156 w 268"/>
                  <a:gd name="T59" fmla="*/ 295 h 565"/>
                  <a:gd name="T60" fmla="*/ 211 w 268"/>
                  <a:gd name="T61" fmla="*/ 281 h 565"/>
                  <a:gd name="T62" fmla="*/ 224 w 268"/>
                  <a:gd name="T63" fmla="*/ 241 h 565"/>
                  <a:gd name="T64" fmla="*/ 211 w 268"/>
                  <a:gd name="T65" fmla="*/ 227 h 565"/>
                  <a:gd name="T66" fmla="*/ 196 w 268"/>
                  <a:gd name="T67" fmla="*/ 204 h 565"/>
                  <a:gd name="T68" fmla="*/ 196 w 268"/>
                  <a:gd name="T69" fmla="*/ 204 h 5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68" h="565">
                    <a:moveTo>
                      <a:pt x="196" y="204"/>
                    </a:moveTo>
                    <a:lnTo>
                      <a:pt x="211" y="143"/>
                    </a:lnTo>
                    <a:lnTo>
                      <a:pt x="246" y="96"/>
                    </a:lnTo>
                    <a:lnTo>
                      <a:pt x="268" y="81"/>
                    </a:lnTo>
                    <a:lnTo>
                      <a:pt x="255" y="61"/>
                    </a:lnTo>
                    <a:lnTo>
                      <a:pt x="246" y="61"/>
                    </a:lnTo>
                    <a:lnTo>
                      <a:pt x="246" y="74"/>
                    </a:lnTo>
                    <a:lnTo>
                      <a:pt x="233" y="81"/>
                    </a:lnTo>
                    <a:lnTo>
                      <a:pt x="224" y="96"/>
                    </a:lnTo>
                    <a:lnTo>
                      <a:pt x="196" y="81"/>
                    </a:lnTo>
                    <a:lnTo>
                      <a:pt x="204" y="69"/>
                    </a:lnTo>
                    <a:lnTo>
                      <a:pt x="204" y="61"/>
                    </a:lnTo>
                    <a:lnTo>
                      <a:pt x="191" y="39"/>
                    </a:lnTo>
                    <a:lnTo>
                      <a:pt x="161" y="39"/>
                    </a:lnTo>
                    <a:lnTo>
                      <a:pt x="147" y="16"/>
                    </a:lnTo>
                    <a:lnTo>
                      <a:pt x="126" y="0"/>
                    </a:lnTo>
                    <a:lnTo>
                      <a:pt x="121" y="16"/>
                    </a:lnTo>
                    <a:lnTo>
                      <a:pt x="99" y="0"/>
                    </a:lnTo>
                    <a:lnTo>
                      <a:pt x="77" y="24"/>
                    </a:lnTo>
                    <a:lnTo>
                      <a:pt x="77" y="39"/>
                    </a:lnTo>
                    <a:lnTo>
                      <a:pt x="62" y="42"/>
                    </a:lnTo>
                    <a:lnTo>
                      <a:pt x="70" y="74"/>
                    </a:lnTo>
                    <a:lnTo>
                      <a:pt x="33" y="158"/>
                    </a:lnTo>
                    <a:lnTo>
                      <a:pt x="43" y="197"/>
                    </a:lnTo>
                    <a:lnTo>
                      <a:pt x="33" y="227"/>
                    </a:lnTo>
                    <a:lnTo>
                      <a:pt x="33" y="241"/>
                    </a:lnTo>
                    <a:lnTo>
                      <a:pt x="27" y="249"/>
                    </a:lnTo>
                    <a:lnTo>
                      <a:pt x="22" y="400"/>
                    </a:lnTo>
                    <a:lnTo>
                      <a:pt x="27" y="400"/>
                    </a:lnTo>
                    <a:lnTo>
                      <a:pt x="22" y="444"/>
                    </a:lnTo>
                    <a:lnTo>
                      <a:pt x="12" y="469"/>
                    </a:lnTo>
                    <a:lnTo>
                      <a:pt x="12" y="484"/>
                    </a:lnTo>
                    <a:lnTo>
                      <a:pt x="0" y="515"/>
                    </a:lnTo>
                    <a:lnTo>
                      <a:pt x="0" y="537"/>
                    </a:lnTo>
                    <a:lnTo>
                      <a:pt x="12" y="530"/>
                    </a:lnTo>
                    <a:lnTo>
                      <a:pt x="12" y="560"/>
                    </a:lnTo>
                    <a:lnTo>
                      <a:pt x="22" y="565"/>
                    </a:lnTo>
                    <a:lnTo>
                      <a:pt x="62" y="565"/>
                    </a:lnTo>
                    <a:lnTo>
                      <a:pt x="55" y="537"/>
                    </a:lnTo>
                    <a:lnTo>
                      <a:pt x="70" y="521"/>
                    </a:lnTo>
                    <a:lnTo>
                      <a:pt x="77" y="491"/>
                    </a:lnTo>
                    <a:lnTo>
                      <a:pt x="105" y="476"/>
                    </a:lnTo>
                    <a:lnTo>
                      <a:pt x="105" y="463"/>
                    </a:lnTo>
                    <a:lnTo>
                      <a:pt x="99" y="463"/>
                    </a:lnTo>
                    <a:lnTo>
                      <a:pt x="77" y="439"/>
                    </a:lnTo>
                    <a:lnTo>
                      <a:pt x="77" y="431"/>
                    </a:lnTo>
                    <a:lnTo>
                      <a:pt x="85" y="416"/>
                    </a:lnTo>
                    <a:lnTo>
                      <a:pt x="105" y="407"/>
                    </a:lnTo>
                    <a:lnTo>
                      <a:pt x="105" y="400"/>
                    </a:lnTo>
                    <a:lnTo>
                      <a:pt x="114" y="400"/>
                    </a:lnTo>
                    <a:lnTo>
                      <a:pt x="114" y="387"/>
                    </a:lnTo>
                    <a:lnTo>
                      <a:pt x="121" y="370"/>
                    </a:lnTo>
                    <a:lnTo>
                      <a:pt x="121" y="362"/>
                    </a:lnTo>
                    <a:lnTo>
                      <a:pt x="126" y="362"/>
                    </a:lnTo>
                    <a:lnTo>
                      <a:pt x="126" y="355"/>
                    </a:lnTo>
                    <a:lnTo>
                      <a:pt x="114" y="355"/>
                    </a:lnTo>
                    <a:lnTo>
                      <a:pt x="114" y="325"/>
                    </a:lnTo>
                    <a:lnTo>
                      <a:pt x="126" y="340"/>
                    </a:lnTo>
                    <a:lnTo>
                      <a:pt x="147" y="325"/>
                    </a:lnTo>
                    <a:lnTo>
                      <a:pt x="156" y="295"/>
                    </a:lnTo>
                    <a:lnTo>
                      <a:pt x="147" y="286"/>
                    </a:lnTo>
                    <a:lnTo>
                      <a:pt x="211" y="281"/>
                    </a:lnTo>
                    <a:lnTo>
                      <a:pt x="224" y="249"/>
                    </a:lnTo>
                    <a:lnTo>
                      <a:pt x="224" y="241"/>
                    </a:lnTo>
                    <a:lnTo>
                      <a:pt x="211" y="234"/>
                    </a:lnTo>
                    <a:lnTo>
                      <a:pt x="211" y="227"/>
                    </a:lnTo>
                    <a:lnTo>
                      <a:pt x="196" y="219"/>
                    </a:lnTo>
                    <a:lnTo>
                      <a:pt x="196" y="204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14" name="Freeform 150"/>
              <p:cNvSpPr>
                <a:spLocks/>
              </p:cNvSpPr>
              <p:nvPr/>
            </p:nvSpPr>
            <p:spPr bwMode="auto">
              <a:xfrm>
                <a:off x="2222500" y="4540250"/>
                <a:ext cx="41275" cy="50800"/>
              </a:xfrm>
              <a:custGeom>
                <a:avLst/>
                <a:gdLst>
                  <a:gd name="T0" fmla="*/ 0 w 24"/>
                  <a:gd name="T1" fmla="*/ 29 h 29"/>
                  <a:gd name="T2" fmla="*/ 24 w 24"/>
                  <a:gd name="T3" fmla="*/ 29 h 29"/>
                  <a:gd name="T4" fmla="*/ 24 w 24"/>
                  <a:gd name="T5" fmla="*/ 0 h 29"/>
                  <a:gd name="T6" fmla="*/ 0 w 24"/>
                  <a:gd name="T7" fmla="*/ 5 h 29"/>
                  <a:gd name="T8" fmla="*/ 0 w 24"/>
                  <a:gd name="T9" fmla="*/ 29 h 29"/>
                  <a:gd name="T10" fmla="*/ 0 w 24"/>
                  <a:gd name="T11" fmla="*/ 29 h 29"/>
                  <a:gd name="T12" fmla="*/ 0 w 24"/>
                  <a:gd name="T13" fmla="*/ 2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29">
                    <a:moveTo>
                      <a:pt x="0" y="29"/>
                    </a:moveTo>
                    <a:lnTo>
                      <a:pt x="24" y="29"/>
                    </a:lnTo>
                    <a:lnTo>
                      <a:pt x="24" y="0"/>
                    </a:lnTo>
                    <a:lnTo>
                      <a:pt x="0" y="5"/>
                    </a:lnTo>
                    <a:lnTo>
                      <a:pt x="0" y="29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15" name="Freeform 151"/>
              <p:cNvSpPr>
                <a:spLocks/>
              </p:cNvSpPr>
              <p:nvPr/>
            </p:nvSpPr>
            <p:spPr bwMode="auto">
              <a:xfrm>
                <a:off x="2146300" y="4545013"/>
                <a:ext cx="90488" cy="114300"/>
              </a:xfrm>
              <a:custGeom>
                <a:avLst/>
                <a:gdLst>
                  <a:gd name="T0" fmla="*/ 43 w 52"/>
                  <a:gd name="T1" fmla="*/ 25 h 66"/>
                  <a:gd name="T2" fmla="*/ 52 w 52"/>
                  <a:gd name="T3" fmla="*/ 39 h 66"/>
                  <a:gd name="T4" fmla="*/ 27 w 52"/>
                  <a:gd name="T5" fmla="*/ 56 h 66"/>
                  <a:gd name="T6" fmla="*/ 22 w 52"/>
                  <a:gd name="T7" fmla="*/ 66 h 66"/>
                  <a:gd name="T8" fmla="*/ 0 w 52"/>
                  <a:gd name="T9" fmla="*/ 56 h 66"/>
                  <a:gd name="T10" fmla="*/ 7 w 52"/>
                  <a:gd name="T11" fmla="*/ 25 h 66"/>
                  <a:gd name="T12" fmla="*/ 22 w 52"/>
                  <a:gd name="T13" fmla="*/ 25 h 66"/>
                  <a:gd name="T14" fmla="*/ 7 w 52"/>
                  <a:gd name="T15" fmla="*/ 10 h 66"/>
                  <a:gd name="T16" fmla="*/ 13 w 52"/>
                  <a:gd name="T17" fmla="*/ 0 h 66"/>
                  <a:gd name="T18" fmla="*/ 43 w 52"/>
                  <a:gd name="T19" fmla="*/ 0 h 66"/>
                  <a:gd name="T20" fmla="*/ 43 w 52"/>
                  <a:gd name="T21" fmla="*/ 25 h 66"/>
                  <a:gd name="T22" fmla="*/ 43 w 52"/>
                  <a:gd name="T23" fmla="*/ 25 h 66"/>
                  <a:gd name="T24" fmla="*/ 43 w 52"/>
                  <a:gd name="T25" fmla="*/ 25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2" h="66">
                    <a:moveTo>
                      <a:pt x="43" y="25"/>
                    </a:moveTo>
                    <a:lnTo>
                      <a:pt x="52" y="39"/>
                    </a:lnTo>
                    <a:lnTo>
                      <a:pt x="27" y="56"/>
                    </a:lnTo>
                    <a:lnTo>
                      <a:pt x="22" y="66"/>
                    </a:lnTo>
                    <a:lnTo>
                      <a:pt x="0" y="56"/>
                    </a:lnTo>
                    <a:lnTo>
                      <a:pt x="7" y="25"/>
                    </a:lnTo>
                    <a:lnTo>
                      <a:pt x="22" y="25"/>
                    </a:lnTo>
                    <a:lnTo>
                      <a:pt x="7" y="10"/>
                    </a:lnTo>
                    <a:lnTo>
                      <a:pt x="13" y="0"/>
                    </a:lnTo>
                    <a:lnTo>
                      <a:pt x="43" y="0"/>
                    </a:lnTo>
                    <a:lnTo>
                      <a:pt x="43" y="25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16" name="Freeform 152"/>
              <p:cNvSpPr>
                <a:spLocks/>
              </p:cNvSpPr>
              <p:nvPr/>
            </p:nvSpPr>
            <p:spPr bwMode="auto">
              <a:xfrm>
                <a:off x="2195513" y="4608513"/>
                <a:ext cx="147637" cy="58737"/>
              </a:xfrm>
              <a:custGeom>
                <a:avLst/>
                <a:gdLst>
                  <a:gd name="T0" fmla="*/ 22 w 84"/>
                  <a:gd name="T1" fmla="*/ 0 h 34"/>
                  <a:gd name="T2" fmla="*/ 64 w 84"/>
                  <a:gd name="T3" fmla="*/ 0 h 34"/>
                  <a:gd name="T4" fmla="*/ 84 w 84"/>
                  <a:gd name="T5" fmla="*/ 8 h 34"/>
                  <a:gd name="T6" fmla="*/ 39 w 84"/>
                  <a:gd name="T7" fmla="*/ 34 h 34"/>
                  <a:gd name="T8" fmla="*/ 31 w 84"/>
                  <a:gd name="T9" fmla="*/ 34 h 34"/>
                  <a:gd name="T10" fmla="*/ 31 w 84"/>
                  <a:gd name="T11" fmla="*/ 29 h 34"/>
                  <a:gd name="T12" fmla="*/ 0 w 84"/>
                  <a:gd name="T13" fmla="*/ 17 h 34"/>
                  <a:gd name="T14" fmla="*/ 22 w 84"/>
                  <a:gd name="T15" fmla="*/ 0 h 34"/>
                  <a:gd name="T16" fmla="*/ 22 w 84"/>
                  <a:gd name="T17" fmla="*/ 0 h 34"/>
                  <a:gd name="T18" fmla="*/ 22 w 84"/>
                  <a:gd name="T19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4" h="34">
                    <a:moveTo>
                      <a:pt x="22" y="0"/>
                    </a:moveTo>
                    <a:lnTo>
                      <a:pt x="64" y="0"/>
                    </a:lnTo>
                    <a:lnTo>
                      <a:pt x="84" y="8"/>
                    </a:lnTo>
                    <a:lnTo>
                      <a:pt x="39" y="34"/>
                    </a:lnTo>
                    <a:lnTo>
                      <a:pt x="31" y="34"/>
                    </a:lnTo>
                    <a:lnTo>
                      <a:pt x="31" y="29"/>
                    </a:lnTo>
                    <a:lnTo>
                      <a:pt x="0" y="17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17" name="Freeform 153"/>
              <p:cNvSpPr>
                <a:spLocks/>
              </p:cNvSpPr>
              <p:nvPr/>
            </p:nvSpPr>
            <p:spPr bwMode="auto">
              <a:xfrm>
                <a:off x="2185988" y="4638675"/>
                <a:ext cx="63500" cy="46038"/>
              </a:xfrm>
              <a:custGeom>
                <a:avLst/>
                <a:gdLst>
                  <a:gd name="T0" fmla="*/ 8 w 37"/>
                  <a:gd name="T1" fmla="*/ 0 h 27"/>
                  <a:gd name="T2" fmla="*/ 0 w 37"/>
                  <a:gd name="T3" fmla="*/ 15 h 27"/>
                  <a:gd name="T4" fmla="*/ 8 w 37"/>
                  <a:gd name="T5" fmla="*/ 27 h 27"/>
                  <a:gd name="T6" fmla="*/ 37 w 37"/>
                  <a:gd name="T7" fmla="*/ 27 h 27"/>
                  <a:gd name="T8" fmla="*/ 37 w 37"/>
                  <a:gd name="T9" fmla="*/ 15 h 27"/>
                  <a:gd name="T10" fmla="*/ 8 w 37"/>
                  <a:gd name="T11" fmla="*/ 0 h 27"/>
                  <a:gd name="T12" fmla="*/ 8 w 37"/>
                  <a:gd name="T13" fmla="*/ 0 h 27"/>
                  <a:gd name="T14" fmla="*/ 8 w 37"/>
                  <a:gd name="T1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7" h="27">
                    <a:moveTo>
                      <a:pt x="8" y="0"/>
                    </a:moveTo>
                    <a:lnTo>
                      <a:pt x="0" y="15"/>
                    </a:lnTo>
                    <a:lnTo>
                      <a:pt x="8" y="27"/>
                    </a:lnTo>
                    <a:lnTo>
                      <a:pt x="37" y="27"/>
                    </a:lnTo>
                    <a:lnTo>
                      <a:pt x="37" y="15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18" name="Freeform 154"/>
              <p:cNvSpPr>
                <a:spLocks/>
              </p:cNvSpPr>
              <p:nvPr/>
            </p:nvSpPr>
            <p:spPr bwMode="auto">
              <a:xfrm>
                <a:off x="2263775" y="4629150"/>
                <a:ext cx="79375" cy="117475"/>
              </a:xfrm>
              <a:custGeom>
                <a:avLst/>
                <a:gdLst>
                  <a:gd name="T0" fmla="*/ 45 w 45"/>
                  <a:gd name="T1" fmla="*/ 0 h 67"/>
                  <a:gd name="T2" fmla="*/ 38 w 45"/>
                  <a:gd name="T3" fmla="*/ 54 h 67"/>
                  <a:gd name="T4" fmla="*/ 45 w 45"/>
                  <a:gd name="T5" fmla="*/ 67 h 67"/>
                  <a:gd name="T6" fmla="*/ 38 w 45"/>
                  <a:gd name="T7" fmla="*/ 67 h 67"/>
                  <a:gd name="T8" fmla="*/ 0 w 45"/>
                  <a:gd name="T9" fmla="*/ 40 h 67"/>
                  <a:gd name="T10" fmla="*/ 0 w 45"/>
                  <a:gd name="T11" fmla="*/ 23 h 67"/>
                  <a:gd name="T12" fmla="*/ 45 w 45"/>
                  <a:gd name="T13" fmla="*/ 0 h 67"/>
                  <a:gd name="T14" fmla="*/ 45 w 45"/>
                  <a:gd name="T15" fmla="*/ 0 h 67"/>
                  <a:gd name="T16" fmla="*/ 45 w 45"/>
                  <a:gd name="T17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" h="67">
                    <a:moveTo>
                      <a:pt x="45" y="0"/>
                    </a:moveTo>
                    <a:lnTo>
                      <a:pt x="38" y="54"/>
                    </a:lnTo>
                    <a:lnTo>
                      <a:pt x="45" y="67"/>
                    </a:lnTo>
                    <a:lnTo>
                      <a:pt x="38" y="67"/>
                    </a:lnTo>
                    <a:lnTo>
                      <a:pt x="0" y="40"/>
                    </a:lnTo>
                    <a:lnTo>
                      <a:pt x="0" y="23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19" name="Freeform 155"/>
              <p:cNvSpPr>
                <a:spLocks/>
              </p:cNvSpPr>
              <p:nvPr/>
            </p:nvSpPr>
            <p:spPr bwMode="auto">
              <a:xfrm>
                <a:off x="2295525" y="4724400"/>
                <a:ext cx="69850" cy="74613"/>
              </a:xfrm>
              <a:custGeom>
                <a:avLst/>
                <a:gdLst>
                  <a:gd name="T0" fmla="*/ 39 w 39"/>
                  <a:gd name="T1" fmla="*/ 43 h 43"/>
                  <a:gd name="T2" fmla="*/ 39 w 39"/>
                  <a:gd name="T3" fmla="*/ 28 h 43"/>
                  <a:gd name="T4" fmla="*/ 29 w 39"/>
                  <a:gd name="T5" fmla="*/ 20 h 43"/>
                  <a:gd name="T6" fmla="*/ 29 w 39"/>
                  <a:gd name="T7" fmla="*/ 13 h 43"/>
                  <a:gd name="T8" fmla="*/ 24 w 39"/>
                  <a:gd name="T9" fmla="*/ 13 h 43"/>
                  <a:gd name="T10" fmla="*/ 0 w 39"/>
                  <a:gd name="T11" fmla="*/ 0 h 43"/>
                  <a:gd name="T12" fmla="*/ 0 w 39"/>
                  <a:gd name="T13" fmla="*/ 20 h 43"/>
                  <a:gd name="T14" fmla="*/ 7 w 39"/>
                  <a:gd name="T15" fmla="*/ 28 h 43"/>
                  <a:gd name="T16" fmla="*/ 17 w 39"/>
                  <a:gd name="T17" fmla="*/ 20 h 43"/>
                  <a:gd name="T18" fmla="*/ 24 w 39"/>
                  <a:gd name="T19" fmla="*/ 35 h 43"/>
                  <a:gd name="T20" fmla="*/ 39 w 39"/>
                  <a:gd name="T21" fmla="*/ 43 h 43"/>
                  <a:gd name="T22" fmla="*/ 39 w 39"/>
                  <a:gd name="T23" fmla="*/ 43 h 43"/>
                  <a:gd name="T24" fmla="*/ 39 w 39"/>
                  <a:gd name="T25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" h="43">
                    <a:moveTo>
                      <a:pt x="39" y="43"/>
                    </a:moveTo>
                    <a:lnTo>
                      <a:pt x="39" y="28"/>
                    </a:lnTo>
                    <a:lnTo>
                      <a:pt x="29" y="20"/>
                    </a:lnTo>
                    <a:lnTo>
                      <a:pt x="29" y="13"/>
                    </a:lnTo>
                    <a:lnTo>
                      <a:pt x="24" y="13"/>
                    </a:lnTo>
                    <a:lnTo>
                      <a:pt x="0" y="0"/>
                    </a:lnTo>
                    <a:lnTo>
                      <a:pt x="0" y="20"/>
                    </a:lnTo>
                    <a:lnTo>
                      <a:pt x="7" y="28"/>
                    </a:lnTo>
                    <a:lnTo>
                      <a:pt x="17" y="20"/>
                    </a:lnTo>
                    <a:lnTo>
                      <a:pt x="24" y="35"/>
                    </a:lnTo>
                    <a:lnTo>
                      <a:pt x="39" y="43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20" name="Freeform 156"/>
              <p:cNvSpPr>
                <a:spLocks/>
              </p:cNvSpPr>
              <p:nvPr/>
            </p:nvSpPr>
            <p:spPr bwMode="auto">
              <a:xfrm>
                <a:off x="2365375" y="4772025"/>
                <a:ext cx="133350" cy="61913"/>
              </a:xfrm>
              <a:custGeom>
                <a:avLst/>
                <a:gdLst>
                  <a:gd name="T0" fmla="*/ 0 w 77"/>
                  <a:gd name="T1" fmla="*/ 15 h 35"/>
                  <a:gd name="T2" fmla="*/ 32 w 77"/>
                  <a:gd name="T3" fmla="*/ 27 h 35"/>
                  <a:gd name="T4" fmla="*/ 32 w 77"/>
                  <a:gd name="T5" fmla="*/ 35 h 35"/>
                  <a:gd name="T6" fmla="*/ 38 w 77"/>
                  <a:gd name="T7" fmla="*/ 27 h 35"/>
                  <a:gd name="T8" fmla="*/ 70 w 77"/>
                  <a:gd name="T9" fmla="*/ 35 h 35"/>
                  <a:gd name="T10" fmla="*/ 77 w 77"/>
                  <a:gd name="T11" fmla="*/ 22 h 35"/>
                  <a:gd name="T12" fmla="*/ 48 w 77"/>
                  <a:gd name="T13" fmla="*/ 0 h 35"/>
                  <a:gd name="T14" fmla="*/ 25 w 77"/>
                  <a:gd name="T15" fmla="*/ 5 h 35"/>
                  <a:gd name="T16" fmla="*/ 17 w 77"/>
                  <a:gd name="T17" fmla="*/ 5 h 35"/>
                  <a:gd name="T18" fmla="*/ 0 w 77"/>
                  <a:gd name="T19" fmla="*/ 0 h 35"/>
                  <a:gd name="T20" fmla="*/ 0 w 77"/>
                  <a:gd name="T21" fmla="*/ 15 h 35"/>
                  <a:gd name="T22" fmla="*/ 0 w 77"/>
                  <a:gd name="T23" fmla="*/ 1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7" h="35">
                    <a:moveTo>
                      <a:pt x="0" y="15"/>
                    </a:moveTo>
                    <a:lnTo>
                      <a:pt x="32" y="27"/>
                    </a:lnTo>
                    <a:lnTo>
                      <a:pt x="32" y="35"/>
                    </a:lnTo>
                    <a:lnTo>
                      <a:pt x="38" y="27"/>
                    </a:lnTo>
                    <a:lnTo>
                      <a:pt x="70" y="35"/>
                    </a:lnTo>
                    <a:lnTo>
                      <a:pt x="77" y="22"/>
                    </a:lnTo>
                    <a:lnTo>
                      <a:pt x="48" y="0"/>
                    </a:lnTo>
                    <a:lnTo>
                      <a:pt x="25" y="5"/>
                    </a:lnTo>
                    <a:lnTo>
                      <a:pt x="17" y="5"/>
                    </a:lnTo>
                    <a:lnTo>
                      <a:pt x="0" y="0"/>
                    </a:lnTo>
                    <a:lnTo>
                      <a:pt x="0" y="15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21" name="Freeform 157"/>
              <p:cNvSpPr>
                <a:spLocks/>
              </p:cNvSpPr>
              <p:nvPr/>
            </p:nvSpPr>
            <p:spPr bwMode="auto">
              <a:xfrm>
                <a:off x="2463800" y="4694238"/>
                <a:ext cx="261938" cy="423862"/>
              </a:xfrm>
              <a:custGeom>
                <a:avLst/>
                <a:gdLst>
                  <a:gd name="T0" fmla="*/ 115 w 149"/>
                  <a:gd name="T1" fmla="*/ 242 h 242"/>
                  <a:gd name="T2" fmla="*/ 129 w 149"/>
                  <a:gd name="T3" fmla="*/ 207 h 242"/>
                  <a:gd name="T4" fmla="*/ 115 w 149"/>
                  <a:gd name="T5" fmla="*/ 176 h 242"/>
                  <a:gd name="T6" fmla="*/ 129 w 149"/>
                  <a:gd name="T7" fmla="*/ 176 h 242"/>
                  <a:gd name="T8" fmla="*/ 115 w 149"/>
                  <a:gd name="T9" fmla="*/ 168 h 242"/>
                  <a:gd name="T10" fmla="*/ 115 w 149"/>
                  <a:gd name="T11" fmla="*/ 159 h 242"/>
                  <a:gd name="T12" fmla="*/ 149 w 149"/>
                  <a:gd name="T13" fmla="*/ 159 h 242"/>
                  <a:gd name="T14" fmla="*/ 149 w 149"/>
                  <a:gd name="T15" fmla="*/ 138 h 242"/>
                  <a:gd name="T16" fmla="*/ 142 w 149"/>
                  <a:gd name="T17" fmla="*/ 122 h 242"/>
                  <a:gd name="T18" fmla="*/ 149 w 149"/>
                  <a:gd name="T19" fmla="*/ 92 h 242"/>
                  <a:gd name="T20" fmla="*/ 129 w 149"/>
                  <a:gd name="T21" fmla="*/ 92 h 242"/>
                  <a:gd name="T22" fmla="*/ 115 w 149"/>
                  <a:gd name="T23" fmla="*/ 84 h 242"/>
                  <a:gd name="T24" fmla="*/ 95 w 149"/>
                  <a:gd name="T25" fmla="*/ 84 h 242"/>
                  <a:gd name="T26" fmla="*/ 85 w 149"/>
                  <a:gd name="T27" fmla="*/ 77 h 242"/>
                  <a:gd name="T28" fmla="*/ 85 w 149"/>
                  <a:gd name="T29" fmla="*/ 62 h 242"/>
                  <a:gd name="T30" fmla="*/ 74 w 149"/>
                  <a:gd name="T31" fmla="*/ 47 h 242"/>
                  <a:gd name="T32" fmla="*/ 100 w 149"/>
                  <a:gd name="T33" fmla="*/ 10 h 242"/>
                  <a:gd name="T34" fmla="*/ 95 w 149"/>
                  <a:gd name="T35" fmla="*/ 0 h 242"/>
                  <a:gd name="T36" fmla="*/ 50 w 149"/>
                  <a:gd name="T37" fmla="*/ 30 h 242"/>
                  <a:gd name="T38" fmla="*/ 43 w 149"/>
                  <a:gd name="T39" fmla="*/ 47 h 242"/>
                  <a:gd name="T40" fmla="*/ 22 w 149"/>
                  <a:gd name="T41" fmla="*/ 54 h 242"/>
                  <a:gd name="T42" fmla="*/ 23 w 149"/>
                  <a:gd name="T43" fmla="*/ 60 h 242"/>
                  <a:gd name="T44" fmla="*/ 22 w 149"/>
                  <a:gd name="T45" fmla="*/ 64 h 242"/>
                  <a:gd name="T46" fmla="*/ 22 w 149"/>
                  <a:gd name="T47" fmla="*/ 62 h 242"/>
                  <a:gd name="T48" fmla="*/ 15 w 149"/>
                  <a:gd name="T49" fmla="*/ 77 h 242"/>
                  <a:gd name="T50" fmla="*/ 15 w 149"/>
                  <a:gd name="T51" fmla="*/ 129 h 242"/>
                  <a:gd name="T52" fmla="*/ 22 w 149"/>
                  <a:gd name="T53" fmla="*/ 129 h 242"/>
                  <a:gd name="T54" fmla="*/ 15 w 149"/>
                  <a:gd name="T55" fmla="*/ 153 h 242"/>
                  <a:gd name="T56" fmla="*/ 10 w 149"/>
                  <a:gd name="T57" fmla="*/ 153 h 242"/>
                  <a:gd name="T58" fmla="*/ 10 w 149"/>
                  <a:gd name="T59" fmla="*/ 159 h 242"/>
                  <a:gd name="T60" fmla="*/ 0 w 149"/>
                  <a:gd name="T61" fmla="*/ 159 h 242"/>
                  <a:gd name="T62" fmla="*/ 0 w 149"/>
                  <a:gd name="T63" fmla="*/ 168 h 242"/>
                  <a:gd name="T64" fmla="*/ 22 w 149"/>
                  <a:gd name="T65" fmla="*/ 185 h 242"/>
                  <a:gd name="T66" fmla="*/ 43 w 149"/>
                  <a:gd name="T67" fmla="*/ 176 h 242"/>
                  <a:gd name="T68" fmla="*/ 74 w 149"/>
                  <a:gd name="T69" fmla="*/ 222 h 242"/>
                  <a:gd name="T70" fmla="*/ 107 w 149"/>
                  <a:gd name="T71" fmla="*/ 215 h 242"/>
                  <a:gd name="T72" fmla="*/ 115 w 149"/>
                  <a:gd name="T73" fmla="*/ 222 h 242"/>
                  <a:gd name="T74" fmla="*/ 115 w 149"/>
                  <a:gd name="T75" fmla="*/ 227 h 242"/>
                  <a:gd name="T76" fmla="*/ 107 w 149"/>
                  <a:gd name="T77" fmla="*/ 227 h 242"/>
                  <a:gd name="T78" fmla="*/ 115 w 149"/>
                  <a:gd name="T79" fmla="*/ 242 h 242"/>
                  <a:gd name="T80" fmla="*/ 115 w 149"/>
                  <a:gd name="T81" fmla="*/ 242 h 242"/>
                  <a:gd name="T82" fmla="*/ 115 w 149"/>
                  <a:gd name="T83" fmla="*/ 242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49" h="242">
                    <a:moveTo>
                      <a:pt x="115" y="242"/>
                    </a:moveTo>
                    <a:lnTo>
                      <a:pt x="129" y="207"/>
                    </a:lnTo>
                    <a:lnTo>
                      <a:pt x="115" y="176"/>
                    </a:lnTo>
                    <a:lnTo>
                      <a:pt x="129" y="176"/>
                    </a:lnTo>
                    <a:lnTo>
                      <a:pt x="115" y="168"/>
                    </a:lnTo>
                    <a:lnTo>
                      <a:pt x="115" y="159"/>
                    </a:lnTo>
                    <a:lnTo>
                      <a:pt x="149" y="159"/>
                    </a:lnTo>
                    <a:lnTo>
                      <a:pt x="149" y="138"/>
                    </a:lnTo>
                    <a:lnTo>
                      <a:pt x="142" y="122"/>
                    </a:lnTo>
                    <a:lnTo>
                      <a:pt x="149" y="92"/>
                    </a:lnTo>
                    <a:lnTo>
                      <a:pt x="129" y="92"/>
                    </a:lnTo>
                    <a:lnTo>
                      <a:pt x="115" y="84"/>
                    </a:lnTo>
                    <a:lnTo>
                      <a:pt x="95" y="84"/>
                    </a:lnTo>
                    <a:lnTo>
                      <a:pt x="85" y="77"/>
                    </a:lnTo>
                    <a:lnTo>
                      <a:pt x="85" y="62"/>
                    </a:lnTo>
                    <a:lnTo>
                      <a:pt x="74" y="47"/>
                    </a:lnTo>
                    <a:lnTo>
                      <a:pt x="100" y="10"/>
                    </a:lnTo>
                    <a:lnTo>
                      <a:pt x="95" y="0"/>
                    </a:lnTo>
                    <a:lnTo>
                      <a:pt x="50" y="30"/>
                    </a:lnTo>
                    <a:lnTo>
                      <a:pt x="43" y="47"/>
                    </a:lnTo>
                    <a:lnTo>
                      <a:pt x="22" y="54"/>
                    </a:lnTo>
                    <a:lnTo>
                      <a:pt x="23" y="60"/>
                    </a:lnTo>
                    <a:lnTo>
                      <a:pt x="22" y="64"/>
                    </a:lnTo>
                    <a:lnTo>
                      <a:pt x="22" y="62"/>
                    </a:lnTo>
                    <a:lnTo>
                      <a:pt x="15" y="77"/>
                    </a:lnTo>
                    <a:lnTo>
                      <a:pt x="15" y="129"/>
                    </a:lnTo>
                    <a:lnTo>
                      <a:pt x="22" y="129"/>
                    </a:lnTo>
                    <a:lnTo>
                      <a:pt x="15" y="153"/>
                    </a:lnTo>
                    <a:lnTo>
                      <a:pt x="10" y="153"/>
                    </a:lnTo>
                    <a:lnTo>
                      <a:pt x="10" y="159"/>
                    </a:lnTo>
                    <a:lnTo>
                      <a:pt x="0" y="159"/>
                    </a:lnTo>
                    <a:lnTo>
                      <a:pt x="0" y="168"/>
                    </a:lnTo>
                    <a:lnTo>
                      <a:pt x="22" y="185"/>
                    </a:lnTo>
                    <a:lnTo>
                      <a:pt x="43" y="176"/>
                    </a:lnTo>
                    <a:lnTo>
                      <a:pt x="74" y="222"/>
                    </a:lnTo>
                    <a:lnTo>
                      <a:pt x="107" y="215"/>
                    </a:lnTo>
                    <a:lnTo>
                      <a:pt x="115" y="222"/>
                    </a:lnTo>
                    <a:lnTo>
                      <a:pt x="115" y="227"/>
                    </a:lnTo>
                    <a:lnTo>
                      <a:pt x="107" y="227"/>
                    </a:lnTo>
                    <a:lnTo>
                      <a:pt x="115" y="242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22" name="Freeform 158"/>
              <p:cNvSpPr>
                <a:spLocks/>
              </p:cNvSpPr>
              <p:nvPr/>
            </p:nvSpPr>
            <p:spPr bwMode="auto">
              <a:xfrm>
                <a:off x="2413000" y="4984750"/>
                <a:ext cx="136525" cy="158750"/>
              </a:xfrm>
              <a:custGeom>
                <a:avLst/>
                <a:gdLst>
                  <a:gd name="T0" fmla="*/ 77 w 77"/>
                  <a:gd name="T1" fmla="*/ 15 h 91"/>
                  <a:gd name="T2" fmla="*/ 71 w 77"/>
                  <a:gd name="T3" fmla="*/ 9 h 91"/>
                  <a:gd name="T4" fmla="*/ 49 w 77"/>
                  <a:gd name="T5" fmla="*/ 15 h 91"/>
                  <a:gd name="T6" fmla="*/ 27 w 77"/>
                  <a:gd name="T7" fmla="*/ 0 h 91"/>
                  <a:gd name="T8" fmla="*/ 5 w 77"/>
                  <a:gd name="T9" fmla="*/ 9 h 91"/>
                  <a:gd name="T10" fmla="*/ 5 w 77"/>
                  <a:gd name="T11" fmla="*/ 15 h 91"/>
                  <a:gd name="T12" fmla="*/ 0 w 77"/>
                  <a:gd name="T13" fmla="*/ 30 h 91"/>
                  <a:gd name="T14" fmla="*/ 0 w 77"/>
                  <a:gd name="T15" fmla="*/ 46 h 91"/>
                  <a:gd name="T16" fmla="*/ 5 w 77"/>
                  <a:gd name="T17" fmla="*/ 59 h 91"/>
                  <a:gd name="T18" fmla="*/ 5 w 77"/>
                  <a:gd name="T19" fmla="*/ 54 h 91"/>
                  <a:gd name="T20" fmla="*/ 14 w 77"/>
                  <a:gd name="T21" fmla="*/ 54 h 91"/>
                  <a:gd name="T22" fmla="*/ 5 w 77"/>
                  <a:gd name="T23" fmla="*/ 59 h 91"/>
                  <a:gd name="T24" fmla="*/ 0 w 77"/>
                  <a:gd name="T25" fmla="*/ 83 h 91"/>
                  <a:gd name="T26" fmla="*/ 14 w 77"/>
                  <a:gd name="T27" fmla="*/ 91 h 91"/>
                  <a:gd name="T28" fmla="*/ 42 w 77"/>
                  <a:gd name="T29" fmla="*/ 59 h 91"/>
                  <a:gd name="T30" fmla="*/ 71 w 77"/>
                  <a:gd name="T31" fmla="*/ 46 h 91"/>
                  <a:gd name="T32" fmla="*/ 77 w 77"/>
                  <a:gd name="T33" fmla="*/ 30 h 91"/>
                  <a:gd name="T34" fmla="*/ 71 w 77"/>
                  <a:gd name="T35" fmla="*/ 15 h 91"/>
                  <a:gd name="T36" fmla="*/ 77 w 77"/>
                  <a:gd name="T37" fmla="*/ 15 h 91"/>
                  <a:gd name="T38" fmla="*/ 77 w 77"/>
                  <a:gd name="T39" fmla="*/ 15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7" h="91">
                    <a:moveTo>
                      <a:pt x="77" y="15"/>
                    </a:moveTo>
                    <a:lnTo>
                      <a:pt x="71" y="9"/>
                    </a:lnTo>
                    <a:lnTo>
                      <a:pt x="49" y="15"/>
                    </a:lnTo>
                    <a:lnTo>
                      <a:pt x="27" y="0"/>
                    </a:lnTo>
                    <a:lnTo>
                      <a:pt x="5" y="9"/>
                    </a:lnTo>
                    <a:lnTo>
                      <a:pt x="5" y="15"/>
                    </a:lnTo>
                    <a:lnTo>
                      <a:pt x="0" y="30"/>
                    </a:lnTo>
                    <a:lnTo>
                      <a:pt x="0" y="46"/>
                    </a:lnTo>
                    <a:lnTo>
                      <a:pt x="5" y="59"/>
                    </a:lnTo>
                    <a:lnTo>
                      <a:pt x="5" y="54"/>
                    </a:lnTo>
                    <a:lnTo>
                      <a:pt x="14" y="54"/>
                    </a:lnTo>
                    <a:lnTo>
                      <a:pt x="5" y="59"/>
                    </a:lnTo>
                    <a:lnTo>
                      <a:pt x="0" y="83"/>
                    </a:lnTo>
                    <a:lnTo>
                      <a:pt x="14" y="91"/>
                    </a:lnTo>
                    <a:lnTo>
                      <a:pt x="42" y="59"/>
                    </a:lnTo>
                    <a:lnTo>
                      <a:pt x="71" y="46"/>
                    </a:lnTo>
                    <a:lnTo>
                      <a:pt x="77" y="30"/>
                    </a:lnTo>
                    <a:lnTo>
                      <a:pt x="71" y="15"/>
                    </a:lnTo>
                    <a:lnTo>
                      <a:pt x="77" y="15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23" name="Freeform 159"/>
              <p:cNvSpPr>
                <a:spLocks/>
              </p:cNvSpPr>
              <p:nvPr/>
            </p:nvSpPr>
            <p:spPr bwMode="auto">
              <a:xfrm>
                <a:off x="2400300" y="5010150"/>
                <a:ext cx="298450" cy="474663"/>
              </a:xfrm>
              <a:custGeom>
                <a:avLst/>
                <a:gdLst>
                  <a:gd name="T0" fmla="*/ 164 w 171"/>
                  <a:gd name="T1" fmla="*/ 158 h 272"/>
                  <a:gd name="T2" fmla="*/ 142 w 171"/>
                  <a:gd name="T3" fmla="*/ 158 h 272"/>
                  <a:gd name="T4" fmla="*/ 142 w 171"/>
                  <a:gd name="T5" fmla="*/ 143 h 272"/>
                  <a:gd name="T6" fmla="*/ 129 w 171"/>
                  <a:gd name="T7" fmla="*/ 151 h 272"/>
                  <a:gd name="T8" fmla="*/ 107 w 171"/>
                  <a:gd name="T9" fmla="*/ 143 h 272"/>
                  <a:gd name="T10" fmla="*/ 99 w 171"/>
                  <a:gd name="T11" fmla="*/ 112 h 272"/>
                  <a:gd name="T12" fmla="*/ 121 w 171"/>
                  <a:gd name="T13" fmla="*/ 75 h 272"/>
                  <a:gd name="T14" fmla="*/ 151 w 171"/>
                  <a:gd name="T15" fmla="*/ 60 h 272"/>
                  <a:gd name="T16" fmla="*/ 142 w 171"/>
                  <a:gd name="T17" fmla="*/ 45 h 272"/>
                  <a:gd name="T18" fmla="*/ 151 w 171"/>
                  <a:gd name="T19" fmla="*/ 45 h 272"/>
                  <a:gd name="T20" fmla="*/ 151 w 171"/>
                  <a:gd name="T21" fmla="*/ 38 h 272"/>
                  <a:gd name="T22" fmla="*/ 142 w 171"/>
                  <a:gd name="T23" fmla="*/ 30 h 272"/>
                  <a:gd name="T24" fmla="*/ 107 w 171"/>
                  <a:gd name="T25" fmla="*/ 38 h 272"/>
                  <a:gd name="T26" fmla="*/ 84 w 171"/>
                  <a:gd name="T27" fmla="*/ 0 h 272"/>
                  <a:gd name="T28" fmla="*/ 79 w 171"/>
                  <a:gd name="T29" fmla="*/ 0 h 272"/>
                  <a:gd name="T30" fmla="*/ 84 w 171"/>
                  <a:gd name="T31" fmla="*/ 15 h 272"/>
                  <a:gd name="T32" fmla="*/ 79 w 171"/>
                  <a:gd name="T33" fmla="*/ 30 h 272"/>
                  <a:gd name="T34" fmla="*/ 50 w 171"/>
                  <a:gd name="T35" fmla="*/ 45 h 272"/>
                  <a:gd name="T36" fmla="*/ 22 w 171"/>
                  <a:gd name="T37" fmla="*/ 75 h 272"/>
                  <a:gd name="T38" fmla="*/ 8 w 171"/>
                  <a:gd name="T39" fmla="*/ 67 h 272"/>
                  <a:gd name="T40" fmla="*/ 13 w 171"/>
                  <a:gd name="T41" fmla="*/ 45 h 272"/>
                  <a:gd name="T42" fmla="*/ 0 w 171"/>
                  <a:gd name="T43" fmla="*/ 67 h 272"/>
                  <a:gd name="T44" fmla="*/ 8 w 171"/>
                  <a:gd name="T45" fmla="*/ 82 h 272"/>
                  <a:gd name="T46" fmla="*/ 0 w 171"/>
                  <a:gd name="T47" fmla="*/ 82 h 272"/>
                  <a:gd name="T48" fmla="*/ 13 w 171"/>
                  <a:gd name="T49" fmla="*/ 106 h 272"/>
                  <a:gd name="T50" fmla="*/ 35 w 171"/>
                  <a:gd name="T51" fmla="*/ 121 h 272"/>
                  <a:gd name="T52" fmla="*/ 79 w 171"/>
                  <a:gd name="T53" fmla="*/ 220 h 272"/>
                  <a:gd name="T54" fmla="*/ 142 w 171"/>
                  <a:gd name="T55" fmla="*/ 272 h 272"/>
                  <a:gd name="T56" fmla="*/ 164 w 171"/>
                  <a:gd name="T57" fmla="*/ 265 h 272"/>
                  <a:gd name="T58" fmla="*/ 171 w 171"/>
                  <a:gd name="T59" fmla="*/ 242 h 272"/>
                  <a:gd name="T60" fmla="*/ 164 w 171"/>
                  <a:gd name="T61" fmla="*/ 233 h 272"/>
                  <a:gd name="T62" fmla="*/ 171 w 171"/>
                  <a:gd name="T63" fmla="*/ 179 h 272"/>
                  <a:gd name="T64" fmla="*/ 164 w 171"/>
                  <a:gd name="T65" fmla="*/ 158 h 272"/>
                  <a:gd name="T66" fmla="*/ 164 w 171"/>
                  <a:gd name="T67" fmla="*/ 158 h 272"/>
                  <a:gd name="T68" fmla="*/ 164 w 171"/>
                  <a:gd name="T69" fmla="*/ 158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71" h="272">
                    <a:moveTo>
                      <a:pt x="164" y="158"/>
                    </a:moveTo>
                    <a:lnTo>
                      <a:pt x="142" y="158"/>
                    </a:lnTo>
                    <a:lnTo>
                      <a:pt x="142" y="143"/>
                    </a:lnTo>
                    <a:lnTo>
                      <a:pt x="129" y="151"/>
                    </a:lnTo>
                    <a:lnTo>
                      <a:pt x="107" y="143"/>
                    </a:lnTo>
                    <a:lnTo>
                      <a:pt x="99" y="112"/>
                    </a:lnTo>
                    <a:lnTo>
                      <a:pt x="121" y="75"/>
                    </a:lnTo>
                    <a:lnTo>
                      <a:pt x="151" y="60"/>
                    </a:lnTo>
                    <a:lnTo>
                      <a:pt x="142" y="45"/>
                    </a:lnTo>
                    <a:lnTo>
                      <a:pt x="151" y="45"/>
                    </a:lnTo>
                    <a:lnTo>
                      <a:pt x="151" y="38"/>
                    </a:lnTo>
                    <a:lnTo>
                      <a:pt x="142" y="30"/>
                    </a:lnTo>
                    <a:lnTo>
                      <a:pt x="107" y="38"/>
                    </a:lnTo>
                    <a:lnTo>
                      <a:pt x="84" y="0"/>
                    </a:lnTo>
                    <a:lnTo>
                      <a:pt x="79" y="0"/>
                    </a:lnTo>
                    <a:lnTo>
                      <a:pt x="84" y="15"/>
                    </a:lnTo>
                    <a:lnTo>
                      <a:pt x="79" y="30"/>
                    </a:lnTo>
                    <a:lnTo>
                      <a:pt x="50" y="45"/>
                    </a:lnTo>
                    <a:lnTo>
                      <a:pt x="22" y="75"/>
                    </a:lnTo>
                    <a:lnTo>
                      <a:pt x="8" y="67"/>
                    </a:lnTo>
                    <a:lnTo>
                      <a:pt x="13" y="45"/>
                    </a:lnTo>
                    <a:lnTo>
                      <a:pt x="0" y="67"/>
                    </a:lnTo>
                    <a:lnTo>
                      <a:pt x="8" y="82"/>
                    </a:lnTo>
                    <a:lnTo>
                      <a:pt x="0" y="82"/>
                    </a:lnTo>
                    <a:lnTo>
                      <a:pt x="13" y="106"/>
                    </a:lnTo>
                    <a:lnTo>
                      <a:pt x="35" y="121"/>
                    </a:lnTo>
                    <a:lnTo>
                      <a:pt x="79" y="220"/>
                    </a:lnTo>
                    <a:lnTo>
                      <a:pt x="142" y="272"/>
                    </a:lnTo>
                    <a:lnTo>
                      <a:pt x="164" y="265"/>
                    </a:lnTo>
                    <a:lnTo>
                      <a:pt x="171" y="242"/>
                    </a:lnTo>
                    <a:lnTo>
                      <a:pt x="164" y="233"/>
                    </a:lnTo>
                    <a:lnTo>
                      <a:pt x="171" y="179"/>
                    </a:lnTo>
                    <a:lnTo>
                      <a:pt x="164" y="158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24" name="Freeform 160"/>
              <p:cNvSpPr>
                <a:spLocks/>
              </p:cNvSpPr>
              <p:nvPr/>
            </p:nvSpPr>
            <p:spPr bwMode="auto">
              <a:xfrm>
                <a:off x="2684463" y="5259388"/>
                <a:ext cx="266700" cy="354012"/>
              </a:xfrm>
              <a:custGeom>
                <a:avLst/>
                <a:gdLst>
                  <a:gd name="T0" fmla="*/ 152 w 152"/>
                  <a:gd name="T1" fmla="*/ 159 h 203"/>
                  <a:gd name="T2" fmla="*/ 152 w 152"/>
                  <a:gd name="T3" fmla="*/ 129 h 203"/>
                  <a:gd name="T4" fmla="*/ 145 w 152"/>
                  <a:gd name="T5" fmla="*/ 105 h 203"/>
                  <a:gd name="T6" fmla="*/ 145 w 152"/>
                  <a:gd name="T7" fmla="*/ 100 h 203"/>
                  <a:gd name="T8" fmla="*/ 130 w 152"/>
                  <a:gd name="T9" fmla="*/ 100 h 203"/>
                  <a:gd name="T10" fmla="*/ 115 w 152"/>
                  <a:gd name="T11" fmla="*/ 84 h 203"/>
                  <a:gd name="T12" fmla="*/ 115 w 152"/>
                  <a:gd name="T13" fmla="*/ 77 h 203"/>
                  <a:gd name="T14" fmla="*/ 108 w 152"/>
                  <a:gd name="T15" fmla="*/ 55 h 203"/>
                  <a:gd name="T16" fmla="*/ 58 w 152"/>
                  <a:gd name="T17" fmla="*/ 38 h 203"/>
                  <a:gd name="T18" fmla="*/ 50 w 152"/>
                  <a:gd name="T19" fmla="*/ 23 h 203"/>
                  <a:gd name="T20" fmla="*/ 50 w 152"/>
                  <a:gd name="T21" fmla="*/ 0 h 203"/>
                  <a:gd name="T22" fmla="*/ 31 w 152"/>
                  <a:gd name="T23" fmla="*/ 0 h 203"/>
                  <a:gd name="T24" fmla="*/ 15 w 152"/>
                  <a:gd name="T25" fmla="*/ 18 h 203"/>
                  <a:gd name="T26" fmla="*/ 0 w 152"/>
                  <a:gd name="T27" fmla="*/ 18 h 203"/>
                  <a:gd name="T28" fmla="*/ 8 w 152"/>
                  <a:gd name="T29" fmla="*/ 38 h 203"/>
                  <a:gd name="T30" fmla="*/ 0 w 152"/>
                  <a:gd name="T31" fmla="*/ 92 h 203"/>
                  <a:gd name="T32" fmla="*/ 8 w 152"/>
                  <a:gd name="T33" fmla="*/ 100 h 203"/>
                  <a:gd name="T34" fmla="*/ 0 w 152"/>
                  <a:gd name="T35" fmla="*/ 122 h 203"/>
                  <a:gd name="T36" fmla="*/ 8 w 152"/>
                  <a:gd name="T37" fmla="*/ 144 h 203"/>
                  <a:gd name="T38" fmla="*/ 15 w 152"/>
                  <a:gd name="T39" fmla="*/ 203 h 203"/>
                  <a:gd name="T40" fmla="*/ 21 w 152"/>
                  <a:gd name="T41" fmla="*/ 203 h 203"/>
                  <a:gd name="T42" fmla="*/ 43 w 152"/>
                  <a:gd name="T43" fmla="*/ 181 h 203"/>
                  <a:gd name="T44" fmla="*/ 65 w 152"/>
                  <a:gd name="T45" fmla="*/ 198 h 203"/>
                  <a:gd name="T46" fmla="*/ 73 w 152"/>
                  <a:gd name="T47" fmla="*/ 181 h 203"/>
                  <a:gd name="T48" fmla="*/ 95 w 152"/>
                  <a:gd name="T49" fmla="*/ 198 h 203"/>
                  <a:gd name="T50" fmla="*/ 102 w 152"/>
                  <a:gd name="T51" fmla="*/ 144 h 203"/>
                  <a:gd name="T52" fmla="*/ 139 w 152"/>
                  <a:gd name="T53" fmla="*/ 144 h 203"/>
                  <a:gd name="T54" fmla="*/ 152 w 152"/>
                  <a:gd name="T55" fmla="*/ 159 h 203"/>
                  <a:gd name="T56" fmla="*/ 152 w 152"/>
                  <a:gd name="T57" fmla="*/ 159 h 203"/>
                  <a:gd name="T58" fmla="*/ 152 w 152"/>
                  <a:gd name="T59" fmla="*/ 159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52" h="203">
                    <a:moveTo>
                      <a:pt x="152" y="159"/>
                    </a:moveTo>
                    <a:lnTo>
                      <a:pt x="152" y="129"/>
                    </a:lnTo>
                    <a:lnTo>
                      <a:pt x="145" y="105"/>
                    </a:lnTo>
                    <a:lnTo>
                      <a:pt x="145" y="100"/>
                    </a:lnTo>
                    <a:lnTo>
                      <a:pt x="130" y="100"/>
                    </a:lnTo>
                    <a:lnTo>
                      <a:pt x="115" y="84"/>
                    </a:lnTo>
                    <a:lnTo>
                      <a:pt x="115" y="77"/>
                    </a:lnTo>
                    <a:lnTo>
                      <a:pt x="108" y="55"/>
                    </a:lnTo>
                    <a:lnTo>
                      <a:pt x="58" y="38"/>
                    </a:lnTo>
                    <a:lnTo>
                      <a:pt x="50" y="23"/>
                    </a:lnTo>
                    <a:lnTo>
                      <a:pt x="50" y="0"/>
                    </a:lnTo>
                    <a:lnTo>
                      <a:pt x="31" y="0"/>
                    </a:lnTo>
                    <a:lnTo>
                      <a:pt x="15" y="18"/>
                    </a:lnTo>
                    <a:lnTo>
                      <a:pt x="0" y="18"/>
                    </a:lnTo>
                    <a:lnTo>
                      <a:pt x="8" y="38"/>
                    </a:lnTo>
                    <a:lnTo>
                      <a:pt x="0" y="92"/>
                    </a:lnTo>
                    <a:lnTo>
                      <a:pt x="8" y="100"/>
                    </a:lnTo>
                    <a:lnTo>
                      <a:pt x="0" y="122"/>
                    </a:lnTo>
                    <a:lnTo>
                      <a:pt x="8" y="144"/>
                    </a:lnTo>
                    <a:lnTo>
                      <a:pt x="15" y="203"/>
                    </a:lnTo>
                    <a:lnTo>
                      <a:pt x="21" y="203"/>
                    </a:lnTo>
                    <a:lnTo>
                      <a:pt x="43" y="181"/>
                    </a:lnTo>
                    <a:lnTo>
                      <a:pt x="65" y="198"/>
                    </a:lnTo>
                    <a:lnTo>
                      <a:pt x="73" y="181"/>
                    </a:lnTo>
                    <a:lnTo>
                      <a:pt x="95" y="198"/>
                    </a:lnTo>
                    <a:lnTo>
                      <a:pt x="102" y="144"/>
                    </a:lnTo>
                    <a:lnTo>
                      <a:pt x="139" y="144"/>
                    </a:lnTo>
                    <a:lnTo>
                      <a:pt x="152" y="159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25" name="Freeform 161"/>
              <p:cNvSpPr>
                <a:spLocks/>
              </p:cNvSpPr>
              <p:nvPr/>
            </p:nvSpPr>
            <p:spPr bwMode="auto">
              <a:xfrm>
                <a:off x="2849563" y="5507038"/>
                <a:ext cx="185737" cy="236537"/>
              </a:xfrm>
              <a:custGeom>
                <a:avLst/>
                <a:gdLst>
                  <a:gd name="T0" fmla="*/ 99 w 106"/>
                  <a:gd name="T1" fmla="*/ 100 h 135"/>
                  <a:gd name="T2" fmla="*/ 106 w 106"/>
                  <a:gd name="T3" fmla="*/ 78 h 135"/>
                  <a:gd name="T4" fmla="*/ 92 w 106"/>
                  <a:gd name="T5" fmla="*/ 69 h 135"/>
                  <a:gd name="T6" fmla="*/ 92 w 106"/>
                  <a:gd name="T7" fmla="*/ 56 h 135"/>
                  <a:gd name="T8" fmla="*/ 87 w 106"/>
                  <a:gd name="T9" fmla="*/ 56 h 135"/>
                  <a:gd name="T10" fmla="*/ 57 w 106"/>
                  <a:gd name="T11" fmla="*/ 37 h 135"/>
                  <a:gd name="T12" fmla="*/ 57 w 106"/>
                  <a:gd name="T13" fmla="*/ 16 h 135"/>
                  <a:gd name="T14" fmla="*/ 44 w 106"/>
                  <a:gd name="T15" fmla="*/ 0 h 135"/>
                  <a:gd name="T16" fmla="*/ 9 w 106"/>
                  <a:gd name="T17" fmla="*/ 0 h 135"/>
                  <a:gd name="T18" fmla="*/ 0 w 106"/>
                  <a:gd name="T19" fmla="*/ 56 h 135"/>
                  <a:gd name="T20" fmla="*/ 14 w 106"/>
                  <a:gd name="T21" fmla="*/ 78 h 135"/>
                  <a:gd name="T22" fmla="*/ 44 w 106"/>
                  <a:gd name="T23" fmla="*/ 78 h 135"/>
                  <a:gd name="T24" fmla="*/ 57 w 106"/>
                  <a:gd name="T25" fmla="*/ 100 h 135"/>
                  <a:gd name="T26" fmla="*/ 57 w 106"/>
                  <a:gd name="T27" fmla="*/ 106 h 135"/>
                  <a:gd name="T28" fmla="*/ 51 w 106"/>
                  <a:gd name="T29" fmla="*/ 121 h 135"/>
                  <a:gd name="T30" fmla="*/ 76 w 106"/>
                  <a:gd name="T31" fmla="*/ 135 h 135"/>
                  <a:gd name="T32" fmla="*/ 87 w 106"/>
                  <a:gd name="T33" fmla="*/ 121 h 135"/>
                  <a:gd name="T34" fmla="*/ 99 w 106"/>
                  <a:gd name="T35" fmla="*/ 115 h 135"/>
                  <a:gd name="T36" fmla="*/ 99 w 106"/>
                  <a:gd name="T37" fmla="*/ 100 h 135"/>
                  <a:gd name="T38" fmla="*/ 99 w 106"/>
                  <a:gd name="T39" fmla="*/ 100 h 135"/>
                  <a:gd name="T40" fmla="*/ 99 w 106"/>
                  <a:gd name="T41" fmla="*/ 10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06" h="135">
                    <a:moveTo>
                      <a:pt x="99" y="100"/>
                    </a:moveTo>
                    <a:lnTo>
                      <a:pt x="106" y="78"/>
                    </a:lnTo>
                    <a:lnTo>
                      <a:pt x="92" y="69"/>
                    </a:lnTo>
                    <a:lnTo>
                      <a:pt x="92" y="56"/>
                    </a:lnTo>
                    <a:lnTo>
                      <a:pt x="87" y="56"/>
                    </a:lnTo>
                    <a:lnTo>
                      <a:pt x="57" y="37"/>
                    </a:lnTo>
                    <a:lnTo>
                      <a:pt x="57" y="16"/>
                    </a:lnTo>
                    <a:lnTo>
                      <a:pt x="44" y="0"/>
                    </a:lnTo>
                    <a:lnTo>
                      <a:pt x="9" y="0"/>
                    </a:lnTo>
                    <a:lnTo>
                      <a:pt x="0" y="56"/>
                    </a:lnTo>
                    <a:lnTo>
                      <a:pt x="14" y="78"/>
                    </a:lnTo>
                    <a:lnTo>
                      <a:pt x="44" y="78"/>
                    </a:lnTo>
                    <a:lnTo>
                      <a:pt x="57" y="100"/>
                    </a:lnTo>
                    <a:lnTo>
                      <a:pt x="57" y="106"/>
                    </a:lnTo>
                    <a:lnTo>
                      <a:pt x="51" y="121"/>
                    </a:lnTo>
                    <a:lnTo>
                      <a:pt x="76" y="135"/>
                    </a:lnTo>
                    <a:lnTo>
                      <a:pt x="87" y="121"/>
                    </a:lnTo>
                    <a:lnTo>
                      <a:pt x="99" y="115"/>
                    </a:lnTo>
                    <a:lnTo>
                      <a:pt x="99" y="10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26" name="Freeform 162"/>
              <p:cNvSpPr>
                <a:spLocks/>
              </p:cNvSpPr>
              <p:nvPr/>
            </p:nvSpPr>
            <p:spPr bwMode="auto">
              <a:xfrm>
                <a:off x="2570163" y="4876800"/>
                <a:ext cx="930275" cy="1046163"/>
              </a:xfrm>
              <a:custGeom>
                <a:avLst/>
                <a:gdLst>
                  <a:gd name="T0" fmla="*/ 297 w 530"/>
                  <a:gd name="T1" fmla="*/ 25 h 598"/>
                  <a:gd name="T2" fmla="*/ 277 w 530"/>
                  <a:gd name="T3" fmla="*/ 55 h 598"/>
                  <a:gd name="T4" fmla="*/ 250 w 530"/>
                  <a:gd name="T5" fmla="*/ 47 h 598"/>
                  <a:gd name="T6" fmla="*/ 235 w 530"/>
                  <a:gd name="T7" fmla="*/ 55 h 598"/>
                  <a:gd name="T8" fmla="*/ 200 w 530"/>
                  <a:gd name="T9" fmla="*/ 64 h 598"/>
                  <a:gd name="T10" fmla="*/ 193 w 530"/>
                  <a:gd name="T11" fmla="*/ 0 h 598"/>
                  <a:gd name="T12" fmla="*/ 171 w 530"/>
                  <a:gd name="T13" fmla="*/ 17 h 598"/>
                  <a:gd name="T14" fmla="*/ 122 w 530"/>
                  <a:gd name="T15" fmla="*/ 17 h 598"/>
                  <a:gd name="T16" fmla="*/ 131 w 530"/>
                  <a:gd name="T17" fmla="*/ 47 h 598"/>
                  <a:gd name="T18" fmla="*/ 116 w 530"/>
                  <a:gd name="T19" fmla="*/ 71 h 598"/>
                  <a:gd name="T20" fmla="*/ 96 w 530"/>
                  <a:gd name="T21" fmla="*/ 64 h 598"/>
                  <a:gd name="T22" fmla="*/ 52 w 530"/>
                  <a:gd name="T23" fmla="*/ 55 h 598"/>
                  <a:gd name="T24" fmla="*/ 66 w 530"/>
                  <a:gd name="T25" fmla="*/ 71 h 598"/>
                  <a:gd name="T26" fmla="*/ 66 w 530"/>
                  <a:gd name="T27" fmla="*/ 99 h 598"/>
                  <a:gd name="T28" fmla="*/ 24 w 530"/>
                  <a:gd name="T29" fmla="*/ 155 h 598"/>
                  <a:gd name="T30" fmla="*/ 10 w 530"/>
                  <a:gd name="T31" fmla="*/ 220 h 598"/>
                  <a:gd name="T32" fmla="*/ 45 w 530"/>
                  <a:gd name="T33" fmla="*/ 220 h 598"/>
                  <a:gd name="T34" fmla="*/ 81 w 530"/>
                  <a:gd name="T35" fmla="*/ 235 h 598"/>
                  <a:gd name="T36" fmla="*/ 116 w 530"/>
                  <a:gd name="T37" fmla="*/ 220 h 598"/>
                  <a:gd name="T38" fmla="*/ 122 w 530"/>
                  <a:gd name="T39" fmla="*/ 257 h 598"/>
                  <a:gd name="T40" fmla="*/ 178 w 530"/>
                  <a:gd name="T41" fmla="*/ 298 h 598"/>
                  <a:gd name="T42" fmla="*/ 193 w 530"/>
                  <a:gd name="T43" fmla="*/ 319 h 598"/>
                  <a:gd name="T44" fmla="*/ 208 w 530"/>
                  <a:gd name="T45" fmla="*/ 326 h 598"/>
                  <a:gd name="T46" fmla="*/ 215 w 530"/>
                  <a:gd name="T47" fmla="*/ 402 h 598"/>
                  <a:gd name="T48" fmla="*/ 250 w 530"/>
                  <a:gd name="T49" fmla="*/ 419 h 598"/>
                  <a:gd name="T50" fmla="*/ 263 w 530"/>
                  <a:gd name="T51" fmla="*/ 439 h 598"/>
                  <a:gd name="T52" fmla="*/ 263 w 530"/>
                  <a:gd name="T53" fmla="*/ 462 h 598"/>
                  <a:gd name="T54" fmla="*/ 256 w 530"/>
                  <a:gd name="T55" fmla="*/ 498 h 598"/>
                  <a:gd name="T56" fmla="*/ 235 w 530"/>
                  <a:gd name="T57" fmla="*/ 545 h 598"/>
                  <a:gd name="T58" fmla="*/ 250 w 530"/>
                  <a:gd name="T59" fmla="*/ 551 h 598"/>
                  <a:gd name="T60" fmla="*/ 285 w 530"/>
                  <a:gd name="T61" fmla="*/ 575 h 598"/>
                  <a:gd name="T62" fmla="*/ 329 w 530"/>
                  <a:gd name="T63" fmla="*/ 519 h 598"/>
                  <a:gd name="T64" fmla="*/ 342 w 530"/>
                  <a:gd name="T65" fmla="*/ 469 h 598"/>
                  <a:gd name="T66" fmla="*/ 369 w 530"/>
                  <a:gd name="T67" fmla="*/ 439 h 598"/>
                  <a:gd name="T68" fmla="*/ 427 w 530"/>
                  <a:gd name="T69" fmla="*/ 424 h 598"/>
                  <a:gd name="T70" fmla="*/ 446 w 530"/>
                  <a:gd name="T71" fmla="*/ 402 h 598"/>
                  <a:gd name="T72" fmla="*/ 461 w 530"/>
                  <a:gd name="T73" fmla="*/ 365 h 598"/>
                  <a:gd name="T74" fmla="*/ 468 w 530"/>
                  <a:gd name="T75" fmla="*/ 343 h 598"/>
                  <a:gd name="T76" fmla="*/ 530 w 530"/>
                  <a:gd name="T77" fmla="*/ 190 h 598"/>
                  <a:gd name="T78" fmla="*/ 496 w 530"/>
                  <a:gd name="T79" fmla="*/ 155 h 598"/>
                  <a:gd name="T80" fmla="*/ 439 w 530"/>
                  <a:gd name="T81" fmla="*/ 121 h 598"/>
                  <a:gd name="T82" fmla="*/ 399 w 530"/>
                  <a:gd name="T83" fmla="*/ 116 h 598"/>
                  <a:gd name="T84" fmla="*/ 347 w 530"/>
                  <a:gd name="T85" fmla="*/ 92 h 598"/>
                  <a:gd name="T86" fmla="*/ 342 w 530"/>
                  <a:gd name="T87" fmla="*/ 77 h 598"/>
                  <a:gd name="T88" fmla="*/ 320 w 530"/>
                  <a:gd name="T89" fmla="*/ 99 h 598"/>
                  <a:gd name="T90" fmla="*/ 297 w 530"/>
                  <a:gd name="T91" fmla="*/ 99 h 598"/>
                  <a:gd name="T92" fmla="*/ 329 w 530"/>
                  <a:gd name="T93" fmla="*/ 64 h 598"/>
                  <a:gd name="T94" fmla="*/ 320 w 530"/>
                  <a:gd name="T95" fmla="*/ 55 h 598"/>
                  <a:gd name="T96" fmla="*/ 307 w 530"/>
                  <a:gd name="T97" fmla="*/ 25 h 5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30" h="598">
                    <a:moveTo>
                      <a:pt x="307" y="25"/>
                    </a:moveTo>
                    <a:lnTo>
                      <a:pt x="297" y="25"/>
                    </a:lnTo>
                    <a:lnTo>
                      <a:pt x="285" y="47"/>
                    </a:lnTo>
                    <a:lnTo>
                      <a:pt x="277" y="55"/>
                    </a:lnTo>
                    <a:lnTo>
                      <a:pt x="263" y="47"/>
                    </a:lnTo>
                    <a:lnTo>
                      <a:pt x="250" y="47"/>
                    </a:lnTo>
                    <a:lnTo>
                      <a:pt x="245" y="55"/>
                    </a:lnTo>
                    <a:lnTo>
                      <a:pt x="235" y="55"/>
                    </a:lnTo>
                    <a:lnTo>
                      <a:pt x="208" y="64"/>
                    </a:lnTo>
                    <a:lnTo>
                      <a:pt x="200" y="64"/>
                    </a:lnTo>
                    <a:lnTo>
                      <a:pt x="193" y="47"/>
                    </a:lnTo>
                    <a:lnTo>
                      <a:pt x="193" y="0"/>
                    </a:lnTo>
                    <a:lnTo>
                      <a:pt x="178" y="0"/>
                    </a:lnTo>
                    <a:lnTo>
                      <a:pt x="171" y="17"/>
                    </a:lnTo>
                    <a:lnTo>
                      <a:pt x="149" y="25"/>
                    </a:lnTo>
                    <a:lnTo>
                      <a:pt x="122" y="17"/>
                    </a:lnTo>
                    <a:lnTo>
                      <a:pt x="131" y="25"/>
                    </a:lnTo>
                    <a:lnTo>
                      <a:pt x="131" y="47"/>
                    </a:lnTo>
                    <a:lnTo>
                      <a:pt x="136" y="55"/>
                    </a:lnTo>
                    <a:lnTo>
                      <a:pt x="116" y="71"/>
                    </a:lnTo>
                    <a:lnTo>
                      <a:pt x="109" y="71"/>
                    </a:lnTo>
                    <a:lnTo>
                      <a:pt x="96" y="64"/>
                    </a:lnTo>
                    <a:lnTo>
                      <a:pt x="87" y="55"/>
                    </a:lnTo>
                    <a:lnTo>
                      <a:pt x="52" y="55"/>
                    </a:lnTo>
                    <a:lnTo>
                      <a:pt x="52" y="64"/>
                    </a:lnTo>
                    <a:lnTo>
                      <a:pt x="66" y="71"/>
                    </a:lnTo>
                    <a:lnTo>
                      <a:pt x="52" y="71"/>
                    </a:lnTo>
                    <a:lnTo>
                      <a:pt x="66" y="99"/>
                    </a:lnTo>
                    <a:lnTo>
                      <a:pt x="52" y="138"/>
                    </a:lnTo>
                    <a:lnTo>
                      <a:pt x="24" y="155"/>
                    </a:lnTo>
                    <a:lnTo>
                      <a:pt x="0" y="190"/>
                    </a:lnTo>
                    <a:lnTo>
                      <a:pt x="10" y="220"/>
                    </a:lnTo>
                    <a:lnTo>
                      <a:pt x="32" y="229"/>
                    </a:lnTo>
                    <a:lnTo>
                      <a:pt x="45" y="220"/>
                    </a:lnTo>
                    <a:lnTo>
                      <a:pt x="45" y="235"/>
                    </a:lnTo>
                    <a:lnTo>
                      <a:pt x="81" y="235"/>
                    </a:lnTo>
                    <a:lnTo>
                      <a:pt x="96" y="220"/>
                    </a:lnTo>
                    <a:lnTo>
                      <a:pt x="116" y="220"/>
                    </a:lnTo>
                    <a:lnTo>
                      <a:pt x="116" y="242"/>
                    </a:lnTo>
                    <a:lnTo>
                      <a:pt x="122" y="257"/>
                    </a:lnTo>
                    <a:lnTo>
                      <a:pt x="171" y="274"/>
                    </a:lnTo>
                    <a:lnTo>
                      <a:pt x="178" y="298"/>
                    </a:lnTo>
                    <a:lnTo>
                      <a:pt x="178" y="304"/>
                    </a:lnTo>
                    <a:lnTo>
                      <a:pt x="193" y="319"/>
                    </a:lnTo>
                    <a:lnTo>
                      <a:pt x="208" y="319"/>
                    </a:lnTo>
                    <a:lnTo>
                      <a:pt x="208" y="326"/>
                    </a:lnTo>
                    <a:lnTo>
                      <a:pt x="215" y="350"/>
                    </a:lnTo>
                    <a:lnTo>
                      <a:pt x="215" y="402"/>
                    </a:lnTo>
                    <a:lnTo>
                      <a:pt x="245" y="419"/>
                    </a:lnTo>
                    <a:lnTo>
                      <a:pt x="250" y="419"/>
                    </a:lnTo>
                    <a:lnTo>
                      <a:pt x="250" y="432"/>
                    </a:lnTo>
                    <a:lnTo>
                      <a:pt x="263" y="439"/>
                    </a:lnTo>
                    <a:lnTo>
                      <a:pt x="256" y="462"/>
                    </a:lnTo>
                    <a:lnTo>
                      <a:pt x="263" y="462"/>
                    </a:lnTo>
                    <a:lnTo>
                      <a:pt x="277" y="484"/>
                    </a:lnTo>
                    <a:lnTo>
                      <a:pt x="256" y="498"/>
                    </a:lnTo>
                    <a:lnTo>
                      <a:pt x="221" y="545"/>
                    </a:lnTo>
                    <a:lnTo>
                      <a:pt x="235" y="545"/>
                    </a:lnTo>
                    <a:lnTo>
                      <a:pt x="245" y="551"/>
                    </a:lnTo>
                    <a:lnTo>
                      <a:pt x="250" y="551"/>
                    </a:lnTo>
                    <a:lnTo>
                      <a:pt x="277" y="566"/>
                    </a:lnTo>
                    <a:lnTo>
                      <a:pt x="285" y="575"/>
                    </a:lnTo>
                    <a:lnTo>
                      <a:pt x="277" y="598"/>
                    </a:lnTo>
                    <a:lnTo>
                      <a:pt x="329" y="519"/>
                    </a:lnTo>
                    <a:lnTo>
                      <a:pt x="342" y="508"/>
                    </a:lnTo>
                    <a:lnTo>
                      <a:pt x="342" y="469"/>
                    </a:lnTo>
                    <a:lnTo>
                      <a:pt x="347" y="445"/>
                    </a:lnTo>
                    <a:lnTo>
                      <a:pt x="369" y="439"/>
                    </a:lnTo>
                    <a:lnTo>
                      <a:pt x="399" y="424"/>
                    </a:lnTo>
                    <a:lnTo>
                      <a:pt x="427" y="424"/>
                    </a:lnTo>
                    <a:lnTo>
                      <a:pt x="427" y="419"/>
                    </a:lnTo>
                    <a:lnTo>
                      <a:pt x="446" y="402"/>
                    </a:lnTo>
                    <a:lnTo>
                      <a:pt x="446" y="395"/>
                    </a:lnTo>
                    <a:lnTo>
                      <a:pt x="461" y="365"/>
                    </a:lnTo>
                    <a:lnTo>
                      <a:pt x="461" y="350"/>
                    </a:lnTo>
                    <a:lnTo>
                      <a:pt x="468" y="343"/>
                    </a:lnTo>
                    <a:lnTo>
                      <a:pt x="468" y="274"/>
                    </a:lnTo>
                    <a:lnTo>
                      <a:pt x="530" y="190"/>
                    </a:lnTo>
                    <a:lnTo>
                      <a:pt x="525" y="155"/>
                    </a:lnTo>
                    <a:lnTo>
                      <a:pt x="496" y="155"/>
                    </a:lnTo>
                    <a:lnTo>
                      <a:pt x="454" y="116"/>
                    </a:lnTo>
                    <a:lnTo>
                      <a:pt x="439" y="121"/>
                    </a:lnTo>
                    <a:lnTo>
                      <a:pt x="412" y="116"/>
                    </a:lnTo>
                    <a:lnTo>
                      <a:pt x="399" y="116"/>
                    </a:lnTo>
                    <a:lnTo>
                      <a:pt x="399" y="99"/>
                    </a:lnTo>
                    <a:lnTo>
                      <a:pt x="347" y="92"/>
                    </a:lnTo>
                    <a:lnTo>
                      <a:pt x="342" y="99"/>
                    </a:lnTo>
                    <a:lnTo>
                      <a:pt x="342" y="77"/>
                    </a:lnTo>
                    <a:lnTo>
                      <a:pt x="320" y="77"/>
                    </a:lnTo>
                    <a:lnTo>
                      <a:pt x="320" y="99"/>
                    </a:lnTo>
                    <a:lnTo>
                      <a:pt x="307" y="92"/>
                    </a:lnTo>
                    <a:lnTo>
                      <a:pt x="297" y="99"/>
                    </a:lnTo>
                    <a:lnTo>
                      <a:pt x="307" y="77"/>
                    </a:lnTo>
                    <a:lnTo>
                      <a:pt x="329" y="64"/>
                    </a:lnTo>
                    <a:lnTo>
                      <a:pt x="329" y="55"/>
                    </a:lnTo>
                    <a:lnTo>
                      <a:pt x="320" y="55"/>
                    </a:lnTo>
                    <a:lnTo>
                      <a:pt x="307" y="25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27" name="Freeform 163"/>
              <p:cNvSpPr>
                <a:spLocks/>
              </p:cNvSpPr>
              <p:nvPr/>
            </p:nvSpPr>
            <p:spPr bwMode="auto">
              <a:xfrm>
                <a:off x="3035300" y="4872038"/>
                <a:ext cx="57150" cy="98425"/>
              </a:xfrm>
              <a:custGeom>
                <a:avLst/>
                <a:gdLst>
                  <a:gd name="T0" fmla="*/ 0 w 33"/>
                  <a:gd name="T1" fmla="*/ 50 h 57"/>
                  <a:gd name="T2" fmla="*/ 13 w 33"/>
                  <a:gd name="T3" fmla="*/ 57 h 57"/>
                  <a:gd name="T4" fmla="*/ 22 w 33"/>
                  <a:gd name="T5" fmla="*/ 50 h 57"/>
                  <a:gd name="T6" fmla="*/ 33 w 33"/>
                  <a:gd name="T7" fmla="*/ 28 h 57"/>
                  <a:gd name="T8" fmla="*/ 0 w 33"/>
                  <a:gd name="T9" fmla="*/ 0 h 57"/>
                  <a:gd name="T10" fmla="*/ 0 w 33"/>
                  <a:gd name="T11" fmla="*/ 50 h 57"/>
                  <a:gd name="T12" fmla="*/ 0 w 33"/>
                  <a:gd name="T13" fmla="*/ 50 h 57"/>
                  <a:gd name="T14" fmla="*/ 0 w 33"/>
                  <a:gd name="T15" fmla="*/ 5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3" h="57">
                    <a:moveTo>
                      <a:pt x="0" y="50"/>
                    </a:moveTo>
                    <a:lnTo>
                      <a:pt x="13" y="57"/>
                    </a:lnTo>
                    <a:lnTo>
                      <a:pt x="22" y="50"/>
                    </a:lnTo>
                    <a:lnTo>
                      <a:pt x="33" y="28"/>
                    </a:lnTo>
                    <a:lnTo>
                      <a:pt x="0" y="0"/>
                    </a:lnTo>
                    <a:lnTo>
                      <a:pt x="0" y="5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28" name="Freeform 164"/>
              <p:cNvSpPr>
                <a:spLocks/>
              </p:cNvSpPr>
              <p:nvPr/>
            </p:nvSpPr>
            <p:spPr bwMode="auto">
              <a:xfrm>
                <a:off x="2943225" y="4872038"/>
                <a:ext cx="92075" cy="98425"/>
              </a:xfrm>
              <a:custGeom>
                <a:avLst/>
                <a:gdLst>
                  <a:gd name="T0" fmla="*/ 52 w 52"/>
                  <a:gd name="T1" fmla="*/ 50 h 57"/>
                  <a:gd name="T2" fmla="*/ 52 w 52"/>
                  <a:gd name="T3" fmla="*/ 0 h 57"/>
                  <a:gd name="T4" fmla="*/ 22 w 52"/>
                  <a:gd name="T5" fmla="*/ 0 h 57"/>
                  <a:gd name="T6" fmla="*/ 0 w 52"/>
                  <a:gd name="T7" fmla="*/ 21 h 57"/>
                  <a:gd name="T8" fmla="*/ 22 w 52"/>
                  <a:gd name="T9" fmla="*/ 57 h 57"/>
                  <a:gd name="T10" fmla="*/ 32 w 52"/>
                  <a:gd name="T11" fmla="*/ 57 h 57"/>
                  <a:gd name="T12" fmla="*/ 38 w 52"/>
                  <a:gd name="T13" fmla="*/ 50 h 57"/>
                  <a:gd name="T14" fmla="*/ 52 w 52"/>
                  <a:gd name="T15" fmla="*/ 50 h 57"/>
                  <a:gd name="T16" fmla="*/ 52 w 52"/>
                  <a:gd name="T17" fmla="*/ 5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2" h="57">
                    <a:moveTo>
                      <a:pt x="52" y="50"/>
                    </a:moveTo>
                    <a:lnTo>
                      <a:pt x="52" y="0"/>
                    </a:lnTo>
                    <a:lnTo>
                      <a:pt x="22" y="0"/>
                    </a:lnTo>
                    <a:lnTo>
                      <a:pt x="0" y="21"/>
                    </a:lnTo>
                    <a:lnTo>
                      <a:pt x="22" y="57"/>
                    </a:lnTo>
                    <a:lnTo>
                      <a:pt x="32" y="57"/>
                    </a:lnTo>
                    <a:lnTo>
                      <a:pt x="38" y="50"/>
                    </a:lnTo>
                    <a:lnTo>
                      <a:pt x="52" y="5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29" name="Freeform 165"/>
              <p:cNvSpPr>
                <a:spLocks/>
              </p:cNvSpPr>
              <p:nvPr/>
            </p:nvSpPr>
            <p:spPr bwMode="auto">
              <a:xfrm>
                <a:off x="2870200" y="4792663"/>
                <a:ext cx="111125" cy="200025"/>
              </a:xfrm>
              <a:custGeom>
                <a:avLst/>
                <a:gdLst>
                  <a:gd name="T0" fmla="*/ 24 w 64"/>
                  <a:gd name="T1" fmla="*/ 0 h 113"/>
                  <a:gd name="T2" fmla="*/ 37 w 64"/>
                  <a:gd name="T3" fmla="*/ 17 h 113"/>
                  <a:gd name="T4" fmla="*/ 37 w 64"/>
                  <a:gd name="T5" fmla="*/ 23 h 113"/>
                  <a:gd name="T6" fmla="*/ 44 w 64"/>
                  <a:gd name="T7" fmla="*/ 23 h 113"/>
                  <a:gd name="T8" fmla="*/ 64 w 64"/>
                  <a:gd name="T9" fmla="*/ 40 h 113"/>
                  <a:gd name="T10" fmla="*/ 44 w 64"/>
                  <a:gd name="T11" fmla="*/ 62 h 113"/>
                  <a:gd name="T12" fmla="*/ 64 w 64"/>
                  <a:gd name="T13" fmla="*/ 102 h 113"/>
                  <a:gd name="T14" fmla="*/ 37 w 64"/>
                  <a:gd name="T15" fmla="*/ 113 h 113"/>
                  <a:gd name="T16" fmla="*/ 32 w 64"/>
                  <a:gd name="T17" fmla="*/ 113 h 113"/>
                  <a:gd name="T18" fmla="*/ 24 w 64"/>
                  <a:gd name="T19" fmla="*/ 94 h 113"/>
                  <a:gd name="T20" fmla="*/ 24 w 64"/>
                  <a:gd name="T21" fmla="*/ 47 h 113"/>
                  <a:gd name="T22" fmla="*/ 8 w 64"/>
                  <a:gd name="T23" fmla="*/ 47 h 113"/>
                  <a:gd name="T24" fmla="*/ 0 w 64"/>
                  <a:gd name="T25" fmla="*/ 40 h 113"/>
                  <a:gd name="T26" fmla="*/ 0 w 64"/>
                  <a:gd name="T27" fmla="*/ 23 h 113"/>
                  <a:gd name="T28" fmla="*/ 8 w 64"/>
                  <a:gd name="T29" fmla="*/ 23 h 113"/>
                  <a:gd name="T30" fmla="*/ 8 w 64"/>
                  <a:gd name="T31" fmla="*/ 17 h 113"/>
                  <a:gd name="T32" fmla="*/ 24 w 64"/>
                  <a:gd name="T33" fmla="*/ 0 h 113"/>
                  <a:gd name="T34" fmla="*/ 24 w 64"/>
                  <a:gd name="T35" fmla="*/ 0 h 113"/>
                  <a:gd name="T36" fmla="*/ 24 w 64"/>
                  <a:gd name="T37" fmla="*/ 0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4" h="113">
                    <a:moveTo>
                      <a:pt x="24" y="0"/>
                    </a:moveTo>
                    <a:lnTo>
                      <a:pt x="37" y="17"/>
                    </a:lnTo>
                    <a:lnTo>
                      <a:pt x="37" y="23"/>
                    </a:lnTo>
                    <a:lnTo>
                      <a:pt x="44" y="23"/>
                    </a:lnTo>
                    <a:lnTo>
                      <a:pt x="64" y="40"/>
                    </a:lnTo>
                    <a:lnTo>
                      <a:pt x="44" y="62"/>
                    </a:lnTo>
                    <a:lnTo>
                      <a:pt x="64" y="102"/>
                    </a:lnTo>
                    <a:lnTo>
                      <a:pt x="37" y="113"/>
                    </a:lnTo>
                    <a:lnTo>
                      <a:pt x="32" y="113"/>
                    </a:lnTo>
                    <a:lnTo>
                      <a:pt x="24" y="94"/>
                    </a:lnTo>
                    <a:lnTo>
                      <a:pt x="24" y="47"/>
                    </a:lnTo>
                    <a:lnTo>
                      <a:pt x="8" y="47"/>
                    </a:lnTo>
                    <a:lnTo>
                      <a:pt x="0" y="40"/>
                    </a:lnTo>
                    <a:lnTo>
                      <a:pt x="0" y="23"/>
                    </a:lnTo>
                    <a:lnTo>
                      <a:pt x="8" y="23"/>
                    </a:lnTo>
                    <a:lnTo>
                      <a:pt x="8" y="17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30" name="Freeform 166"/>
              <p:cNvSpPr>
                <a:spLocks/>
              </p:cNvSpPr>
              <p:nvPr/>
            </p:nvSpPr>
            <p:spPr bwMode="auto">
              <a:xfrm>
                <a:off x="2590800" y="4708525"/>
                <a:ext cx="320675" cy="292100"/>
              </a:xfrm>
              <a:custGeom>
                <a:avLst/>
                <a:gdLst>
                  <a:gd name="T0" fmla="*/ 183 w 183"/>
                  <a:gd name="T1" fmla="*/ 52 h 167"/>
                  <a:gd name="T2" fmla="*/ 167 w 183"/>
                  <a:gd name="T3" fmla="*/ 69 h 167"/>
                  <a:gd name="T4" fmla="*/ 167 w 183"/>
                  <a:gd name="T5" fmla="*/ 76 h 167"/>
                  <a:gd name="T6" fmla="*/ 161 w 183"/>
                  <a:gd name="T7" fmla="*/ 76 h 167"/>
                  <a:gd name="T8" fmla="*/ 161 w 183"/>
                  <a:gd name="T9" fmla="*/ 93 h 167"/>
                  <a:gd name="T10" fmla="*/ 167 w 183"/>
                  <a:gd name="T11" fmla="*/ 96 h 167"/>
                  <a:gd name="T12" fmla="*/ 161 w 183"/>
                  <a:gd name="T13" fmla="*/ 114 h 167"/>
                  <a:gd name="T14" fmla="*/ 137 w 183"/>
                  <a:gd name="T15" fmla="*/ 121 h 167"/>
                  <a:gd name="T16" fmla="*/ 112 w 183"/>
                  <a:gd name="T17" fmla="*/ 114 h 167"/>
                  <a:gd name="T18" fmla="*/ 119 w 183"/>
                  <a:gd name="T19" fmla="*/ 121 h 167"/>
                  <a:gd name="T20" fmla="*/ 119 w 183"/>
                  <a:gd name="T21" fmla="*/ 143 h 167"/>
                  <a:gd name="T22" fmla="*/ 126 w 183"/>
                  <a:gd name="T23" fmla="*/ 150 h 167"/>
                  <a:gd name="T24" fmla="*/ 105 w 183"/>
                  <a:gd name="T25" fmla="*/ 167 h 167"/>
                  <a:gd name="T26" fmla="*/ 97 w 183"/>
                  <a:gd name="T27" fmla="*/ 167 h 167"/>
                  <a:gd name="T28" fmla="*/ 85 w 183"/>
                  <a:gd name="T29" fmla="*/ 158 h 167"/>
                  <a:gd name="T30" fmla="*/ 75 w 183"/>
                  <a:gd name="T31" fmla="*/ 150 h 167"/>
                  <a:gd name="T32" fmla="*/ 75 w 183"/>
                  <a:gd name="T33" fmla="*/ 128 h 167"/>
                  <a:gd name="T34" fmla="*/ 70 w 183"/>
                  <a:gd name="T35" fmla="*/ 114 h 167"/>
                  <a:gd name="T36" fmla="*/ 75 w 183"/>
                  <a:gd name="T37" fmla="*/ 84 h 167"/>
                  <a:gd name="T38" fmla="*/ 55 w 183"/>
                  <a:gd name="T39" fmla="*/ 84 h 167"/>
                  <a:gd name="T40" fmla="*/ 43 w 183"/>
                  <a:gd name="T41" fmla="*/ 76 h 167"/>
                  <a:gd name="T42" fmla="*/ 22 w 183"/>
                  <a:gd name="T43" fmla="*/ 76 h 167"/>
                  <a:gd name="T44" fmla="*/ 12 w 183"/>
                  <a:gd name="T45" fmla="*/ 69 h 167"/>
                  <a:gd name="T46" fmla="*/ 12 w 183"/>
                  <a:gd name="T47" fmla="*/ 52 h 167"/>
                  <a:gd name="T48" fmla="*/ 0 w 183"/>
                  <a:gd name="T49" fmla="*/ 37 h 167"/>
                  <a:gd name="T50" fmla="*/ 22 w 183"/>
                  <a:gd name="T51" fmla="*/ 9 h 167"/>
                  <a:gd name="T52" fmla="*/ 27 w 183"/>
                  <a:gd name="T53" fmla="*/ 22 h 167"/>
                  <a:gd name="T54" fmla="*/ 22 w 183"/>
                  <a:gd name="T55" fmla="*/ 29 h 167"/>
                  <a:gd name="T56" fmla="*/ 22 w 183"/>
                  <a:gd name="T57" fmla="*/ 46 h 167"/>
                  <a:gd name="T58" fmla="*/ 27 w 183"/>
                  <a:gd name="T59" fmla="*/ 37 h 167"/>
                  <a:gd name="T60" fmla="*/ 27 w 183"/>
                  <a:gd name="T61" fmla="*/ 22 h 167"/>
                  <a:gd name="T62" fmla="*/ 43 w 183"/>
                  <a:gd name="T63" fmla="*/ 9 h 167"/>
                  <a:gd name="T64" fmla="*/ 43 w 183"/>
                  <a:gd name="T65" fmla="*/ 0 h 167"/>
                  <a:gd name="T66" fmla="*/ 43 w 183"/>
                  <a:gd name="T67" fmla="*/ 9 h 167"/>
                  <a:gd name="T68" fmla="*/ 70 w 183"/>
                  <a:gd name="T69" fmla="*/ 9 h 167"/>
                  <a:gd name="T70" fmla="*/ 70 w 183"/>
                  <a:gd name="T71" fmla="*/ 22 h 167"/>
                  <a:gd name="T72" fmla="*/ 97 w 183"/>
                  <a:gd name="T73" fmla="*/ 22 h 167"/>
                  <a:gd name="T74" fmla="*/ 112 w 183"/>
                  <a:gd name="T75" fmla="*/ 29 h 167"/>
                  <a:gd name="T76" fmla="*/ 126 w 183"/>
                  <a:gd name="T77" fmla="*/ 22 h 167"/>
                  <a:gd name="T78" fmla="*/ 147 w 183"/>
                  <a:gd name="T79" fmla="*/ 22 h 167"/>
                  <a:gd name="T80" fmla="*/ 137 w 183"/>
                  <a:gd name="T81" fmla="*/ 22 h 167"/>
                  <a:gd name="T82" fmla="*/ 161 w 183"/>
                  <a:gd name="T83" fmla="*/ 37 h 167"/>
                  <a:gd name="T84" fmla="*/ 161 w 183"/>
                  <a:gd name="T85" fmla="*/ 52 h 167"/>
                  <a:gd name="T86" fmla="*/ 167 w 183"/>
                  <a:gd name="T87" fmla="*/ 46 h 167"/>
                  <a:gd name="T88" fmla="*/ 183 w 183"/>
                  <a:gd name="T89" fmla="*/ 52 h 167"/>
                  <a:gd name="T90" fmla="*/ 183 w 183"/>
                  <a:gd name="T91" fmla="*/ 52 h 167"/>
                  <a:gd name="T92" fmla="*/ 183 w 183"/>
                  <a:gd name="T93" fmla="*/ 52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83" h="167">
                    <a:moveTo>
                      <a:pt x="183" y="52"/>
                    </a:moveTo>
                    <a:lnTo>
                      <a:pt x="167" y="69"/>
                    </a:lnTo>
                    <a:lnTo>
                      <a:pt x="167" y="76"/>
                    </a:lnTo>
                    <a:lnTo>
                      <a:pt x="161" y="76"/>
                    </a:lnTo>
                    <a:lnTo>
                      <a:pt x="161" y="93"/>
                    </a:lnTo>
                    <a:lnTo>
                      <a:pt x="167" y="96"/>
                    </a:lnTo>
                    <a:lnTo>
                      <a:pt x="161" y="114"/>
                    </a:lnTo>
                    <a:lnTo>
                      <a:pt x="137" y="121"/>
                    </a:lnTo>
                    <a:lnTo>
                      <a:pt x="112" y="114"/>
                    </a:lnTo>
                    <a:lnTo>
                      <a:pt x="119" y="121"/>
                    </a:lnTo>
                    <a:lnTo>
                      <a:pt x="119" y="143"/>
                    </a:lnTo>
                    <a:lnTo>
                      <a:pt x="126" y="150"/>
                    </a:lnTo>
                    <a:lnTo>
                      <a:pt x="105" y="167"/>
                    </a:lnTo>
                    <a:lnTo>
                      <a:pt x="97" y="167"/>
                    </a:lnTo>
                    <a:lnTo>
                      <a:pt x="85" y="158"/>
                    </a:lnTo>
                    <a:lnTo>
                      <a:pt x="75" y="150"/>
                    </a:lnTo>
                    <a:lnTo>
                      <a:pt x="75" y="128"/>
                    </a:lnTo>
                    <a:lnTo>
                      <a:pt x="70" y="114"/>
                    </a:lnTo>
                    <a:lnTo>
                      <a:pt x="75" y="84"/>
                    </a:lnTo>
                    <a:lnTo>
                      <a:pt x="55" y="84"/>
                    </a:lnTo>
                    <a:lnTo>
                      <a:pt x="43" y="76"/>
                    </a:lnTo>
                    <a:lnTo>
                      <a:pt x="22" y="76"/>
                    </a:lnTo>
                    <a:lnTo>
                      <a:pt x="12" y="69"/>
                    </a:lnTo>
                    <a:lnTo>
                      <a:pt x="12" y="52"/>
                    </a:lnTo>
                    <a:lnTo>
                      <a:pt x="0" y="37"/>
                    </a:lnTo>
                    <a:lnTo>
                      <a:pt x="22" y="9"/>
                    </a:lnTo>
                    <a:lnTo>
                      <a:pt x="27" y="22"/>
                    </a:lnTo>
                    <a:lnTo>
                      <a:pt x="22" y="29"/>
                    </a:lnTo>
                    <a:lnTo>
                      <a:pt x="22" y="46"/>
                    </a:lnTo>
                    <a:lnTo>
                      <a:pt x="27" y="37"/>
                    </a:lnTo>
                    <a:lnTo>
                      <a:pt x="27" y="22"/>
                    </a:lnTo>
                    <a:lnTo>
                      <a:pt x="43" y="9"/>
                    </a:lnTo>
                    <a:lnTo>
                      <a:pt x="43" y="0"/>
                    </a:lnTo>
                    <a:lnTo>
                      <a:pt x="43" y="9"/>
                    </a:lnTo>
                    <a:lnTo>
                      <a:pt x="70" y="9"/>
                    </a:lnTo>
                    <a:lnTo>
                      <a:pt x="70" y="22"/>
                    </a:lnTo>
                    <a:lnTo>
                      <a:pt x="97" y="22"/>
                    </a:lnTo>
                    <a:lnTo>
                      <a:pt x="112" y="29"/>
                    </a:lnTo>
                    <a:lnTo>
                      <a:pt x="126" y="22"/>
                    </a:lnTo>
                    <a:lnTo>
                      <a:pt x="147" y="22"/>
                    </a:lnTo>
                    <a:lnTo>
                      <a:pt x="137" y="22"/>
                    </a:lnTo>
                    <a:lnTo>
                      <a:pt x="161" y="37"/>
                    </a:lnTo>
                    <a:lnTo>
                      <a:pt x="161" y="52"/>
                    </a:lnTo>
                    <a:lnTo>
                      <a:pt x="167" y="46"/>
                    </a:lnTo>
                    <a:lnTo>
                      <a:pt x="183" y="52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31" name="Freeform 167"/>
              <p:cNvSpPr>
                <a:spLocks/>
              </p:cNvSpPr>
              <p:nvPr/>
            </p:nvSpPr>
            <p:spPr bwMode="auto">
              <a:xfrm>
                <a:off x="2628900" y="4500563"/>
                <a:ext cx="84138" cy="65087"/>
              </a:xfrm>
              <a:custGeom>
                <a:avLst/>
                <a:gdLst>
                  <a:gd name="T0" fmla="*/ 0 w 48"/>
                  <a:gd name="T1" fmla="*/ 28 h 37"/>
                  <a:gd name="T2" fmla="*/ 0 w 48"/>
                  <a:gd name="T3" fmla="*/ 0 h 37"/>
                  <a:gd name="T4" fmla="*/ 21 w 48"/>
                  <a:gd name="T5" fmla="*/ 0 h 37"/>
                  <a:gd name="T6" fmla="*/ 21 w 48"/>
                  <a:gd name="T7" fmla="*/ 7 h 37"/>
                  <a:gd name="T8" fmla="*/ 35 w 48"/>
                  <a:gd name="T9" fmla="*/ 7 h 37"/>
                  <a:gd name="T10" fmla="*/ 48 w 48"/>
                  <a:gd name="T11" fmla="*/ 22 h 37"/>
                  <a:gd name="T12" fmla="*/ 42 w 48"/>
                  <a:gd name="T13" fmla="*/ 28 h 37"/>
                  <a:gd name="T14" fmla="*/ 42 w 48"/>
                  <a:gd name="T15" fmla="*/ 22 h 37"/>
                  <a:gd name="T16" fmla="*/ 13 w 48"/>
                  <a:gd name="T17" fmla="*/ 28 h 37"/>
                  <a:gd name="T18" fmla="*/ 13 w 48"/>
                  <a:gd name="T19" fmla="*/ 22 h 37"/>
                  <a:gd name="T20" fmla="*/ 6 w 48"/>
                  <a:gd name="T21" fmla="*/ 28 h 37"/>
                  <a:gd name="T22" fmla="*/ 6 w 48"/>
                  <a:gd name="T23" fmla="*/ 37 h 37"/>
                  <a:gd name="T24" fmla="*/ 0 w 48"/>
                  <a:gd name="T25" fmla="*/ 28 h 37"/>
                  <a:gd name="T26" fmla="*/ 0 w 48"/>
                  <a:gd name="T27" fmla="*/ 28 h 37"/>
                  <a:gd name="T28" fmla="*/ 0 w 48"/>
                  <a:gd name="T29" fmla="*/ 2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37">
                    <a:moveTo>
                      <a:pt x="0" y="28"/>
                    </a:moveTo>
                    <a:lnTo>
                      <a:pt x="0" y="0"/>
                    </a:lnTo>
                    <a:lnTo>
                      <a:pt x="21" y="0"/>
                    </a:lnTo>
                    <a:lnTo>
                      <a:pt x="21" y="7"/>
                    </a:lnTo>
                    <a:lnTo>
                      <a:pt x="35" y="7"/>
                    </a:lnTo>
                    <a:lnTo>
                      <a:pt x="48" y="22"/>
                    </a:lnTo>
                    <a:lnTo>
                      <a:pt x="42" y="28"/>
                    </a:lnTo>
                    <a:lnTo>
                      <a:pt x="42" y="22"/>
                    </a:lnTo>
                    <a:lnTo>
                      <a:pt x="13" y="28"/>
                    </a:lnTo>
                    <a:lnTo>
                      <a:pt x="13" y="22"/>
                    </a:lnTo>
                    <a:lnTo>
                      <a:pt x="6" y="28"/>
                    </a:lnTo>
                    <a:lnTo>
                      <a:pt x="6" y="37"/>
                    </a:lnTo>
                    <a:lnTo>
                      <a:pt x="0" y="28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32" name="Freeform 168"/>
              <p:cNvSpPr>
                <a:spLocks/>
              </p:cNvSpPr>
              <p:nvPr/>
            </p:nvSpPr>
            <p:spPr bwMode="auto">
              <a:xfrm>
                <a:off x="2565400" y="4500563"/>
                <a:ext cx="63500" cy="44450"/>
              </a:xfrm>
              <a:custGeom>
                <a:avLst/>
                <a:gdLst>
                  <a:gd name="T0" fmla="*/ 37 w 37"/>
                  <a:gd name="T1" fmla="*/ 25 h 25"/>
                  <a:gd name="T2" fmla="*/ 37 w 37"/>
                  <a:gd name="T3" fmla="*/ 0 h 25"/>
                  <a:gd name="T4" fmla="*/ 15 w 37"/>
                  <a:gd name="T5" fmla="*/ 0 h 25"/>
                  <a:gd name="T6" fmla="*/ 27 w 37"/>
                  <a:gd name="T7" fmla="*/ 22 h 25"/>
                  <a:gd name="T8" fmla="*/ 0 w 37"/>
                  <a:gd name="T9" fmla="*/ 25 h 25"/>
                  <a:gd name="T10" fmla="*/ 37 w 37"/>
                  <a:gd name="T11" fmla="*/ 25 h 25"/>
                  <a:gd name="T12" fmla="*/ 37 w 37"/>
                  <a:gd name="T13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" h="25">
                    <a:moveTo>
                      <a:pt x="37" y="25"/>
                    </a:moveTo>
                    <a:lnTo>
                      <a:pt x="37" y="0"/>
                    </a:lnTo>
                    <a:lnTo>
                      <a:pt x="15" y="0"/>
                    </a:lnTo>
                    <a:lnTo>
                      <a:pt x="27" y="22"/>
                    </a:lnTo>
                    <a:lnTo>
                      <a:pt x="0" y="25"/>
                    </a:lnTo>
                    <a:lnTo>
                      <a:pt x="37" y="25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33" name="Freeform 169"/>
              <p:cNvSpPr>
                <a:spLocks/>
              </p:cNvSpPr>
              <p:nvPr/>
            </p:nvSpPr>
            <p:spPr bwMode="auto">
              <a:xfrm>
                <a:off x="2938463" y="5827713"/>
                <a:ext cx="141287" cy="133350"/>
              </a:xfrm>
              <a:custGeom>
                <a:avLst/>
                <a:gdLst>
                  <a:gd name="T0" fmla="*/ 72 w 80"/>
                  <a:gd name="T1" fmla="*/ 53 h 75"/>
                  <a:gd name="T2" fmla="*/ 80 w 80"/>
                  <a:gd name="T3" fmla="*/ 30 h 75"/>
                  <a:gd name="T4" fmla="*/ 72 w 80"/>
                  <a:gd name="T5" fmla="*/ 21 h 75"/>
                  <a:gd name="T6" fmla="*/ 43 w 80"/>
                  <a:gd name="T7" fmla="*/ 6 h 75"/>
                  <a:gd name="T8" fmla="*/ 36 w 80"/>
                  <a:gd name="T9" fmla="*/ 6 h 75"/>
                  <a:gd name="T10" fmla="*/ 26 w 80"/>
                  <a:gd name="T11" fmla="*/ 0 h 75"/>
                  <a:gd name="T12" fmla="*/ 13 w 80"/>
                  <a:gd name="T13" fmla="*/ 0 h 75"/>
                  <a:gd name="T14" fmla="*/ 0 w 80"/>
                  <a:gd name="T15" fmla="*/ 58 h 75"/>
                  <a:gd name="T16" fmla="*/ 6 w 80"/>
                  <a:gd name="T17" fmla="*/ 58 h 75"/>
                  <a:gd name="T18" fmla="*/ 36 w 80"/>
                  <a:gd name="T19" fmla="*/ 75 h 75"/>
                  <a:gd name="T20" fmla="*/ 58 w 80"/>
                  <a:gd name="T21" fmla="*/ 75 h 75"/>
                  <a:gd name="T22" fmla="*/ 72 w 80"/>
                  <a:gd name="T23" fmla="*/ 53 h 75"/>
                  <a:gd name="T24" fmla="*/ 72 w 80"/>
                  <a:gd name="T25" fmla="*/ 53 h 75"/>
                  <a:gd name="T26" fmla="*/ 72 w 80"/>
                  <a:gd name="T27" fmla="*/ 53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0" h="75">
                    <a:moveTo>
                      <a:pt x="72" y="53"/>
                    </a:moveTo>
                    <a:lnTo>
                      <a:pt x="80" y="30"/>
                    </a:lnTo>
                    <a:lnTo>
                      <a:pt x="72" y="21"/>
                    </a:lnTo>
                    <a:lnTo>
                      <a:pt x="43" y="6"/>
                    </a:lnTo>
                    <a:lnTo>
                      <a:pt x="36" y="6"/>
                    </a:lnTo>
                    <a:lnTo>
                      <a:pt x="26" y="0"/>
                    </a:lnTo>
                    <a:lnTo>
                      <a:pt x="13" y="0"/>
                    </a:lnTo>
                    <a:lnTo>
                      <a:pt x="0" y="58"/>
                    </a:lnTo>
                    <a:lnTo>
                      <a:pt x="6" y="58"/>
                    </a:lnTo>
                    <a:lnTo>
                      <a:pt x="36" y="75"/>
                    </a:lnTo>
                    <a:lnTo>
                      <a:pt x="58" y="75"/>
                    </a:lnTo>
                    <a:lnTo>
                      <a:pt x="72" y="53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34" name="Freeform 170"/>
              <p:cNvSpPr>
                <a:spLocks/>
              </p:cNvSpPr>
              <p:nvPr/>
            </p:nvSpPr>
            <p:spPr bwMode="auto">
              <a:xfrm>
                <a:off x="2476500" y="4540250"/>
                <a:ext cx="36513" cy="46038"/>
              </a:xfrm>
              <a:custGeom>
                <a:avLst/>
                <a:gdLst>
                  <a:gd name="T0" fmla="*/ 0 w 21"/>
                  <a:gd name="T1" fmla="*/ 10 h 26"/>
                  <a:gd name="T2" fmla="*/ 13 w 21"/>
                  <a:gd name="T3" fmla="*/ 26 h 26"/>
                  <a:gd name="T4" fmla="*/ 21 w 21"/>
                  <a:gd name="T5" fmla="*/ 10 h 26"/>
                  <a:gd name="T6" fmla="*/ 6 w 21"/>
                  <a:gd name="T7" fmla="*/ 0 h 26"/>
                  <a:gd name="T8" fmla="*/ 0 w 21"/>
                  <a:gd name="T9" fmla="*/ 10 h 26"/>
                  <a:gd name="T10" fmla="*/ 0 w 21"/>
                  <a:gd name="T11" fmla="*/ 10 h 26"/>
                  <a:gd name="T12" fmla="*/ 0 w 21"/>
                  <a:gd name="T13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" h="26">
                    <a:moveTo>
                      <a:pt x="0" y="10"/>
                    </a:moveTo>
                    <a:lnTo>
                      <a:pt x="13" y="26"/>
                    </a:lnTo>
                    <a:lnTo>
                      <a:pt x="21" y="10"/>
                    </a:lnTo>
                    <a:lnTo>
                      <a:pt x="6" y="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35" name="Freeform 171"/>
              <p:cNvSpPr>
                <a:spLocks/>
              </p:cNvSpPr>
              <p:nvPr/>
            </p:nvSpPr>
            <p:spPr bwMode="auto">
              <a:xfrm>
                <a:off x="2325688" y="4410075"/>
                <a:ext cx="236537" cy="90488"/>
              </a:xfrm>
              <a:custGeom>
                <a:avLst/>
                <a:gdLst>
                  <a:gd name="T0" fmla="*/ 0 w 134"/>
                  <a:gd name="T1" fmla="*/ 22 h 52"/>
                  <a:gd name="T2" fmla="*/ 7 w 134"/>
                  <a:gd name="T3" fmla="*/ 22 h 52"/>
                  <a:gd name="T4" fmla="*/ 22 w 134"/>
                  <a:gd name="T5" fmla="*/ 6 h 52"/>
                  <a:gd name="T6" fmla="*/ 44 w 134"/>
                  <a:gd name="T7" fmla="*/ 13 h 52"/>
                  <a:gd name="T8" fmla="*/ 35 w 134"/>
                  <a:gd name="T9" fmla="*/ 13 h 52"/>
                  <a:gd name="T10" fmla="*/ 44 w 134"/>
                  <a:gd name="T11" fmla="*/ 13 h 52"/>
                  <a:gd name="T12" fmla="*/ 77 w 134"/>
                  <a:gd name="T13" fmla="*/ 22 h 52"/>
                  <a:gd name="T14" fmla="*/ 86 w 134"/>
                  <a:gd name="T15" fmla="*/ 45 h 52"/>
                  <a:gd name="T16" fmla="*/ 99 w 134"/>
                  <a:gd name="T17" fmla="*/ 45 h 52"/>
                  <a:gd name="T18" fmla="*/ 94 w 134"/>
                  <a:gd name="T19" fmla="*/ 52 h 52"/>
                  <a:gd name="T20" fmla="*/ 134 w 134"/>
                  <a:gd name="T21" fmla="*/ 52 h 52"/>
                  <a:gd name="T22" fmla="*/ 127 w 134"/>
                  <a:gd name="T23" fmla="*/ 45 h 52"/>
                  <a:gd name="T24" fmla="*/ 121 w 134"/>
                  <a:gd name="T25" fmla="*/ 45 h 52"/>
                  <a:gd name="T26" fmla="*/ 121 w 134"/>
                  <a:gd name="T27" fmla="*/ 28 h 52"/>
                  <a:gd name="T28" fmla="*/ 44 w 134"/>
                  <a:gd name="T29" fmla="*/ 0 h 52"/>
                  <a:gd name="T30" fmla="*/ 14 w 134"/>
                  <a:gd name="T31" fmla="*/ 6 h 52"/>
                  <a:gd name="T32" fmla="*/ 0 w 134"/>
                  <a:gd name="T33" fmla="*/ 22 h 52"/>
                  <a:gd name="T34" fmla="*/ 0 w 134"/>
                  <a:gd name="T35" fmla="*/ 22 h 52"/>
                  <a:gd name="T36" fmla="*/ 0 w 134"/>
                  <a:gd name="T37" fmla="*/ 2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4" h="52">
                    <a:moveTo>
                      <a:pt x="0" y="22"/>
                    </a:moveTo>
                    <a:lnTo>
                      <a:pt x="7" y="22"/>
                    </a:lnTo>
                    <a:lnTo>
                      <a:pt x="22" y="6"/>
                    </a:lnTo>
                    <a:lnTo>
                      <a:pt x="44" y="13"/>
                    </a:lnTo>
                    <a:lnTo>
                      <a:pt x="35" y="13"/>
                    </a:lnTo>
                    <a:lnTo>
                      <a:pt x="44" y="13"/>
                    </a:lnTo>
                    <a:lnTo>
                      <a:pt x="77" y="22"/>
                    </a:lnTo>
                    <a:lnTo>
                      <a:pt x="86" y="45"/>
                    </a:lnTo>
                    <a:lnTo>
                      <a:pt x="99" y="45"/>
                    </a:lnTo>
                    <a:lnTo>
                      <a:pt x="94" y="52"/>
                    </a:lnTo>
                    <a:lnTo>
                      <a:pt x="134" y="52"/>
                    </a:lnTo>
                    <a:lnTo>
                      <a:pt x="127" y="45"/>
                    </a:lnTo>
                    <a:lnTo>
                      <a:pt x="121" y="45"/>
                    </a:lnTo>
                    <a:lnTo>
                      <a:pt x="121" y="28"/>
                    </a:lnTo>
                    <a:lnTo>
                      <a:pt x="44" y="0"/>
                    </a:lnTo>
                    <a:lnTo>
                      <a:pt x="14" y="6"/>
                    </a:lnTo>
                    <a:lnTo>
                      <a:pt x="0" y="22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36" name="Freeform 172"/>
              <p:cNvSpPr>
                <a:spLocks/>
              </p:cNvSpPr>
              <p:nvPr/>
            </p:nvSpPr>
            <p:spPr bwMode="auto">
              <a:xfrm>
                <a:off x="2495550" y="4344988"/>
                <a:ext cx="44450" cy="47625"/>
              </a:xfrm>
              <a:custGeom>
                <a:avLst/>
                <a:gdLst>
                  <a:gd name="T0" fmla="*/ 0 w 25"/>
                  <a:gd name="T1" fmla="*/ 0 h 27"/>
                  <a:gd name="T2" fmla="*/ 0 w 25"/>
                  <a:gd name="T3" fmla="*/ 10 h 27"/>
                  <a:gd name="T4" fmla="*/ 25 w 25"/>
                  <a:gd name="T5" fmla="*/ 27 h 27"/>
                  <a:gd name="T6" fmla="*/ 25 w 25"/>
                  <a:gd name="T7" fmla="*/ 10 h 27"/>
                  <a:gd name="T8" fmla="*/ 0 w 25"/>
                  <a:gd name="T9" fmla="*/ 0 h 27"/>
                  <a:gd name="T10" fmla="*/ 0 w 25"/>
                  <a:gd name="T11" fmla="*/ 0 h 27"/>
                  <a:gd name="T12" fmla="*/ 0 w 25"/>
                  <a:gd name="T13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" h="27">
                    <a:moveTo>
                      <a:pt x="0" y="0"/>
                    </a:moveTo>
                    <a:lnTo>
                      <a:pt x="0" y="10"/>
                    </a:lnTo>
                    <a:lnTo>
                      <a:pt x="25" y="27"/>
                    </a:lnTo>
                    <a:lnTo>
                      <a:pt x="25" y="1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37" name="Freeform 173"/>
              <p:cNvSpPr>
                <a:spLocks/>
              </p:cNvSpPr>
              <p:nvPr/>
            </p:nvSpPr>
            <p:spPr bwMode="auto">
              <a:xfrm>
                <a:off x="2478088" y="4351338"/>
                <a:ext cx="38100" cy="58737"/>
              </a:xfrm>
              <a:custGeom>
                <a:avLst/>
                <a:gdLst>
                  <a:gd name="T0" fmla="*/ 0 w 22"/>
                  <a:gd name="T1" fmla="*/ 0 h 34"/>
                  <a:gd name="T2" fmla="*/ 0 w 22"/>
                  <a:gd name="T3" fmla="*/ 10 h 34"/>
                  <a:gd name="T4" fmla="*/ 22 w 22"/>
                  <a:gd name="T5" fmla="*/ 34 h 34"/>
                  <a:gd name="T6" fmla="*/ 22 w 22"/>
                  <a:gd name="T7" fmla="*/ 10 h 34"/>
                  <a:gd name="T8" fmla="*/ 0 w 22"/>
                  <a:gd name="T9" fmla="*/ 0 h 34"/>
                  <a:gd name="T10" fmla="*/ 0 w 22"/>
                  <a:gd name="T11" fmla="*/ 0 h 34"/>
                  <a:gd name="T12" fmla="*/ 0 w 22"/>
                  <a:gd name="T13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2" h="34">
                    <a:moveTo>
                      <a:pt x="0" y="0"/>
                    </a:moveTo>
                    <a:lnTo>
                      <a:pt x="0" y="10"/>
                    </a:lnTo>
                    <a:lnTo>
                      <a:pt x="22" y="34"/>
                    </a:lnTo>
                    <a:lnTo>
                      <a:pt x="22" y="1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38" name="Freeform 174"/>
              <p:cNvSpPr>
                <a:spLocks/>
              </p:cNvSpPr>
              <p:nvPr/>
            </p:nvSpPr>
            <p:spPr bwMode="auto">
              <a:xfrm>
                <a:off x="4891088" y="4156075"/>
                <a:ext cx="276225" cy="292100"/>
              </a:xfrm>
              <a:custGeom>
                <a:avLst/>
                <a:gdLst>
                  <a:gd name="T0" fmla="*/ 158 w 158"/>
                  <a:gd name="T1" fmla="*/ 151 h 167"/>
                  <a:gd name="T2" fmla="*/ 127 w 158"/>
                  <a:gd name="T3" fmla="*/ 167 h 167"/>
                  <a:gd name="T4" fmla="*/ 122 w 158"/>
                  <a:gd name="T5" fmla="*/ 158 h 167"/>
                  <a:gd name="T6" fmla="*/ 7 w 158"/>
                  <a:gd name="T7" fmla="*/ 158 h 167"/>
                  <a:gd name="T8" fmla="*/ 7 w 158"/>
                  <a:gd name="T9" fmla="*/ 52 h 167"/>
                  <a:gd name="T10" fmla="*/ 0 w 158"/>
                  <a:gd name="T11" fmla="*/ 37 h 167"/>
                  <a:gd name="T12" fmla="*/ 7 w 158"/>
                  <a:gd name="T13" fmla="*/ 0 h 167"/>
                  <a:gd name="T14" fmla="*/ 7 w 158"/>
                  <a:gd name="T15" fmla="*/ 15 h 167"/>
                  <a:gd name="T16" fmla="*/ 35 w 158"/>
                  <a:gd name="T17" fmla="*/ 15 h 167"/>
                  <a:gd name="T18" fmla="*/ 57 w 158"/>
                  <a:gd name="T19" fmla="*/ 24 h 167"/>
                  <a:gd name="T20" fmla="*/ 92 w 158"/>
                  <a:gd name="T21" fmla="*/ 15 h 167"/>
                  <a:gd name="T22" fmla="*/ 101 w 158"/>
                  <a:gd name="T23" fmla="*/ 15 h 167"/>
                  <a:gd name="T24" fmla="*/ 101 w 158"/>
                  <a:gd name="T25" fmla="*/ 24 h 167"/>
                  <a:gd name="T26" fmla="*/ 116 w 158"/>
                  <a:gd name="T27" fmla="*/ 15 h 167"/>
                  <a:gd name="T28" fmla="*/ 116 w 158"/>
                  <a:gd name="T29" fmla="*/ 24 h 167"/>
                  <a:gd name="T30" fmla="*/ 127 w 158"/>
                  <a:gd name="T31" fmla="*/ 15 h 167"/>
                  <a:gd name="T32" fmla="*/ 136 w 158"/>
                  <a:gd name="T33" fmla="*/ 47 h 167"/>
                  <a:gd name="T34" fmla="*/ 127 w 158"/>
                  <a:gd name="T35" fmla="*/ 76 h 167"/>
                  <a:gd name="T36" fmla="*/ 116 w 158"/>
                  <a:gd name="T37" fmla="*/ 30 h 167"/>
                  <a:gd name="T38" fmla="*/ 116 w 158"/>
                  <a:gd name="T39" fmla="*/ 47 h 167"/>
                  <a:gd name="T40" fmla="*/ 158 w 158"/>
                  <a:gd name="T41" fmla="*/ 151 h 167"/>
                  <a:gd name="T42" fmla="*/ 158 w 158"/>
                  <a:gd name="T43" fmla="*/ 151 h 167"/>
                  <a:gd name="T44" fmla="*/ 158 w 158"/>
                  <a:gd name="T45" fmla="*/ 151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58" h="167">
                    <a:moveTo>
                      <a:pt x="158" y="151"/>
                    </a:moveTo>
                    <a:lnTo>
                      <a:pt x="127" y="167"/>
                    </a:lnTo>
                    <a:lnTo>
                      <a:pt x="122" y="158"/>
                    </a:lnTo>
                    <a:lnTo>
                      <a:pt x="7" y="158"/>
                    </a:lnTo>
                    <a:lnTo>
                      <a:pt x="7" y="52"/>
                    </a:lnTo>
                    <a:lnTo>
                      <a:pt x="0" y="37"/>
                    </a:lnTo>
                    <a:lnTo>
                      <a:pt x="7" y="0"/>
                    </a:lnTo>
                    <a:lnTo>
                      <a:pt x="7" y="15"/>
                    </a:lnTo>
                    <a:lnTo>
                      <a:pt x="35" y="15"/>
                    </a:lnTo>
                    <a:lnTo>
                      <a:pt x="57" y="24"/>
                    </a:lnTo>
                    <a:lnTo>
                      <a:pt x="92" y="15"/>
                    </a:lnTo>
                    <a:lnTo>
                      <a:pt x="101" y="15"/>
                    </a:lnTo>
                    <a:lnTo>
                      <a:pt x="101" y="24"/>
                    </a:lnTo>
                    <a:lnTo>
                      <a:pt x="116" y="15"/>
                    </a:lnTo>
                    <a:lnTo>
                      <a:pt x="116" y="24"/>
                    </a:lnTo>
                    <a:lnTo>
                      <a:pt x="127" y="15"/>
                    </a:lnTo>
                    <a:lnTo>
                      <a:pt x="136" y="47"/>
                    </a:lnTo>
                    <a:lnTo>
                      <a:pt x="127" y="76"/>
                    </a:lnTo>
                    <a:lnTo>
                      <a:pt x="116" y="30"/>
                    </a:lnTo>
                    <a:lnTo>
                      <a:pt x="116" y="47"/>
                    </a:lnTo>
                    <a:lnTo>
                      <a:pt x="158" y="151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39" name="Freeform 175"/>
              <p:cNvSpPr>
                <a:spLocks/>
              </p:cNvSpPr>
              <p:nvPr/>
            </p:nvSpPr>
            <p:spPr bwMode="auto">
              <a:xfrm>
                <a:off x="4546600" y="4133850"/>
                <a:ext cx="358775" cy="371475"/>
              </a:xfrm>
              <a:custGeom>
                <a:avLst/>
                <a:gdLst>
                  <a:gd name="T0" fmla="*/ 29 w 204"/>
                  <a:gd name="T1" fmla="*/ 156 h 213"/>
                  <a:gd name="T2" fmla="*/ 20 w 204"/>
                  <a:gd name="T3" fmla="*/ 134 h 213"/>
                  <a:gd name="T4" fmla="*/ 15 w 204"/>
                  <a:gd name="T5" fmla="*/ 134 h 213"/>
                  <a:gd name="T6" fmla="*/ 0 w 204"/>
                  <a:gd name="T7" fmla="*/ 112 h 213"/>
                  <a:gd name="T8" fmla="*/ 8 w 204"/>
                  <a:gd name="T9" fmla="*/ 97 h 213"/>
                  <a:gd name="T10" fmla="*/ 8 w 204"/>
                  <a:gd name="T11" fmla="*/ 62 h 213"/>
                  <a:gd name="T12" fmla="*/ 0 w 204"/>
                  <a:gd name="T13" fmla="*/ 50 h 213"/>
                  <a:gd name="T14" fmla="*/ 0 w 204"/>
                  <a:gd name="T15" fmla="*/ 43 h 213"/>
                  <a:gd name="T16" fmla="*/ 8 w 204"/>
                  <a:gd name="T17" fmla="*/ 38 h 213"/>
                  <a:gd name="T18" fmla="*/ 8 w 204"/>
                  <a:gd name="T19" fmla="*/ 28 h 213"/>
                  <a:gd name="T20" fmla="*/ 20 w 204"/>
                  <a:gd name="T21" fmla="*/ 8 h 213"/>
                  <a:gd name="T22" fmla="*/ 20 w 204"/>
                  <a:gd name="T23" fmla="*/ 0 h 213"/>
                  <a:gd name="T24" fmla="*/ 40 w 204"/>
                  <a:gd name="T25" fmla="*/ 0 h 213"/>
                  <a:gd name="T26" fmla="*/ 64 w 204"/>
                  <a:gd name="T27" fmla="*/ 8 h 213"/>
                  <a:gd name="T28" fmla="*/ 85 w 204"/>
                  <a:gd name="T29" fmla="*/ 8 h 213"/>
                  <a:gd name="T30" fmla="*/ 85 w 204"/>
                  <a:gd name="T31" fmla="*/ 28 h 213"/>
                  <a:gd name="T32" fmla="*/ 134 w 204"/>
                  <a:gd name="T33" fmla="*/ 43 h 213"/>
                  <a:gd name="T34" fmla="*/ 141 w 204"/>
                  <a:gd name="T35" fmla="*/ 38 h 213"/>
                  <a:gd name="T36" fmla="*/ 141 w 204"/>
                  <a:gd name="T37" fmla="*/ 17 h 213"/>
                  <a:gd name="T38" fmla="*/ 163 w 204"/>
                  <a:gd name="T39" fmla="*/ 0 h 213"/>
                  <a:gd name="T40" fmla="*/ 184 w 204"/>
                  <a:gd name="T41" fmla="*/ 8 h 213"/>
                  <a:gd name="T42" fmla="*/ 184 w 204"/>
                  <a:gd name="T43" fmla="*/ 17 h 213"/>
                  <a:gd name="T44" fmla="*/ 204 w 204"/>
                  <a:gd name="T45" fmla="*/ 17 h 213"/>
                  <a:gd name="T46" fmla="*/ 199 w 204"/>
                  <a:gd name="T47" fmla="*/ 50 h 213"/>
                  <a:gd name="T48" fmla="*/ 204 w 204"/>
                  <a:gd name="T49" fmla="*/ 67 h 213"/>
                  <a:gd name="T50" fmla="*/ 204 w 204"/>
                  <a:gd name="T51" fmla="*/ 200 h 213"/>
                  <a:gd name="T52" fmla="*/ 199 w 204"/>
                  <a:gd name="T53" fmla="*/ 208 h 213"/>
                  <a:gd name="T54" fmla="*/ 191 w 204"/>
                  <a:gd name="T55" fmla="*/ 213 h 213"/>
                  <a:gd name="T56" fmla="*/ 94 w 204"/>
                  <a:gd name="T57" fmla="*/ 156 h 213"/>
                  <a:gd name="T58" fmla="*/ 70 w 204"/>
                  <a:gd name="T59" fmla="*/ 163 h 213"/>
                  <a:gd name="T60" fmla="*/ 64 w 204"/>
                  <a:gd name="T61" fmla="*/ 156 h 213"/>
                  <a:gd name="T62" fmla="*/ 29 w 204"/>
                  <a:gd name="T63" fmla="*/ 156 h 213"/>
                  <a:gd name="T64" fmla="*/ 29 w 204"/>
                  <a:gd name="T65" fmla="*/ 156 h 213"/>
                  <a:gd name="T66" fmla="*/ 29 w 204"/>
                  <a:gd name="T67" fmla="*/ 156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04" h="213">
                    <a:moveTo>
                      <a:pt x="29" y="156"/>
                    </a:moveTo>
                    <a:lnTo>
                      <a:pt x="20" y="134"/>
                    </a:lnTo>
                    <a:lnTo>
                      <a:pt x="15" y="134"/>
                    </a:lnTo>
                    <a:lnTo>
                      <a:pt x="0" y="112"/>
                    </a:lnTo>
                    <a:lnTo>
                      <a:pt x="8" y="97"/>
                    </a:lnTo>
                    <a:lnTo>
                      <a:pt x="8" y="62"/>
                    </a:lnTo>
                    <a:lnTo>
                      <a:pt x="0" y="50"/>
                    </a:lnTo>
                    <a:lnTo>
                      <a:pt x="0" y="43"/>
                    </a:lnTo>
                    <a:lnTo>
                      <a:pt x="8" y="38"/>
                    </a:lnTo>
                    <a:lnTo>
                      <a:pt x="8" y="28"/>
                    </a:lnTo>
                    <a:lnTo>
                      <a:pt x="20" y="8"/>
                    </a:lnTo>
                    <a:lnTo>
                      <a:pt x="20" y="0"/>
                    </a:lnTo>
                    <a:lnTo>
                      <a:pt x="40" y="0"/>
                    </a:lnTo>
                    <a:lnTo>
                      <a:pt x="64" y="8"/>
                    </a:lnTo>
                    <a:lnTo>
                      <a:pt x="85" y="8"/>
                    </a:lnTo>
                    <a:lnTo>
                      <a:pt x="85" y="28"/>
                    </a:lnTo>
                    <a:lnTo>
                      <a:pt x="134" y="43"/>
                    </a:lnTo>
                    <a:lnTo>
                      <a:pt x="141" y="38"/>
                    </a:lnTo>
                    <a:lnTo>
                      <a:pt x="141" y="17"/>
                    </a:lnTo>
                    <a:lnTo>
                      <a:pt x="163" y="0"/>
                    </a:lnTo>
                    <a:lnTo>
                      <a:pt x="184" y="8"/>
                    </a:lnTo>
                    <a:lnTo>
                      <a:pt x="184" y="17"/>
                    </a:lnTo>
                    <a:lnTo>
                      <a:pt x="204" y="17"/>
                    </a:lnTo>
                    <a:lnTo>
                      <a:pt x="199" y="50"/>
                    </a:lnTo>
                    <a:lnTo>
                      <a:pt x="204" y="67"/>
                    </a:lnTo>
                    <a:lnTo>
                      <a:pt x="204" y="200"/>
                    </a:lnTo>
                    <a:lnTo>
                      <a:pt x="199" y="208"/>
                    </a:lnTo>
                    <a:lnTo>
                      <a:pt x="191" y="213"/>
                    </a:lnTo>
                    <a:lnTo>
                      <a:pt x="94" y="156"/>
                    </a:lnTo>
                    <a:lnTo>
                      <a:pt x="70" y="163"/>
                    </a:lnTo>
                    <a:lnTo>
                      <a:pt x="64" y="156"/>
                    </a:lnTo>
                    <a:lnTo>
                      <a:pt x="29" y="156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40" name="Freeform 176"/>
              <p:cNvSpPr>
                <a:spLocks/>
              </p:cNvSpPr>
              <p:nvPr/>
            </p:nvSpPr>
            <p:spPr bwMode="auto">
              <a:xfrm>
                <a:off x="4119563" y="4003675"/>
                <a:ext cx="484187" cy="501650"/>
              </a:xfrm>
              <a:custGeom>
                <a:avLst/>
                <a:gdLst>
                  <a:gd name="T0" fmla="*/ 87 w 275"/>
                  <a:gd name="T1" fmla="*/ 33 h 287"/>
                  <a:gd name="T2" fmla="*/ 94 w 275"/>
                  <a:gd name="T3" fmla="*/ 33 h 287"/>
                  <a:gd name="T4" fmla="*/ 101 w 275"/>
                  <a:gd name="T5" fmla="*/ 79 h 287"/>
                  <a:gd name="T6" fmla="*/ 65 w 275"/>
                  <a:gd name="T7" fmla="*/ 87 h 287"/>
                  <a:gd name="T8" fmla="*/ 65 w 275"/>
                  <a:gd name="T9" fmla="*/ 101 h 287"/>
                  <a:gd name="T10" fmla="*/ 0 w 275"/>
                  <a:gd name="T11" fmla="*/ 138 h 287"/>
                  <a:gd name="T12" fmla="*/ 0 w 275"/>
                  <a:gd name="T13" fmla="*/ 163 h 287"/>
                  <a:gd name="T14" fmla="*/ 129 w 275"/>
                  <a:gd name="T15" fmla="*/ 257 h 287"/>
                  <a:gd name="T16" fmla="*/ 136 w 275"/>
                  <a:gd name="T17" fmla="*/ 274 h 287"/>
                  <a:gd name="T18" fmla="*/ 166 w 275"/>
                  <a:gd name="T19" fmla="*/ 287 h 287"/>
                  <a:gd name="T20" fmla="*/ 188 w 275"/>
                  <a:gd name="T21" fmla="*/ 287 h 287"/>
                  <a:gd name="T22" fmla="*/ 275 w 275"/>
                  <a:gd name="T23" fmla="*/ 228 h 287"/>
                  <a:gd name="T24" fmla="*/ 265 w 275"/>
                  <a:gd name="T25" fmla="*/ 207 h 287"/>
                  <a:gd name="T26" fmla="*/ 260 w 275"/>
                  <a:gd name="T27" fmla="*/ 207 h 287"/>
                  <a:gd name="T28" fmla="*/ 243 w 275"/>
                  <a:gd name="T29" fmla="*/ 185 h 287"/>
                  <a:gd name="T30" fmla="*/ 251 w 275"/>
                  <a:gd name="T31" fmla="*/ 170 h 287"/>
                  <a:gd name="T32" fmla="*/ 251 w 275"/>
                  <a:gd name="T33" fmla="*/ 134 h 287"/>
                  <a:gd name="T34" fmla="*/ 243 w 275"/>
                  <a:gd name="T35" fmla="*/ 124 h 287"/>
                  <a:gd name="T36" fmla="*/ 243 w 275"/>
                  <a:gd name="T37" fmla="*/ 87 h 287"/>
                  <a:gd name="T38" fmla="*/ 221 w 275"/>
                  <a:gd name="T39" fmla="*/ 79 h 287"/>
                  <a:gd name="T40" fmla="*/ 215 w 275"/>
                  <a:gd name="T41" fmla="*/ 65 h 287"/>
                  <a:gd name="T42" fmla="*/ 230 w 275"/>
                  <a:gd name="T43" fmla="*/ 42 h 287"/>
                  <a:gd name="T44" fmla="*/ 221 w 275"/>
                  <a:gd name="T45" fmla="*/ 6 h 287"/>
                  <a:gd name="T46" fmla="*/ 230 w 275"/>
                  <a:gd name="T47" fmla="*/ 0 h 287"/>
                  <a:gd name="T48" fmla="*/ 221 w 275"/>
                  <a:gd name="T49" fmla="*/ 6 h 287"/>
                  <a:gd name="T50" fmla="*/ 201 w 275"/>
                  <a:gd name="T51" fmla="*/ 0 h 287"/>
                  <a:gd name="T52" fmla="*/ 188 w 275"/>
                  <a:gd name="T53" fmla="*/ 6 h 287"/>
                  <a:gd name="T54" fmla="*/ 173 w 275"/>
                  <a:gd name="T55" fmla="*/ 0 h 287"/>
                  <a:gd name="T56" fmla="*/ 151 w 275"/>
                  <a:gd name="T57" fmla="*/ 6 h 287"/>
                  <a:gd name="T58" fmla="*/ 129 w 275"/>
                  <a:gd name="T59" fmla="*/ 6 h 287"/>
                  <a:gd name="T60" fmla="*/ 87 w 275"/>
                  <a:gd name="T61" fmla="*/ 33 h 287"/>
                  <a:gd name="T62" fmla="*/ 87 w 275"/>
                  <a:gd name="T63" fmla="*/ 33 h 287"/>
                  <a:gd name="T64" fmla="*/ 87 w 275"/>
                  <a:gd name="T65" fmla="*/ 33 h 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75" h="287">
                    <a:moveTo>
                      <a:pt x="87" y="33"/>
                    </a:moveTo>
                    <a:lnTo>
                      <a:pt x="94" y="33"/>
                    </a:lnTo>
                    <a:lnTo>
                      <a:pt x="101" y="79"/>
                    </a:lnTo>
                    <a:lnTo>
                      <a:pt x="65" y="87"/>
                    </a:lnTo>
                    <a:lnTo>
                      <a:pt x="65" y="101"/>
                    </a:lnTo>
                    <a:lnTo>
                      <a:pt x="0" y="138"/>
                    </a:lnTo>
                    <a:lnTo>
                      <a:pt x="0" y="163"/>
                    </a:lnTo>
                    <a:lnTo>
                      <a:pt x="129" y="257"/>
                    </a:lnTo>
                    <a:lnTo>
                      <a:pt x="136" y="274"/>
                    </a:lnTo>
                    <a:lnTo>
                      <a:pt x="166" y="287"/>
                    </a:lnTo>
                    <a:lnTo>
                      <a:pt x="188" y="287"/>
                    </a:lnTo>
                    <a:lnTo>
                      <a:pt x="275" y="228"/>
                    </a:lnTo>
                    <a:lnTo>
                      <a:pt x="265" y="207"/>
                    </a:lnTo>
                    <a:lnTo>
                      <a:pt x="260" y="207"/>
                    </a:lnTo>
                    <a:lnTo>
                      <a:pt x="243" y="185"/>
                    </a:lnTo>
                    <a:lnTo>
                      <a:pt x="251" y="170"/>
                    </a:lnTo>
                    <a:lnTo>
                      <a:pt x="251" y="134"/>
                    </a:lnTo>
                    <a:lnTo>
                      <a:pt x="243" y="124"/>
                    </a:lnTo>
                    <a:lnTo>
                      <a:pt x="243" y="87"/>
                    </a:lnTo>
                    <a:lnTo>
                      <a:pt x="221" y="79"/>
                    </a:lnTo>
                    <a:lnTo>
                      <a:pt x="215" y="65"/>
                    </a:lnTo>
                    <a:lnTo>
                      <a:pt x="230" y="42"/>
                    </a:lnTo>
                    <a:lnTo>
                      <a:pt x="221" y="6"/>
                    </a:lnTo>
                    <a:lnTo>
                      <a:pt x="230" y="0"/>
                    </a:lnTo>
                    <a:lnTo>
                      <a:pt x="221" y="6"/>
                    </a:lnTo>
                    <a:lnTo>
                      <a:pt x="201" y="0"/>
                    </a:lnTo>
                    <a:lnTo>
                      <a:pt x="188" y="6"/>
                    </a:lnTo>
                    <a:lnTo>
                      <a:pt x="173" y="0"/>
                    </a:lnTo>
                    <a:lnTo>
                      <a:pt x="151" y="6"/>
                    </a:lnTo>
                    <a:lnTo>
                      <a:pt x="129" y="6"/>
                    </a:lnTo>
                    <a:lnTo>
                      <a:pt x="87" y="33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41" name="Freeform 177"/>
              <p:cNvSpPr>
                <a:spLocks/>
              </p:cNvSpPr>
              <p:nvPr/>
            </p:nvSpPr>
            <p:spPr bwMode="auto">
              <a:xfrm>
                <a:off x="4032250" y="4351338"/>
                <a:ext cx="392113" cy="403225"/>
              </a:xfrm>
              <a:custGeom>
                <a:avLst/>
                <a:gdLst>
                  <a:gd name="T0" fmla="*/ 100 w 223"/>
                  <a:gd name="T1" fmla="*/ 0 h 232"/>
                  <a:gd name="T2" fmla="*/ 179 w 223"/>
                  <a:gd name="T3" fmla="*/ 61 h 232"/>
                  <a:gd name="T4" fmla="*/ 186 w 223"/>
                  <a:gd name="T5" fmla="*/ 76 h 232"/>
                  <a:gd name="T6" fmla="*/ 216 w 223"/>
                  <a:gd name="T7" fmla="*/ 91 h 232"/>
                  <a:gd name="T8" fmla="*/ 223 w 223"/>
                  <a:gd name="T9" fmla="*/ 91 h 232"/>
                  <a:gd name="T10" fmla="*/ 223 w 223"/>
                  <a:gd name="T11" fmla="*/ 136 h 232"/>
                  <a:gd name="T12" fmla="*/ 216 w 223"/>
                  <a:gd name="T13" fmla="*/ 150 h 232"/>
                  <a:gd name="T14" fmla="*/ 151 w 223"/>
                  <a:gd name="T15" fmla="*/ 158 h 232"/>
                  <a:gd name="T16" fmla="*/ 137 w 223"/>
                  <a:gd name="T17" fmla="*/ 173 h 232"/>
                  <a:gd name="T18" fmla="*/ 115 w 223"/>
                  <a:gd name="T19" fmla="*/ 180 h 232"/>
                  <a:gd name="T20" fmla="*/ 94 w 223"/>
                  <a:gd name="T21" fmla="*/ 225 h 232"/>
                  <a:gd name="T22" fmla="*/ 87 w 223"/>
                  <a:gd name="T23" fmla="*/ 232 h 232"/>
                  <a:gd name="T24" fmla="*/ 72 w 223"/>
                  <a:gd name="T25" fmla="*/ 225 h 232"/>
                  <a:gd name="T26" fmla="*/ 65 w 223"/>
                  <a:gd name="T27" fmla="*/ 232 h 232"/>
                  <a:gd name="T28" fmla="*/ 57 w 223"/>
                  <a:gd name="T29" fmla="*/ 232 h 232"/>
                  <a:gd name="T30" fmla="*/ 42 w 223"/>
                  <a:gd name="T31" fmla="*/ 197 h 232"/>
                  <a:gd name="T32" fmla="*/ 22 w 223"/>
                  <a:gd name="T33" fmla="*/ 204 h 232"/>
                  <a:gd name="T34" fmla="*/ 7 w 223"/>
                  <a:gd name="T35" fmla="*/ 204 h 232"/>
                  <a:gd name="T36" fmla="*/ 13 w 223"/>
                  <a:gd name="T37" fmla="*/ 197 h 232"/>
                  <a:gd name="T38" fmla="*/ 0 w 223"/>
                  <a:gd name="T39" fmla="*/ 158 h 232"/>
                  <a:gd name="T40" fmla="*/ 13 w 223"/>
                  <a:gd name="T41" fmla="*/ 150 h 232"/>
                  <a:gd name="T42" fmla="*/ 22 w 223"/>
                  <a:gd name="T43" fmla="*/ 158 h 232"/>
                  <a:gd name="T44" fmla="*/ 27 w 223"/>
                  <a:gd name="T45" fmla="*/ 150 h 232"/>
                  <a:gd name="T46" fmla="*/ 94 w 223"/>
                  <a:gd name="T47" fmla="*/ 150 h 232"/>
                  <a:gd name="T48" fmla="*/ 72 w 223"/>
                  <a:gd name="T49" fmla="*/ 0 h 232"/>
                  <a:gd name="T50" fmla="*/ 100 w 223"/>
                  <a:gd name="T51" fmla="*/ 0 h 232"/>
                  <a:gd name="T52" fmla="*/ 100 w 223"/>
                  <a:gd name="T53" fmla="*/ 0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23" h="232">
                    <a:moveTo>
                      <a:pt x="100" y="0"/>
                    </a:moveTo>
                    <a:lnTo>
                      <a:pt x="179" y="61"/>
                    </a:lnTo>
                    <a:lnTo>
                      <a:pt x="186" y="76"/>
                    </a:lnTo>
                    <a:lnTo>
                      <a:pt x="216" y="91"/>
                    </a:lnTo>
                    <a:lnTo>
                      <a:pt x="223" y="91"/>
                    </a:lnTo>
                    <a:lnTo>
                      <a:pt x="223" y="136"/>
                    </a:lnTo>
                    <a:lnTo>
                      <a:pt x="216" y="150"/>
                    </a:lnTo>
                    <a:lnTo>
                      <a:pt x="151" y="158"/>
                    </a:lnTo>
                    <a:lnTo>
                      <a:pt x="137" y="173"/>
                    </a:lnTo>
                    <a:lnTo>
                      <a:pt x="115" y="180"/>
                    </a:lnTo>
                    <a:lnTo>
                      <a:pt x="94" y="225"/>
                    </a:lnTo>
                    <a:lnTo>
                      <a:pt x="87" y="232"/>
                    </a:lnTo>
                    <a:lnTo>
                      <a:pt x="72" y="225"/>
                    </a:lnTo>
                    <a:lnTo>
                      <a:pt x="65" y="232"/>
                    </a:lnTo>
                    <a:lnTo>
                      <a:pt x="57" y="232"/>
                    </a:lnTo>
                    <a:lnTo>
                      <a:pt x="42" y="197"/>
                    </a:lnTo>
                    <a:lnTo>
                      <a:pt x="22" y="204"/>
                    </a:lnTo>
                    <a:lnTo>
                      <a:pt x="7" y="204"/>
                    </a:lnTo>
                    <a:lnTo>
                      <a:pt x="13" y="197"/>
                    </a:lnTo>
                    <a:lnTo>
                      <a:pt x="0" y="158"/>
                    </a:lnTo>
                    <a:lnTo>
                      <a:pt x="13" y="150"/>
                    </a:lnTo>
                    <a:lnTo>
                      <a:pt x="22" y="158"/>
                    </a:lnTo>
                    <a:lnTo>
                      <a:pt x="27" y="150"/>
                    </a:lnTo>
                    <a:lnTo>
                      <a:pt x="94" y="150"/>
                    </a:lnTo>
                    <a:lnTo>
                      <a:pt x="72" y="0"/>
                    </a:lnTo>
                    <a:lnTo>
                      <a:pt x="100" y="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42" name="Freeform 178"/>
              <p:cNvSpPr>
                <a:spLocks/>
              </p:cNvSpPr>
              <p:nvPr/>
            </p:nvSpPr>
            <p:spPr bwMode="auto">
              <a:xfrm>
                <a:off x="4122738" y="4746625"/>
                <a:ext cx="149225" cy="157163"/>
              </a:xfrm>
              <a:custGeom>
                <a:avLst/>
                <a:gdLst>
                  <a:gd name="T0" fmla="*/ 77 w 85"/>
                  <a:gd name="T1" fmla="*/ 74 h 89"/>
                  <a:gd name="T2" fmla="*/ 77 w 85"/>
                  <a:gd name="T3" fmla="*/ 54 h 89"/>
                  <a:gd name="T4" fmla="*/ 85 w 85"/>
                  <a:gd name="T5" fmla="*/ 32 h 89"/>
                  <a:gd name="T6" fmla="*/ 77 w 85"/>
                  <a:gd name="T7" fmla="*/ 17 h 89"/>
                  <a:gd name="T8" fmla="*/ 63 w 85"/>
                  <a:gd name="T9" fmla="*/ 8 h 89"/>
                  <a:gd name="T10" fmla="*/ 48 w 85"/>
                  <a:gd name="T11" fmla="*/ 8 h 89"/>
                  <a:gd name="T12" fmla="*/ 42 w 85"/>
                  <a:gd name="T13" fmla="*/ 0 h 89"/>
                  <a:gd name="T14" fmla="*/ 37 w 85"/>
                  <a:gd name="T15" fmla="*/ 8 h 89"/>
                  <a:gd name="T16" fmla="*/ 20 w 85"/>
                  <a:gd name="T17" fmla="*/ 0 h 89"/>
                  <a:gd name="T18" fmla="*/ 15 w 85"/>
                  <a:gd name="T19" fmla="*/ 8 h 89"/>
                  <a:gd name="T20" fmla="*/ 6 w 85"/>
                  <a:gd name="T21" fmla="*/ 8 h 89"/>
                  <a:gd name="T22" fmla="*/ 6 w 85"/>
                  <a:gd name="T23" fmla="*/ 47 h 89"/>
                  <a:gd name="T24" fmla="*/ 0 w 85"/>
                  <a:gd name="T25" fmla="*/ 47 h 89"/>
                  <a:gd name="T26" fmla="*/ 0 w 85"/>
                  <a:gd name="T27" fmla="*/ 62 h 89"/>
                  <a:gd name="T28" fmla="*/ 15 w 85"/>
                  <a:gd name="T29" fmla="*/ 69 h 89"/>
                  <a:gd name="T30" fmla="*/ 15 w 85"/>
                  <a:gd name="T31" fmla="*/ 89 h 89"/>
                  <a:gd name="T32" fmla="*/ 37 w 85"/>
                  <a:gd name="T33" fmla="*/ 74 h 89"/>
                  <a:gd name="T34" fmla="*/ 77 w 85"/>
                  <a:gd name="T35" fmla="*/ 74 h 89"/>
                  <a:gd name="T36" fmla="*/ 77 w 85"/>
                  <a:gd name="T37" fmla="*/ 74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5" h="89">
                    <a:moveTo>
                      <a:pt x="77" y="74"/>
                    </a:moveTo>
                    <a:lnTo>
                      <a:pt x="77" y="54"/>
                    </a:lnTo>
                    <a:lnTo>
                      <a:pt x="85" y="32"/>
                    </a:lnTo>
                    <a:lnTo>
                      <a:pt x="77" y="17"/>
                    </a:lnTo>
                    <a:lnTo>
                      <a:pt x="63" y="8"/>
                    </a:lnTo>
                    <a:lnTo>
                      <a:pt x="48" y="8"/>
                    </a:lnTo>
                    <a:lnTo>
                      <a:pt x="42" y="0"/>
                    </a:lnTo>
                    <a:lnTo>
                      <a:pt x="37" y="8"/>
                    </a:lnTo>
                    <a:lnTo>
                      <a:pt x="20" y="0"/>
                    </a:lnTo>
                    <a:lnTo>
                      <a:pt x="15" y="8"/>
                    </a:lnTo>
                    <a:lnTo>
                      <a:pt x="6" y="8"/>
                    </a:lnTo>
                    <a:lnTo>
                      <a:pt x="6" y="47"/>
                    </a:lnTo>
                    <a:lnTo>
                      <a:pt x="0" y="47"/>
                    </a:lnTo>
                    <a:lnTo>
                      <a:pt x="0" y="62"/>
                    </a:lnTo>
                    <a:lnTo>
                      <a:pt x="15" y="69"/>
                    </a:lnTo>
                    <a:lnTo>
                      <a:pt x="15" y="89"/>
                    </a:lnTo>
                    <a:lnTo>
                      <a:pt x="37" y="74"/>
                    </a:lnTo>
                    <a:lnTo>
                      <a:pt x="77" y="74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43" name="Freeform 179"/>
              <p:cNvSpPr>
                <a:spLocks/>
              </p:cNvSpPr>
              <p:nvPr/>
            </p:nvSpPr>
            <p:spPr bwMode="auto">
              <a:xfrm>
                <a:off x="4262438" y="4724400"/>
                <a:ext cx="79375" cy="152400"/>
              </a:xfrm>
              <a:custGeom>
                <a:avLst/>
                <a:gdLst>
                  <a:gd name="T0" fmla="*/ 0 w 46"/>
                  <a:gd name="T1" fmla="*/ 30 h 87"/>
                  <a:gd name="T2" fmla="*/ 0 w 46"/>
                  <a:gd name="T3" fmla="*/ 0 h 87"/>
                  <a:gd name="T4" fmla="*/ 26 w 46"/>
                  <a:gd name="T5" fmla="*/ 0 h 87"/>
                  <a:gd name="T6" fmla="*/ 46 w 46"/>
                  <a:gd name="T7" fmla="*/ 65 h 87"/>
                  <a:gd name="T8" fmla="*/ 46 w 46"/>
                  <a:gd name="T9" fmla="*/ 74 h 87"/>
                  <a:gd name="T10" fmla="*/ 8 w 46"/>
                  <a:gd name="T11" fmla="*/ 87 h 87"/>
                  <a:gd name="T12" fmla="*/ 0 w 46"/>
                  <a:gd name="T13" fmla="*/ 87 h 87"/>
                  <a:gd name="T14" fmla="*/ 0 w 46"/>
                  <a:gd name="T15" fmla="*/ 65 h 87"/>
                  <a:gd name="T16" fmla="*/ 8 w 46"/>
                  <a:gd name="T17" fmla="*/ 43 h 87"/>
                  <a:gd name="T18" fmla="*/ 0 w 46"/>
                  <a:gd name="T19" fmla="*/ 30 h 87"/>
                  <a:gd name="T20" fmla="*/ 0 w 46"/>
                  <a:gd name="T21" fmla="*/ 30 h 87"/>
                  <a:gd name="T22" fmla="*/ 0 w 46"/>
                  <a:gd name="T23" fmla="*/ 30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6" h="87">
                    <a:moveTo>
                      <a:pt x="0" y="30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46" y="65"/>
                    </a:lnTo>
                    <a:lnTo>
                      <a:pt x="46" y="74"/>
                    </a:lnTo>
                    <a:lnTo>
                      <a:pt x="8" y="87"/>
                    </a:lnTo>
                    <a:lnTo>
                      <a:pt x="0" y="87"/>
                    </a:lnTo>
                    <a:lnTo>
                      <a:pt x="0" y="65"/>
                    </a:lnTo>
                    <a:lnTo>
                      <a:pt x="8" y="43"/>
                    </a:lnTo>
                    <a:lnTo>
                      <a:pt x="0" y="3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44" name="Freeform 180"/>
              <p:cNvSpPr>
                <a:spLocks/>
              </p:cNvSpPr>
              <p:nvPr/>
            </p:nvSpPr>
            <p:spPr bwMode="auto">
              <a:xfrm>
                <a:off x="4519613" y="4956175"/>
                <a:ext cx="139700" cy="161925"/>
              </a:xfrm>
              <a:custGeom>
                <a:avLst/>
                <a:gdLst>
                  <a:gd name="T0" fmla="*/ 22 w 79"/>
                  <a:gd name="T1" fmla="*/ 17 h 93"/>
                  <a:gd name="T2" fmla="*/ 35 w 79"/>
                  <a:gd name="T3" fmla="*/ 17 h 93"/>
                  <a:gd name="T4" fmla="*/ 35 w 79"/>
                  <a:gd name="T5" fmla="*/ 0 h 93"/>
                  <a:gd name="T6" fmla="*/ 64 w 79"/>
                  <a:gd name="T7" fmla="*/ 0 h 93"/>
                  <a:gd name="T8" fmla="*/ 64 w 79"/>
                  <a:gd name="T9" fmla="*/ 17 h 93"/>
                  <a:gd name="T10" fmla="*/ 70 w 79"/>
                  <a:gd name="T11" fmla="*/ 9 h 93"/>
                  <a:gd name="T12" fmla="*/ 79 w 79"/>
                  <a:gd name="T13" fmla="*/ 17 h 93"/>
                  <a:gd name="T14" fmla="*/ 79 w 79"/>
                  <a:gd name="T15" fmla="*/ 64 h 93"/>
                  <a:gd name="T16" fmla="*/ 57 w 79"/>
                  <a:gd name="T17" fmla="*/ 64 h 93"/>
                  <a:gd name="T18" fmla="*/ 45 w 79"/>
                  <a:gd name="T19" fmla="*/ 73 h 93"/>
                  <a:gd name="T20" fmla="*/ 45 w 79"/>
                  <a:gd name="T21" fmla="*/ 78 h 93"/>
                  <a:gd name="T22" fmla="*/ 35 w 79"/>
                  <a:gd name="T23" fmla="*/ 78 h 93"/>
                  <a:gd name="T24" fmla="*/ 35 w 79"/>
                  <a:gd name="T25" fmla="*/ 93 h 93"/>
                  <a:gd name="T26" fmla="*/ 0 w 79"/>
                  <a:gd name="T27" fmla="*/ 47 h 93"/>
                  <a:gd name="T28" fmla="*/ 15 w 79"/>
                  <a:gd name="T29" fmla="*/ 32 h 93"/>
                  <a:gd name="T30" fmla="*/ 15 w 79"/>
                  <a:gd name="T31" fmla="*/ 26 h 93"/>
                  <a:gd name="T32" fmla="*/ 22 w 79"/>
                  <a:gd name="T33" fmla="*/ 17 h 93"/>
                  <a:gd name="T34" fmla="*/ 22 w 79"/>
                  <a:gd name="T35" fmla="*/ 17 h 93"/>
                  <a:gd name="T36" fmla="*/ 22 w 79"/>
                  <a:gd name="T37" fmla="*/ 17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9" h="93">
                    <a:moveTo>
                      <a:pt x="22" y="17"/>
                    </a:moveTo>
                    <a:lnTo>
                      <a:pt x="35" y="17"/>
                    </a:lnTo>
                    <a:lnTo>
                      <a:pt x="35" y="0"/>
                    </a:lnTo>
                    <a:lnTo>
                      <a:pt x="64" y="0"/>
                    </a:lnTo>
                    <a:lnTo>
                      <a:pt x="64" y="17"/>
                    </a:lnTo>
                    <a:lnTo>
                      <a:pt x="70" y="9"/>
                    </a:lnTo>
                    <a:lnTo>
                      <a:pt x="79" y="17"/>
                    </a:lnTo>
                    <a:lnTo>
                      <a:pt x="79" y="64"/>
                    </a:lnTo>
                    <a:lnTo>
                      <a:pt x="57" y="64"/>
                    </a:lnTo>
                    <a:lnTo>
                      <a:pt x="45" y="73"/>
                    </a:lnTo>
                    <a:lnTo>
                      <a:pt x="45" y="78"/>
                    </a:lnTo>
                    <a:lnTo>
                      <a:pt x="35" y="78"/>
                    </a:lnTo>
                    <a:lnTo>
                      <a:pt x="35" y="93"/>
                    </a:lnTo>
                    <a:lnTo>
                      <a:pt x="0" y="47"/>
                    </a:lnTo>
                    <a:lnTo>
                      <a:pt x="15" y="32"/>
                    </a:lnTo>
                    <a:lnTo>
                      <a:pt x="15" y="26"/>
                    </a:lnTo>
                    <a:lnTo>
                      <a:pt x="22" y="17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45" name="Freeform 181"/>
              <p:cNvSpPr>
                <a:spLocks/>
              </p:cNvSpPr>
              <p:nvPr/>
            </p:nvSpPr>
            <p:spPr bwMode="auto">
              <a:xfrm>
                <a:off x="4522788" y="4667250"/>
                <a:ext cx="185737" cy="300038"/>
              </a:xfrm>
              <a:custGeom>
                <a:avLst/>
                <a:gdLst>
                  <a:gd name="T0" fmla="*/ 0 w 105"/>
                  <a:gd name="T1" fmla="*/ 119 h 171"/>
                  <a:gd name="T2" fmla="*/ 21 w 105"/>
                  <a:gd name="T3" fmla="*/ 97 h 171"/>
                  <a:gd name="T4" fmla="*/ 26 w 105"/>
                  <a:gd name="T5" fmla="*/ 97 h 171"/>
                  <a:gd name="T6" fmla="*/ 33 w 105"/>
                  <a:gd name="T7" fmla="*/ 106 h 171"/>
                  <a:gd name="T8" fmla="*/ 43 w 105"/>
                  <a:gd name="T9" fmla="*/ 97 h 171"/>
                  <a:gd name="T10" fmla="*/ 62 w 105"/>
                  <a:gd name="T11" fmla="*/ 69 h 171"/>
                  <a:gd name="T12" fmla="*/ 75 w 105"/>
                  <a:gd name="T13" fmla="*/ 23 h 171"/>
                  <a:gd name="T14" fmla="*/ 75 w 105"/>
                  <a:gd name="T15" fmla="*/ 0 h 171"/>
                  <a:gd name="T16" fmla="*/ 75 w 105"/>
                  <a:gd name="T17" fmla="*/ 16 h 171"/>
                  <a:gd name="T18" fmla="*/ 97 w 105"/>
                  <a:gd name="T19" fmla="*/ 52 h 171"/>
                  <a:gd name="T20" fmla="*/ 75 w 105"/>
                  <a:gd name="T21" fmla="*/ 52 h 171"/>
                  <a:gd name="T22" fmla="*/ 75 w 105"/>
                  <a:gd name="T23" fmla="*/ 60 h 171"/>
                  <a:gd name="T24" fmla="*/ 97 w 105"/>
                  <a:gd name="T25" fmla="*/ 90 h 171"/>
                  <a:gd name="T26" fmla="*/ 75 w 105"/>
                  <a:gd name="T27" fmla="*/ 112 h 171"/>
                  <a:gd name="T28" fmla="*/ 83 w 105"/>
                  <a:gd name="T29" fmla="*/ 119 h 171"/>
                  <a:gd name="T30" fmla="*/ 105 w 105"/>
                  <a:gd name="T31" fmla="*/ 149 h 171"/>
                  <a:gd name="T32" fmla="*/ 105 w 105"/>
                  <a:gd name="T33" fmla="*/ 171 h 171"/>
                  <a:gd name="T34" fmla="*/ 21 w 105"/>
                  <a:gd name="T35" fmla="*/ 163 h 171"/>
                  <a:gd name="T36" fmla="*/ 21 w 105"/>
                  <a:gd name="T37" fmla="*/ 149 h 171"/>
                  <a:gd name="T38" fmla="*/ 13 w 105"/>
                  <a:gd name="T39" fmla="*/ 143 h 171"/>
                  <a:gd name="T40" fmla="*/ 0 w 105"/>
                  <a:gd name="T41" fmla="*/ 134 h 171"/>
                  <a:gd name="T42" fmla="*/ 0 w 105"/>
                  <a:gd name="T43" fmla="*/ 119 h 171"/>
                  <a:gd name="T44" fmla="*/ 0 w 105"/>
                  <a:gd name="T45" fmla="*/ 119 h 171"/>
                  <a:gd name="T46" fmla="*/ 0 w 105"/>
                  <a:gd name="T47" fmla="*/ 119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05" h="171">
                    <a:moveTo>
                      <a:pt x="0" y="119"/>
                    </a:moveTo>
                    <a:lnTo>
                      <a:pt x="21" y="97"/>
                    </a:lnTo>
                    <a:lnTo>
                      <a:pt x="26" y="97"/>
                    </a:lnTo>
                    <a:lnTo>
                      <a:pt x="33" y="106"/>
                    </a:lnTo>
                    <a:lnTo>
                      <a:pt x="43" y="97"/>
                    </a:lnTo>
                    <a:lnTo>
                      <a:pt x="62" y="69"/>
                    </a:lnTo>
                    <a:lnTo>
                      <a:pt x="75" y="23"/>
                    </a:lnTo>
                    <a:lnTo>
                      <a:pt x="75" y="0"/>
                    </a:lnTo>
                    <a:lnTo>
                      <a:pt x="75" y="16"/>
                    </a:lnTo>
                    <a:lnTo>
                      <a:pt x="97" y="52"/>
                    </a:lnTo>
                    <a:lnTo>
                      <a:pt x="75" y="52"/>
                    </a:lnTo>
                    <a:lnTo>
                      <a:pt x="75" y="60"/>
                    </a:lnTo>
                    <a:lnTo>
                      <a:pt x="97" y="90"/>
                    </a:lnTo>
                    <a:lnTo>
                      <a:pt x="75" y="112"/>
                    </a:lnTo>
                    <a:lnTo>
                      <a:pt x="83" y="119"/>
                    </a:lnTo>
                    <a:lnTo>
                      <a:pt x="105" y="149"/>
                    </a:lnTo>
                    <a:lnTo>
                      <a:pt x="105" y="171"/>
                    </a:lnTo>
                    <a:lnTo>
                      <a:pt x="21" y="163"/>
                    </a:lnTo>
                    <a:lnTo>
                      <a:pt x="21" y="149"/>
                    </a:lnTo>
                    <a:lnTo>
                      <a:pt x="13" y="143"/>
                    </a:lnTo>
                    <a:lnTo>
                      <a:pt x="0" y="134"/>
                    </a:lnTo>
                    <a:lnTo>
                      <a:pt x="0" y="119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46" name="Freeform 182"/>
              <p:cNvSpPr>
                <a:spLocks/>
              </p:cNvSpPr>
              <p:nvPr/>
            </p:nvSpPr>
            <p:spPr bwMode="auto">
              <a:xfrm>
                <a:off x="4386263" y="4649788"/>
                <a:ext cx="273050" cy="254000"/>
              </a:xfrm>
              <a:custGeom>
                <a:avLst/>
                <a:gdLst>
                  <a:gd name="T0" fmla="*/ 79 w 156"/>
                  <a:gd name="T1" fmla="*/ 129 h 144"/>
                  <a:gd name="T2" fmla="*/ 100 w 156"/>
                  <a:gd name="T3" fmla="*/ 107 h 144"/>
                  <a:gd name="T4" fmla="*/ 107 w 156"/>
                  <a:gd name="T5" fmla="*/ 107 h 144"/>
                  <a:gd name="T6" fmla="*/ 114 w 156"/>
                  <a:gd name="T7" fmla="*/ 117 h 144"/>
                  <a:gd name="T8" fmla="*/ 142 w 156"/>
                  <a:gd name="T9" fmla="*/ 77 h 144"/>
                  <a:gd name="T10" fmla="*/ 156 w 156"/>
                  <a:gd name="T11" fmla="*/ 32 h 144"/>
                  <a:gd name="T12" fmla="*/ 156 w 156"/>
                  <a:gd name="T13" fmla="*/ 8 h 144"/>
                  <a:gd name="T14" fmla="*/ 151 w 156"/>
                  <a:gd name="T15" fmla="*/ 0 h 144"/>
                  <a:gd name="T16" fmla="*/ 142 w 156"/>
                  <a:gd name="T17" fmla="*/ 0 h 144"/>
                  <a:gd name="T18" fmla="*/ 134 w 156"/>
                  <a:gd name="T19" fmla="*/ 8 h 144"/>
                  <a:gd name="T20" fmla="*/ 107 w 156"/>
                  <a:gd name="T21" fmla="*/ 8 h 144"/>
                  <a:gd name="T22" fmla="*/ 94 w 156"/>
                  <a:gd name="T23" fmla="*/ 23 h 144"/>
                  <a:gd name="T24" fmla="*/ 72 w 156"/>
                  <a:gd name="T25" fmla="*/ 8 h 144"/>
                  <a:gd name="T26" fmla="*/ 64 w 156"/>
                  <a:gd name="T27" fmla="*/ 8 h 144"/>
                  <a:gd name="T28" fmla="*/ 37 w 156"/>
                  <a:gd name="T29" fmla="*/ 0 h 144"/>
                  <a:gd name="T30" fmla="*/ 30 w 156"/>
                  <a:gd name="T31" fmla="*/ 0 h 144"/>
                  <a:gd name="T32" fmla="*/ 13 w 156"/>
                  <a:gd name="T33" fmla="*/ 23 h 144"/>
                  <a:gd name="T34" fmla="*/ 13 w 156"/>
                  <a:gd name="T35" fmla="*/ 53 h 144"/>
                  <a:gd name="T36" fmla="*/ 0 w 156"/>
                  <a:gd name="T37" fmla="*/ 84 h 144"/>
                  <a:gd name="T38" fmla="*/ 0 w 156"/>
                  <a:gd name="T39" fmla="*/ 117 h 144"/>
                  <a:gd name="T40" fmla="*/ 30 w 156"/>
                  <a:gd name="T41" fmla="*/ 117 h 144"/>
                  <a:gd name="T42" fmla="*/ 30 w 156"/>
                  <a:gd name="T43" fmla="*/ 124 h 144"/>
                  <a:gd name="T44" fmla="*/ 37 w 156"/>
                  <a:gd name="T45" fmla="*/ 144 h 144"/>
                  <a:gd name="T46" fmla="*/ 79 w 156"/>
                  <a:gd name="T47" fmla="*/ 144 h 144"/>
                  <a:gd name="T48" fmla="*/ 79 w 156"/>
                  <a:gd name="T49" fmla="*/ 129 h 144"/>
                  <a:gd name="T50" fmla="*/ 79 w 156"/>
                  <a:gd name="T51" fmla="*/ 129 h 144"/>
                  <a:gd name="T52" fmla="*/ 79 w 156"/>
                  <a:gd name="T53" fmla="*/ 129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56" h="144">
                    <a:moveTo>
                      <a:pt x="79" y="129"/>
                    </a:moveTo>
                    <a:lnTo>
                      <a:pt x="100" y="107"/>
                    </a:lnTo>
                    <a:lnTo>
                      <a:pt x="107" y="107"/>
                    </a:lnTo>
                    <a:lnTo>
                      <a:pt x="114" y="117"/>
                    </a:lnTo>
                    <a:lnTo>
                      <a:pt x="142" y="77"/>
                    </a:lnTo>
                    <a:lnTo>
                      <a:pt x="156" y="32"/>
                    </a:lnTo>
                    <a:lnTo>
                      <a:pt x="156" y="8"/>
                    </a:lnTo>
                    <a:lnTo>
                      <a:pt x="151" y="0"/>
                    </a:lnTo>
                    <a:lnTo>
                      <a:pt x="142" y="0"/>
                    </a:lnTo>
                    <a:lnTo>
                      <a:pt x="134" y="8"/>
                    </a:lnTo>
                    <a:lnTo>
                      <a:pt x="107" y="8"/>
                    </a:lnTo>
                    <a:lnTo>
                      <a:pt x="94" y="23"/>
                    </a:lnTo>
                    <a:lnTo>
                      <a:pt x="72" y="8"/>
                    </a:lnTo>
                    <a:lnTo>
                      <a:pt x="64" y="8"/>
                    </a:lnTo>
                    <a:lnTo>
                      <a:pt x="37" y="0"/>
                    </a:lnTo>
                    <a:lnTo>
                      <a:pt x="30" y="0"/>
                    </a:lnTo>
                    <a:lnTo>
                      <a:pt x="13" y="23"/>
                    </a:lnTo>
                    <a:lnTo>
                      <a:pt x="13" y="53"/>
                    </a:lnTo>
                    <a:lnTo>
                      <a:pt x="0" y="84"/>
                    </a:lnTo>
                    <a:lnTo>
                      <a:pt x="0" y="117"/>
                    </a:lnTo>
                    <a:lnTo>
                      <a:pt x="30" y="117"/>
                    </a:lnTo>
                    <a:lnTo>
                      <a:pt x="30" y="124"/>
                    </a:lnTo>
                    <a:lnTo>
                      <a:pt x="37" y="144"/>
                    </a:lnTo>
                    <a:lnTo>
                      <a:pt x="79" y="144"/>
                    </a:lnTo>
                    <a:lnTo>
                      <a:pt x="79" y="129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47" name="Freeform 183"/>
              <p:cNvSpPr>
                <a:spLocks/>
              </p:cNvSpPr>
              <p:nvPr/>
            </p:nvSpPr>
            <p:spPr bwMode="auto">
              <a:xfrm>
                <a:off x="4327525" y="4410075"/>
                <a:ext cx="381000" cy="298450"/>
              </a:xfrm>
              <a:custGeom>
                <a:avLst/>
                <a:gdLst>
                  <a:gd name="T0" fmla="*/ 181 w 216"/>
                  <a:gd name="T1" fmla="*/ 141 h 171"/>
                  <a:gd name="T2" fmla="*/ 181 w 216"/>
                  <a:gd name="T3" fmla="*/ 131 h 171"/>
                  <a:gd name="T4" fmla="*/ 208 w 216"/>
                  <a:gd name="T5" fmla="*/ 94 h 171"/>
                  <a:gd name="T6" fmla="*/ 216 w 216"/>
                  <a:gd name="T7" fmla="*/ 43 h 171"/>
                  <a:gd name="T8" fmla="*/ 194 w 216"/>
                  <a:gd name="T9" fmla="*/ 20 h 171"/>
                  <a:gd name="T10" fmla="*/ 194 w 216"/>
                  <a:gd name="T11" fmla="*/ 6 h 171"/>
                  <a:gd name="T12" fmla="*/ 184 w 216"/>
                  <a:gd name="T13" fmla="*/ 0 h 171"/>
                  <a:gd name="T14" fmla="*/ 153 w 216"/>
                  <a:gd name="T15" fmla="*/ 0 h 171"/>
                  <a:gd name="T16" fmla="*/ 65 w 216"/>
                  <a:gd name="T17" fmla="*/ 59 h 171"/>
                  <a:gd name="T18" fmla="*/ 50 w 216"/>
                  <a:gd name="T19" fmla="*/ 59 h 171"/>
                  <a:gd name="T20" fmla="*/ 50 w 216"/>
                  <a:gd name="T21" fmla="*/ 104 h 171"/>
                  <a:gd name="T22" fmla="*/ 44 w 216"/>
                  <a:gd name="T23" fmla="*/ 116 h 171"/>
                  <a:gd name="T24" fmla="*/ 0 w 216"/>
                  <a:gd name="T25" fmla="*/ 124 h 171"/>
                  <a:gd name="T26" fmla="*/ 0 w 216"/>
                  <a:gd name="T27" fmla="*/ 141 h 171"/>
                  <a:gd name="T28" fmla="*/ 15 w 216"/>
                  <a:gd name="T29" fmla="*/ 163 h 171"/>
                  <a:gd name="T30" fmla="*/ 22 w 216"/>
                  <a:gd name="T31" fmla="*/ 163 h 171"/>
                  <a:gd name="T32" fmla="*/ 22 w 216"/>
                  <a:gd name="T33" fmla="*/ 171 h 171"/>
                  <a:gd name="T34" fmla="*/ 22 w 216"/>
                  <a:gd name="T35" fmla="*/ 163 h 171"/>
                  <a:gd name="T36" fmla="*/ 30 w 216"/>
                  <a:gd name="T37" fmla="*/ 163 h 171"/>
                  <a:gd name="T38" fmla="*/ 44 w 216"/>
                  <a:gd name="T39" fmla="*/ 171 h 171"/>
                  <a:gd name="T40" fmla="*/ 44 w 216"/>
                  <a:gd name="T41" fmla="*/ 163 h 171"/>
                  <a:gd name="T42" fmla="*/ 59 w 216"/>
                  <a:gd name="T43" fmla="*/ 141 h 171"/>
                  <a:gd name="T44" fmla="*/ 101 w 216"/>
                  <a:gd name="T45" fmla="*/ 146 h 171"/>
                  <a:gd name="T46" fmla="*/ 122 w 216"/>
                  <a:gd name="T47" fmla="*/ 163 h 171"/>
                  <a:gd name="T48" fmla="*/ 136 w 216"/>
                  <a:gd name="T49" fmla="*/ 146 h 171"/>
                  <a:gd name="T50" fmla="*/ 166 w 216"/>
                  <a:gd name="T51" fmla="*/ 146 h 171"/>
                  <a:gd name="T52" fmla="*/ 173 w 216"/>
                  <a:gd name="T53" fmla="*/ 141 h 171"/>
                  <a:gd name="T54" fmla="*/ 181 w 216"/>
                  <a:gd name="T55" fmla="*/ 141 h 171"/>
                  <a:gd name="T56" fmla="*/ 181 w 216"/>
                  <a:gd name="T57" fmla="*/ 141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16" h="171">
                    <a:moveTo>
                      <a:pt x="181" y="141"/>
                    </a:moveTo>
                    <a:lnTo>
                      <a:pt x="181" y="131"/>
                    </a:lnTo>
                    <a:lnTo>
                      <a:pt x="208" y="94"/>
                    </a:lnTo>
                    <a:lnTo>
                      <a:pt x="216" y="43"/>
                    </a:lnTo>
                    <a:lnTo>
                      <a:pt x="194" y="20"/>
                    </a:lnTo>
                    <a:lnTo>
                      <a:pt x="194" y="6"/>
                    </a:lnTo>
                    <a:lnTo>
                      <a:pt x="184" y="0"/>
                    </a:lnTo>
                    <a:lnTo>
                      <a:pt x="153" y="0"/>
                    </a:lnTo>
                    <a:lnTo>
                      <a:pt x="65" y="59"/>
                    </a:lnTo>
                    <a:lnTo>
                      <a:pt x="50" y="59"/>
                    </a:lnTo>
                    <a:lnTo>
                      <a:pt x="50" y="104"/>
                    </a:lnTo>
                    <a:lnTo>
                      <a:pt x="44" y="116"/>
                    </a:lnTo>
                    <a:lnTo>
                      <a:pt x="0" y="124"/>
                    </a:lnTo>
                    <a:lnTo>
                      <a:pt x="0" y="141"/>
                    </a:lnTo>
                    <a:lnTo>
                      <a:pt x="15" y="163"/>
                    </a:lnTo>
                    <a:lnTo>
                      <a:pt x="22" y="163"/>
                    </a:lnTo>
                    <a:lnTo>
                      <a:pt x="22" y="171"/>
                    </a:lnTo>
                    <a:lnTo>
                      <a:pt x="22" y="163"/>
                    </a:lnTo>
                    <a:lnTo>
                      <a:pt x="30" y="163"/>
                    </a:lnTo>
                    <a:lnTo>
                      <a:pt x="44" y="171"/>
                    </a:lnTo>
                    <a:lnTo>
                      <a:pt x="44" y="163"/>
                    </a:lnTo>
                    <a:lnTo>
                      <a:pt x="59" y="141"/>
                    </a:lnTo>
                    <a:lnTo>
                      <a:pt x="101" y="146"/>
                    </a:lnTo>
                    <a:lnTo>
                      <a:pt x="122" y="163"/>
                    </a:lnTo>
                    <a:lnTo>
                      <a:pt x="136" y="146"/>
                    </a:lnTo>
                    <a:lnTo>
                      <a:pt x="166" y="146"/>
                    </a:lnTo>
                    <a:lnTo>
                      <a:pt x="173" y="141"/>
                    </a:lnTo>
                    <a:lnTo>
                      <a:pt x="181" y="141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48" name="Freeform 184"/>
              <p:cNvSpPr>
                <a:spLocks/>
              </p:cNvSpPr>
              <p:nvPr/>
            </p:nvSpPr>
            <p:spPr bwMode="auto">
              <a:xfrm>
                <a:off x="4641850" y="4410075"/>
                <a:ext cx="239713" cy="412750"/>
              </a:xfrm>
              <a:custGeom>
                <a:avLst/>
                <a:gdLst>
                  <a:gd name="T0" fmla="*/ 15 w 137"/>
                  <a:gd name="T1" fmla="*/ 8 h 237"/>
                  <a:gd name="T2" fmla="*/ 15 w 137"/>
                  <a:gd name="T3" fmla="*/ 22 h 237"/>
                  <a:gd name="T4" fmla="*/ 38 w 137"/>
                  <a:gd name="T5" fmla="*/ 43 h 237"/>
                  <a:gd name="T6" fmla="*/ 30 w 137"/>
                  <a:gd name="T7" fmla="*/ 96 h 237"/>
                  <a:gd name="T8" fmla="*/ 0 w 137"/>
                  <a:gd name="T9" fmla="*/ 131 h 237"/>
                  <a:gd name="T10" fmla="*/ 0 w 137"/>
                  <a:gd name="T11" fmla="*/ 139 h 237"/>
                  <a:gd name="T12" fmla="*/ 6 w 137"/>
                  <a:gd name="T13" fmla="*/ 148 h 237"/>
                  <a:gd name="T14" fmla="*/ 6 w 137"/>
                  <a:gd name="T15" fmla="*/ 163 h 237"/>
                  <a:gd name="T16" fmla="*/ 30 w 137"/>
                  <a:gd name="T17" fmla="*/ 200 h 237"/>
                  <a:gd name="T18" fmla="*/ 6 w 137"/>
                  <a:gd name="T19" fmla="*/ 200 h 237"/>
                  <a:gd name="T20" fmla="*/ 6 w 137"/>
                  <a:gd name="T21" fmla="*/ 208 h 237"/>
                  <a:gd name="T22" fmla="*/ 15 w 137"/>
                  <a:gd name="T23" fmla="*/ 215 h 237"/>
                  <a:gd name="T24" fmla="*/ 30 w 137"/>
                  <a:gd name="T25" fmla="*/ 237 h 237"/>
                  <a:gd name="T26" fmla="*/ 80 w 137"/>
                  <a:gd name="T27" fmla="*/ 215 h 237"/>
                  <a:gd name="T28" fmla="*/ 67 w 137"/>
                  <a:gd name="T29" fmla="*/ 215 h 237"/>
                  <a:gd name="T30" fmla="*/ 95 w 137"/>
                  <a:gd name="T31" fmla="*/ 208 h 237"/>
                  <a:gd name="T32" fmla="*/ 125 w 137"/>
                  <a:gd name="T33" fmla="*/ 178 h 237"/>
                  <a:gd name="T34" fmla="*/ 130 w 137"/>
                  <a:gd name="T35" fmla="*/ 178 h 237"/>
                  <a:gd name="T36" fmla="*/ 110 w 137"/>
                  <a:gd name="T37" fmla="*/ 148 h 237"/>
                  <a:gd name="T38" fmla="*/ 130 w 137"/>
                  <a:gd name="T39" fmla="*/ 117 h 237"/>
                  <a:gd name="T40" fmla="*/ 137 w 137"/>
                  <a:gd name="T41" fmla="*/ 117 h 237"/>
                  <a:gd name="T42" fmla="*/ 137 w 137"/>
                  <a:gd name="T43" fmla="*/ 59 h 237"/>
                  <a:gd name="T44" fmla="*/ 38 w 137"/>
                  <a:gd name="T45" fmla="*/ 0 h 237"/>
                  <a:gd name="T46" fmla="*/ 15 w 137"/>
                  <a:gd name="T47" fmla="*/ 8 h 237"/>
                  <a:gd name="T48" fmla="*/ 15 w 137"/>
                  <a:gd name="T49" fmla="*/ 8 h 237"/>
                  <a:gd name="T50" fmla="*/ 15 w 137"/>
                  <a:gd name="T51" fmla="*/ 8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37" h="237">
                    <a:moveTo>
                      <a:pt x="15" y="8"/>
                    </a:moveTo>
                    <a:lnTo>
                      <a:pt x="15" y="22"/>
                    </a:lnTo>
                    <a:lnTo>
                      <a:pt x="38" y="43"/>
                    </a:lnTo>
                    <a:lnTo>
                      <a:pt x="30" y="96"/>
                    </a:lnTo>
                    <a:lnTo>
                      <a:pt x="0" y="131"/>
                    </a:lnTo>
                    <a:lnTo>
                      <a:pt x="0" y="139"/>
                    </a:lnTo>
                    <a:lnTo>
                      <a:pt x="6" y="148"/>
                    </a:lnTo>
                    <a:lnTo>
                      <a:pt x="6" y="163"/>
                    </a:lnTo>
                    <a:lnTo>
                      <a:pt x="30" y="200"/>
                    </a:lnTo>
                    <a:lnTo>
                      <a:pt x="6" y="200"/>
                    </a:lnTo>
                    <a:lnTo>
                      <a:pt x="6" y="208"/>
                    </a:lnTo>
                    <a:lnTo>
                      <a:pt x="15" y="215"/>
                    </a:lnTo>
                    <a:lnTo>
                      <a:pt x="30" y="237"/>
                    </a:lnTo>
                    <a:lnTo>
                      <a:pt x="80" y="215"/>
                    </a:lnTo>
                    <a:lnTo>
                      <a:pt x="67" y="215"/>
                    </a:lnTo>
                    <a:lnTo>
                      <a:pt x="95" y="208"/>
                    </a:lnTo>
                    <a:lnTo>
                      <a:pt x="125" y="178"/>
                    </a:lnTo>
                    <a:lnTo>
                      <a:pt x="130" y="178"/>
                    </a:lnTo>
                    <a:lnTo>
                      <a:pt x="110" y="148"/>
                    </a:lnTo>
                    <a:lnTo>
                      <a:pt x="130" y="117"/>
                    </a:lnTo>
                    <a:lnTo>
                      <a:pt x="137" y="117"/>
                    </a:lnTo>
                    <a:lnTo>
                      <a:pt x="137" y="59"/>
                    </a:lnTo>
                    <a:lnTo>
                      <a:pt x="38" y="0"/>
                    </a:lnTo>
                    <a:lnTo>
                      <a:pt x="15" y="8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49" name="Freeform 185"/>
              <p:cNvSpPr>
                <a:spLocks/>
              </p:cNvSpPr>
              <p:nvPr/>
            </p:nvSpPr>
            <p:spPr bwMode="auto">
              <a:xfrm>
                <a:off x="4833938" y="4414838"/>
                <a:ext cx="400050" cy="506412"/>
              </a:xfrm>
              <a:custGeom>
                <a:avLst/>
                <a:gdLst>
                  <a:gd name="T0" fmla="*/ 16 w 229"/>
                  <a:gd name="T1" fmla="*/ 175 h 289"/>
                  <a:gd name="T2" fmla="*/ 28 w 229"/>
                  <a:gd name="T3" fmla="*/ 197 h 289"/>
                  <a:gd name="T4" fmla="*/ 28 w 229"/>
                  <a:gd name="T5" fmla="*/ 214 h 289"/>
                  <a:gd name="T6" fmla="*/ 43 w 229"/>
                  <a:gd name="T7" fmla="*/ 222 h 289"/>
                  <a:gd name="T8" fmla="*/ 80 w 229"/>
                  <a:gd name="T9" fmla="*/ 266 h 289"/>
                  <a:gd name="T10" fmla="*/ 85 w 229"/>
                  <a:gd name="T11" fmla="*/ 282 h 289"/>
                  <a:gd name="T12" fmla="*/ 113 w 229"/>
                  <a:gd name="T13" fmla="*/ 282 h 289"/>
                  <a:gd name="T14" fmla="*/ 122 w 229"/>
                  <a:gd name="T15" fmla="*/ 289 h 289"/>
                  <a:gd name="T16" fmla="*/ 137 w 229"/>
                  <a:gd name="T17" fmla="*/ 289 h 289"/>
                  <a:gd name="T18" fmla="*/ 164 w 229"/>
                  <a:gd name="T19" fmla="*/ 282 h 289"/>
                  <a:gd name="T20" fmla="*/ 192 w 229"/>
                  <a:gd name="T21" fmla="*/ 282 h 289"/>
                  <a:gd name="T22" fmla="*/ 192 w 229"/>
                  <a:gd name="T23" fmla="*/ 261 h 289"/>
                  <a:gd name="T24" fmla="*/ 186 w 229"/>
                  <a:gd name="T25" fmla="*/ 261 h 289"/>
                  <a:gd name="T26" fmla="*/ 164 w 229"/>
                  <a:gd name="T27" fmla="*/ 235 h 289"/>
                  <a:gd name="T28" fmla="*/ 157 w 229"/>
                  <a:gd name="T29" fmla="*/ 222 h 289"/>
                  <a:gd name="T30" fmla="*/ 199 w 229"/>
                  <a:gd name="T31" fmla="*/ 143 h 289"/>
                  <a:gd name="T32" fmla="*/ 207 w 229"/>
                  <a:gd name="T33" fmla="*/ 91 h 289"/>
                  <a:gd name="T34" fmla="*/ 229 w 229"/>
                  <a:gd name="T35" fmla="*/ 84 h 289"/>
                  <a:gd name="T36" fmla="*/ 229 w 229"/>
                  <a:gd name="T37" fmla="*/ 76 h 289"/>
                  <a:gd name="T38" fmla="*/ 214 w 229"/>
                  <a:gd name="T39" fmla="*/ 69 h 289"/>
                  <a:gd name="T40" fmla="*/ 207 w 229"/>
                  <a:gd name="T41" fmla="*/ 8 h 289"/>
                  <a:gd name="T42" fmla="*/ 192 w 229"/>
                  <a:gd name="T43" fmla="*/ 0 h 289"/>
                  <a:gd name="T44" fmla="*/ 164 w 229"/>
                  <a:gd name="T45" fmla="*/ 17 h 289"/>
                  <a:gd name="T46" fmla="*/ 157 w 229"/>
                  <a:gd name="T47" fmla="*/ 8 h 289"/>
                  <a:gd name="T48" fmla="*/ 43 w 229"/>
                  <a:gd name="T49" fmla="*/ 8 h 289"/>
                  <a:gd name="T50" fmla="*/ 43 w 229"/>
                  <a:gd name="T51" fmla="*/ 39 h 289"/>
                  <a:gd name="T52" fmla="*/ 28 w 229"/>
                  <a:gd name="T53" fmla="*/ 52 h 289"/>
                  <a:gd name="T54" fmla="*/ 28 w 229"/>
                  <a:gd name="T55" fmla="*/ 113 h 289"/>
                  <a:gd name="T56" fmla="*/ 21 w 229"/>
                  <a:gd name="T57" fmla="*/ 113 h 289"/>
                  <a:gd name="T58" fmla="*/ 0 w 229"/>
                  <a:gd name="T59" fmla="*/ 143 h 289"/>
                  <a:gd name="T60" fmla="*/ 21 w 229"/>
                  <a:gd name="T61" fmla="*/ 175 h 289"/>
                  <a:gd name="T62" fmla="*/ 16 w 229"/>
                  <a:gd name="T63" fmla="*/ 175 h 289"/>
                  <a:gd name="T64" fmla="*/ 16 w 229"/>
                  <a:gd name="T65" fmla="*/ 175 h 289"/>
                  <a:gd name="T66" fmla="*/ 16 w 229"/>
                  <a:gd name="T67" fmla="*/ 175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29" h="289">
                    <a:moveTo>
                      <a:pt x="16" y="175"/>
                    </a:moveTo>
                    <a:lnTo>
                      <a:pt x="28" y="197"/>
                    </a:lnTo>
                    <a:lnTo>
                      <a:pt x="28" y="214"/>
                    </a:lnTo>
                    <a:lnTo>
                      <a:pt x="43" y="222"/>
                    </a:lnTo>
                    <a:lnTo>
                      <a:pt x="80" y="266"/>
                    </a:lnTo>
                    <a:lnTo>
                      <a:pt x="85" y="282"/>
                    </a:lnTo>
                    <a:lnTo>
                      <a:pt x="113" y="282"/>
                    </a:lnTo>
                    <a:lnTo>
                      <a:pt x="122" y="289"/>
                    </a:lnTo>
                    <a:lnTo>
                      <a:pt x="137" y="289"/>
                    </a:lnTo>
                    <a:lnTo>
                      <a:pt x="164" y="282"/>
                    </a:lnTo>
                    <a:lnTo>
                      <a:pt x="192" y="282"/>
                    </a:lnTo>
                    <a:lnTo>
                      <a:pt x="192" y="261"/>
                    </a:lnTo>
                    <a:lnTo>
                      <a:pt x="186" y="261"/>
                    </a:lnTo>
                    <a:lnTo>
                      <a:pt x="164" y="235"/>
                    </a:lnTo>
                    <a:lnTo>
                      <a:pt x="157" y="222"/>
                    </a:lnTo>
                    <a:lnTo>
                      <a:pt x="199" y="143"/>
                    </a:lnTo>
                    <a:lnTo>
                      <a:pt x="207" y="91"/>
                    </a:lnTo>
                    <a:lnTo>
                      <a:pt x="229" y="84"/>
                    </a:lnTo>
                    <a:lnTo>
                      <a:pt x="229" y="76"/>
                    </a:lnTo>
                    <a:lnTo>
                      <a:pt x="214" y="69"/>
                    </a:lnTo>
                    <a:lnTo>
                      <a:pt x="207" y="8"/>
                    </a:lnTo>
                    <a:lnTo>
                      <a:pt x="192" y="0"/>
                    </a:lnTo>
                    <a:lnTo>
                      <a:pt x="164" y="17"/>
                    </a:lnTo>
                    <a:lnTo>
                      <a:pt x="157" y="8"/>
                    </a:lnTo>
                    <a:lnTo>
                      <a:pt x="43" y="8"/>
                    </a:lnTo>
                    <a:lnTo>
                      <a:pt x="43" y="39"/>
                    </a:lnTo>
                    <a:lnTo>
                      <a:pt x="28" y="52"/>
                    </a:lnTo>
                    <a:lnTo>
                      <a:pt x="28" y="113"/>
                    </a:lnTo>
                    <a:lnTo>
                      <a:pt x="21" y="113"/>
                    </a:lnTo>
                    <a:lnTo>
                      <a:pt x="0" y="143"/>
                    </a:lnTo>
                    <a:lnTo>
                      <a:pt x="21" y="175"/>
                    </a:lnTo>
                    <a:lnTo>
                      <a:pt x="16" y="175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50" name="Freeform 186"/>
              <p:cNvSpPr>
                <a:spLocks/>
              </p:cNvSpPr>
              <p:nvPr/>
            </p:nvSpPr>
            <p:spPr bwMode="auto">
              <a:xfrm>
                <a:off x="5121275" y="4903788"/>
                <a:ext cx="196850" cy="225425"/>
              </a:xfrm>
              <a:custGeom>
                <a:avLst/>
                <a:gdLst>
                  <a:gd name="T0" fmla="*/ 112 w 112"/>
                  <a:gd name="T1" fmla="*/ 10 h 130"/>
                  <a:gd name="T2" fmla="*/ 90 w 112"/>
                  <a:gd name="T3" fmla="*/ 0 h 130"/>
                  <a:gd name="T4" fmla="*/ 70 w 112"/>
                  <a:gd name="T5" fmla="*/ 10 h 130"/>
                  <a:gd name="T6" fmla="*/ 0 w 112"/>
                  <a:gd name="T7" fmla="*/ 0 h 130"/>
                  <a:gd name="T8" fmla="*/ 8 w 112"/>
                  <a:gd name="T9" fmla="*/ 10 h 130"/>
                  <a:gd name="T10" fmla="*/ 22 w 112"/>
                  <a:gd name="T11" fmla="*/ 39 h 130"/>
                  <a:gd name="T12" fmla="*/ 0 w 112"/>
                  <a:gd name="T13" fmla="*/ 62 h 130"/>
                  <a:gd name="T14" fmla="*/ 0 w 112"/>
                  <a:gd name="T15" fmla="*/ 76 h 130"/>
                  <a:gd name="T16" fmla="*/ 8 w 112"/>
                  <a:gd name="T17" fmla="*/ 76 h 130"/>
                  <a:gd name="T18" fmla="*/ 48 w 112"/>
                  <a:gd name="T19" fmla="*/ 101 h 130"/>
                  <a:gd name="T20" fmla="*/ 48 w 112"/>
                  <a:gd name="T21" fmla="*/ 121 h 130"/>
                  <a:gd name="T22" fmla="*/ 77 w 112"/>
                  <a:gd name="T23" fmla="*/ 130 h 130"/>
                  <a:gd name="T24" fmla="*/ 83 w 112"/>
                  <a:gd name="T25" fmla="*/ 101 h 130"/>
                  <a:gd name="T26" fmla="*/ 90 w 112"/>
                  <a:gd name="T27" fmla="*/ 101 h 130"/>
                  <a:gd name="T28" fmla="*/ 105 w 112"/>
                  <a:gd name="T29" fmla="*/ 84 h 130"/>
                  <a:gd name="T30" fmla="*/ 90 w 112"/>
                  <a:gd name="T31" fmla="*/ 76 h 130"/>
                  <a:gd name="T32" fmla="*/ 90 w 112"/>
                  <a:gd name="T33" fmla="*/ 30 h 130"/>
                  <a:gd name="T34" fmla="*/ 112 w 112"/>
                  <a:gd name="T35" fmla="*/ 10 h 130"/>
                  <a:gd name="T36" fmla="*/ 112 w 112"/>
                  <a:gd name="T37" fmla="*/ 10 h 130"/>
                  <a:gd name="T38" fmla="*/ 112 w 112"/>
                  <a:gd name="T39" fmla="*/ 1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12" h="130">
                    <a:moveTo>
                      <a:pt x="112" y="10"/>
                    </a:moveTo>
                    <a:lnTo>
                      <a:pt x="90" y="0"/>
                    </a:lnTo>
                    <a:lnTo>
                      <a:pt x="70" y="10"/>
                    </a:lnTo>
                    <a:lnTo>
                      <a:pt x="0" y="0"/>
                    </a:lnTo>
                    <a:lnTo>
                      <a:pt x="8" y="10"/>
                    </a:lnTo>
                    <a:lnTo>
                      <a:pt x="22" y="39"/>
                    </a:lnTo>
                    <a:lnTo>
                      <a:pt x="0" y="62"/>
                    </a:lnTo>
                    <a:lnTo>
                      <a:pt x="0" y="76"/>
                    </a:lnTo>
                    <a:lnTo>
                      <a:pt x="8" y="76"/>
                    </a:lnTo>
                    <a:lnTo>
                      <a:pt x="48" y="101"/>
                    </a:lnTo>
                    <a:lnTo>
                      <a:pt x="48" y="121"/>
                    </a:lnTo>
                    <a:lnTo>
                      <a:pt x="77" y="130"/>
                    </a:lnTo>
                    <a:lnTo>
                      <a:pt x="83" y="101"/>
                    </a:lnTo>
                    <a:lnTo>
                      <a:pt x="90" y="101"/>
                    </a:lnTo>
                    <a:lnTo>
                      <a:pt x="105" y="84"/>
                    </a:lnTo>
                    <a:lnTo>
                      <a:pt x="90" y="76"/>
                    </a:lnTo>
                    <a:lnTo>
                      <a:pt x="90" y="30"/>
                    </a:lnTo>
                    <a:lnTo>
                      <a:pt x="112" y="1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51" name="Freeform 187"/>
              <p:cNvSpPr>
                <a:spLocks/>
              </p:cNvSpPr>
              <p:nvPr/>
            </p:nvSpPr>
            <p:spPr bwMode="auto">
              <a:xfrm>
                <a:off x="5024438" y="4903788"/>
                <a:ext cx="134937" cy="142875"/>
              </a:xfrm>
              <a:custGeom>
                <a:avLst/>
                <a:gdLst>
                  <a:gd name="T0" fmla="*/ 54 w 76"/>
                  <a:gd name="T1" fmla="*/ 0 h 82"/>
                  <a:gd name="T2" fmla="*/ 60 w 76"/>
                  <a:gd name="T3" fmla="*/ 9 h 82"/>
                  <a:gd name="T4" fmla="*/ 76 w 76"/>
                  <a:gd name="T5" fmla="*/ 39 h 82"/>
                  <a:gd name="T6" fmla="*/ 54 w 76"/>
                  <a:gd name="T7" fmla="*/ 61 h 82"/>
                  <a:gd name="T8" fmla="*/ 54 w 76"/>
                  <a:gd name="T9" fmla="*/ 76 h 82"/>
                  <a:gd name="T10" fmla="*/ 14 w 76"/>
                  <a:gd name="T11" fmla="*/ 76 h 82"/>
                  <a:gd name="T12" fmla="*/ 0 w 76"/>
                  <a:gd name="T13" fmla="*/ 82 h 82"/>
                  <a:gd name="T14" fmla="*/ 3 w 76"/>
                  <a:gd name="T15" fmla="*/ 54 h 82"/>
                  <a:gd name="T16" fmla="*/ 14 w 76"/>
                  <a:gd name="T17" fmla="*/ 47 h 82"/>
                  <a:gd name="T18" fmla="*/ 20 w 76"/>
                  <a:gd name="T19" fmla="*/ 30 h 82"/>
                  <a:gd name="T20" fmla="*/ 14 w 76"/>
                  <a:gd name="T21" fmla="*/ 30 h 82"/>
                  <a:gd name="T22" fmla="*/ 14 w 76"/>
                  <a:gd name="T23" fmla="*/ 9 h 82"/>
                  <a:gd name="T24" fmla="*/ 27 w 76"/>
                  <a:gd name="T25" fmla="*/ 9 h 82"/>
                  <a:gd name="T26" fmla="*/ 54 w 76"/>
                  <a:gd name="T27" fmla="*/ 0 h 82"/>
                  <a:gd name="T28" fmla="*/ 54 w 76"/>
                  <a:gd name="T29" fmla="*/ 0 h 82"/>
                  <a:gd name="T30" fmla="*/ 54 w 76"/>
                  <a:gd name="T31" fmla="*/ 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76" h="82">
                    <a:moveTo>
                      <a:pt x="54" y="0"/>
                    </a:moveTo>
                    <a:lnTo>
                      <a:pt x="60" y="9"/>
                    </a:lnTo>
                    <a:lnTo>
                      <a:pt x="76" y="39"/>
                    </a:lnTo>
                    <a:lnTo>
                      <a:pt x="54" y="61"/>
                    </a:lnTo>
                    <a:lnTo>
                      <a:pt x="54" y="76"/>
                    </a:lnTo>
                    <a:lnTo>
                      <a:pt x="14" y="76"/>
                    </a:lnTo>
                    <a:lnTo>
                      <a:pt x="0" y="82"/>
                    </a:lnTo>
                    <a:lnTo>
                      <a:pt x="3" y="54"/>
                    </a:lnTo>
                    <a:lnTo>
                      <a:pt x="14" y="47"/>
                    </a:lnTo>
                    <a:lnTo>
                      <a:pt x="20" y="30"/>
                    </a:lnTo>
                    <a:lnTo>
                      <a:pt x="14" y="30"/>
                    </a:lnTo>
                    <a:lnTo>
                      <a:pt x="14" y="9"/>
                    </a:lnTo>
                    <a:lnTo>
                      <a:pt x="27" y="9"/>
                    </a:lnTo>
                    <a:lnTo>
                      <a:pt x="54" y="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52" name="Freeform 188"/>
              <p:cNvSpPr>
                <a:spLocks/>
              </p:cNvSpPr>
              <p:nvPr/>
            </p:nvSpPr>
            <p:spPr bwMode="auto">
              <a:xfrm>
                <a:off x="5024438" y="5037138"/>
                <a:ext cx="247650" cy="266700"/>
              </a:xfrm>
              <a:custGeom>
                <a:avLst/>
                <a:gdLst>
                  <a:gd name="T0" fmla="*/ 49 w 141"/>
                  <a:gd name="T1" fmla="*/ 130 h 153"/>
                  <a:gd name="T2" fmla="*/ 20 w 141"/>
                  <a:gd name="T3" fmla="*/ 108 h 153"/>
                  <a:gd name="T4" fmla="*/ 14 w 141"/>
                  <a:gd name="T5" fmla="*/ 108 h 153"/>
                  <a:gd name="T6" fmla="*/ 0 w 141"/>
                  <a:gd name="T7" fmla="*/ 84 h 153"/>
                  <a:gd name="T8" fmla="*/ 0 w 141"/>
                  <a:gd name="T9" fmla="*/ 54 h 153"/>
                  <a:gd name="T10" fmla="*/ 14 w 141"/>
                  <a:gd name="T11" fmla="*/ 31 h 153"/>
                  <a:gd name="T12" fmla="*/ 14 w 141"/>
                  <a:gd name="T13" fmla="*/ 0 h 153"/>
                  <a:gd name="T14" fmla="*/ 62 w 141"/>
                  <a:gd name="T15" fmla="*/ 0 h 153"/>
                  <a:gd name="T16" fmla="*/ 106 w 141"/>
                  <a:gd name="T17" fmla="*/ 24 h 153"/>
                  <a:gd name="T18" fmla="*/ 106 w 141"/>
                  <a:gd name="T19" fmla="*/ 46 h 153"/>
                  <a:gd name="T20" fmla="*/ 132 w 141"/>
                  <a:gd name="T21" fmla="*/ 54 h 153"/>
                  <a:gd name="T22" fmla="*/ 127 w 141"/>
                  <a:gd name="T23" fmla="*/ 68 h 153"/>
                  <a:gd name="T24" fmla="*/ 132 w 141"/>
                  <a:gd name="T25" fmla="*/ 91 h 153"/>
                  <a:gd name="T26" fmla="*/ 132 w 141"/>
                  <a:gd name="T27" fmla="*/ 130 h 153"/>
                  <a:gd name="T28" fmla="*/ 141 w 141"/>
                  <a:gd name="T29" fmla="*/ 138 h 153"/>
                  <a:gd name="T30" fmla="*/ 127 w 141"/>
                  <a:gd name="T31" fmla="*/ 153 h 153"/>
                  <a:gd name="T32" fmla="*/ 77 w 141"/>
                  <a:gd name="T33" fmla="*/ 153 h 153"/>
                  <a:gd name="T34" fmla="*/ 62 w 141"/>
                  <a:gd name="T35" fmla="*/ 130 h 153"/>
                  <a:gd name="T36" fmla="*/ 49 w 141"/>
                  <a:gd name="T37" fmla="*/ 130 h 153"/>
                  <a:gd name="T38" fmla="*/ 49 w 141"/>
                  <a:gd name="T39" fmla="*/ 130 h 153"/>
                  <a:gd name="T40" fmla="*/ 49 w 141"/>
                  <a:gd name="T41" fmla="*/ 130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41" h="153">
                    <a:moveTo>
                      <a:pt x="49" y="130"/>
                    </a:moveTo>
                    <a:lnTo>
                      <a:pt x="20" y="108"/>
                    </a:lnTo>
                    <a:lnTo>
                      <a:pt x="14" y="108"/>
                    </a:lnTo>
                    <a:lnTo>
                      <a:pt x="0" y="84"/>
                    </a:lnTo>
                    <a:lnTo>
                      <a:pt x="0" y="54"/>
                    </a:lnTo>
                    <a:lnTo>
                      <a:pt x="14" y="31"/>
                    </a:lnTo>
                    <a:lnTo>
                      <a:pt x="14" y="0"/>
                    </a:lnTo>
                    <a:lnTo>
                      <a:pt x="62" y="0"/>
                    </a:lnTo>
                    <a:lnTo>
                      <a:pt x="106" y="24"/>
                    </a:lnTo>
                    <a:lnTo>
                      <a:pt x="106" y="46"/>
                    </a:lnTo>
                    <a:lnTo>
                      <a:pt x="132" y="54"/>
                    </a:lnTo>
                    <a:lnTo>
                      <a:pt x="127" y="68"/>
                    </a:lnTo>
                    <a:lnTo>
                      <a:pt x="132" y="91"/>
                    </a:lnTo>
                    <a:lnTo>
                      <a:pt x="132" y="130"/>
                    </a:lnTo>
                    <a:lnTo>
                      <a:pt x="141" y="138"/>
                    </a:lnTo>
                    <a:lnTo>
                      <a:pt x="127" y="153"/>
                    </a:lnTo>
                    <a:lnTo>
                      <a:pt x="77" y="153"/>
                    </a:lnTo>
                    <a:lnTo>
                      <a:pt x="62" y="130"/>
                    </a:lnTo>
                    <a:lnTo>
                      <a:pt x="49" y="13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53" name="Freeform 189"/>
              <p:cNvSpPr>
                <a:spLocks/>
              </p:cNvSpPr>
              <p:nvPr/>
            </p:nvSpPr>
            <p:spPr bwMode="auto">
              <a:xfrm>
                <a:off x="4614863" y="4876800"/>
                <a:ext cx="444500" cy="474663"/>
              </a:xfrm>
              <a:custGeom>
                <a:avLst/>
                <a:gdLst>
                  <a:gd name="T0" fmla="*/ 204 w 253"/>
                  <a:gd name="T1" fmla="*/ 0 h 272"/>
                  <a:gd name="T2" fmla="*/ 144 w 253"/>
                  <a:gd name="T3" fmla="*/ 0 h 272"/>
                  <a:gd name="T4" fmla="*/ 139 w 253"/>
                  <a:gd name="T5" fmla="*/ 15 h 272"/>
                  <a:gd name="T6" fmla="*/ 108 w 253"/>
                  <a:gd name="T7" fmla="*/ 15 h 272"/>
                  <a:gd name="T8" fmla="*/ 100 w 253"/>
                  <a:gd name="T9" fmla="*/ 0 h 272"/>
                  <a:gd name="T10" fmla="*/ 93 w 253"/>
                  <a:gd name="T11" fmla="*/ 0 h 272"/>
                  <a:gd name="T12" fmla="*/ 80 w 253"/>
                  <a:gd name="T13" fmla="*/ 24 h 272"/>
                  <a:gd name="T14" fmla="*/ 65 w 253"/>
                  <a:gd name="T15" fmla="*/ 91 h 272"/>
                  <a:gd name="T16" fmla="*/ 51 w 253"/>
                  <a:gd name="T17" fmla="*/ 108 h 272"/>
                  <a:gd name="T18" fmla="*/ 43 w 253"/>
                  <a:gd name="T19" fmla="*/ 136 h 272"/>
                  <a:gd name="T20" fmla="*/ 21 w 253"/>
                  <a:gd name="T21" fmla="*/ 145 h 272"/>
                  <a:gd name="T22" fmla="*/ 8 w 253"/>
                  <a:gd name="T23" fmla="*/ 145 h 272"/>
                  <a:gd name="T24" fmla="*/ 0 w 253"/>
                  <a:gd name="T25" fmla="*/ 158 h 272"/>
                  <a:gd name="T26" fmla="*/ 0 w 253"/>
                  <a:gd name="T27" fmla="*/ 175 h 272"/>
                  <a:gd name="T28" fmla="*/ 15 w 253"/>
                  <a:gd name="T29" fmla="*/ 158 h 272"/>
                  <a:gd name="T30" fmla="*/ 58 w 253"/>
                  <a:gd name="T31" fmla="*/ 158 h 272"/>
                  <a:gd name="T32" fmla="*/ 58 w 253"/>
                  <a:gd name="T33" fmla="*/ 182 h 272"/>
                  <a:gd name="T34" fmla="*/ 72 w 253"/>
                  <a:gd name="T35" fmla="*/ 197 h 272"/>
                  <a:gd name="T36" fmla="*/ 93 w 253"/>
                  <a:gd name="T37" fmla="*/ 188 h 272"/>
                  <a:gd name="T38" fmla="*/ 93 w 253"/>
                  <a:gd name="T39" fmla="*/ 182 h 272"/>
                  <a:gd name="T40" fmla="*/ 108 w 253"/>
                  <a:gd name="T41" fmla="*/ 182 h 272"/>
                  <a:gd name="T42" fmla="*/ 124 w 253"/>
                  <a:gd name="T43" fmla="*/ 188 h 272"/>
                  <a:gd name="T44" fmla="*/ 124 w 253"/>
                  <a:gd name="T45" fmla="*/ 219 h 272"/>
                  <a:gd name="T46" fmla="*/ 139 w 253"/>
                  <a:gd name="T47" fmla="*/ 229 h 272"/>
                  <a:gd name="T48" fmla="*/ 124 w 253"/>
                  <a:gd name="T49" fmla="*/ 235 h 272"/>
                  <a:gd name="T50" fmla="*/ 124 w 253"/>
                  <a:gd name="T51" fmla="*/ 240 h 272"/>
                  <a:gd name="T52" fmla="*/ 150 w 253"/>
                  <a:gd name="T53" fmla="*/ 235 h 272"/>
                  <a:gd name="T54" fmla="*/ 189 w 253"/>
                  <a:gd name="T55" fmla="*/ 257 h 272"/>
                  <a:gd name="T56" fmla="*/ 194 w 253"/>
                  <a:gd name="T57" fmla="*/ 240 h 272"/>
                  <a:gd name="T58" fmla="*/ 216 w 253"/>
                  <a:gd name="T59" fmla="*/ 264 h 272"/>
                  <a:gd name="T60" fmla="*/ 231 w 253"/>
                  <a:gd name="T61" fmla="*/ 272 h 272"/>
                  <a:gd name="T62" fmla="*/ 231 w 253"/>
                  <a:gd name="T63" fmla="*/ 257 h 272"/>
                  <a:gd name="T64" fmla="*/ 216 w 253"/>
                  <a:gd name="T65" fmla="*/ 257 h 272"/>
                  <a:gd name="T66" fmla="*/ 216 w 253"/>
                  <a:gd name="T67" fmla="*/ 197 h 272"/>
                  <a:gd name="T68" fmla="*/ 244 w 253"/>
                  <a:gd name="T69" fmla="*/ 197 h 272"/>
                  <a:gd name="T70" fmla="*/ 231 w 253"/>
                  <a:gd name="T71" fmla="*/ 175 h 272"/>
                  <a:gd name="T72" fmla="*/ 231 w 253"/>
                  <a:gd name="T73" fmla="*/ 114 h 272"/>
                  <a:gd name="T74" fmla="*/ 216 w 253"/>
                  <a:gd name="T75" fmla="*/ 114 h 272"/>
                  <a:gd name="T76" fmla="*/ 231 w 253"/>
                  <a:gd name="T77" fmla="*/ 99 h 272"/>
                  <a:gd name="T78" fmla="*/ 237 w 253"/>
                  <a:gd name="T79" fmla="*/ 69 h 272"/>
                  <a:gd name="T80" fmla="*/ 244 w 253"/>
                  <a:gd name="T81" fmla="*/ 62 h 272"/>
                  <a:gd name="T82" fmla="*/ 253 w 253"/>
                  <a:gd name="T83" fmla="*/ 47 h 272"/>
                  <a:gd name="T84" fmla="*/ 244 w 253"/>
                  <a:gd name="T85" fmla="*/ 47 h 272"/>
                  <a:gd name="T86" fmla="*/ 244 w 253"/>
                  <a:gd name="T87" fmla="*/ 24 h 272"/>
                  <a:gd name="T88" fmla="*/ 237 w 253"/>
                  <a:gd name="T89" fmla="*/ 15 h 272"/>
                  <a:gd name="T90" fmla="*/ 209 w 253"/>
                  <a:gd name="T91" fmla="*/ 15 h 272"/>
                  <a:gd name="T92" fmla="*/ 204 w 253"/>
                  <a:gd name="T93" fmla="*/ 0 h 272"/>
                  <a:gd name="T94" fmla="*/ 204 w 253"/>
                  <a:gd name="T95" fmla="*/ 0 h 272"/>
                  <a:gd name="T96" fmla="*/ 204 w 253"/>
                  <a:gd name="T97" fmla="*/ 0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53" h="272">
                    <a:moveTo>
                      <a:pt x="204" y="0"/>
                    </a:moveTo>
                    <a:lnTo>
                      <a:pt x="144" y="0"/>
                    </a:lnTo>
                    <a:lnTo>
                      <a:pt x="139" y="15"/>
                    </a:lnTo>
                    <a:lnTo>
                      <a:pt x="108" y="15"/>
                    </a:lnTo>
                    <a:lnTo>
                      <a:pt x="100" y="0"/>
                    </a:lnTo>
                    <a:lnTo>
                      <a:pt x="93" y="0"/>
                    </a:lnTo>
                    <a:lnTo>
                      <a:pt x="80" y="24"/>
                    </a:lnTo>
                    <a:lnTo>
                      <a:pt x="65" y="91"/>
                    </a:lnTo>
                    <a:lnTo>
                      <a:pt x="51" y="108"/>
                    </a:lnTo>
                    <a:lnTo>
                      <a:pt x="43" y="136"/>
                    </a:lnTo>
                    <a:lnTo>
                      <a:pt x="21" y="145"/>
                    </a:lnTo>
                    <a:lnTo>
                      <a:pt x="8" y="145"/>
                    </a:lnTo>
                    <a:lnTo>
                      <a:pt x="0" y="158"/>
                    </a:lnTo>
                    <a:lnTo>
                      <a:pt x="0" y="175"/>
                    </a:lnTo>
                    <a:lnTo>
                      <a:pt x="15" y="158"/>
                    </a:lnTo>
                    <a:lnTo>
                      <a:pt x="58" y="158"/>
                    </a:lnTo>
                    <a:lnTo>
                      <a:pt x="58" y="182"/>
                    </a:lnTo>
                    <a:lnTo>
                      <a:pt x="72" y="197"/>
                    </a:lnTo>
                    <a:lnTo>
                      <a:pt x="93" y="188"/>
                    </a:lnTo>
                    <a:lnTo>
                      <a:pt x="93" y="182"/>
                    </a:lnTo>
                    <a:lnTo>
                      <a:pt x="108" y="182"/>
                    </a:lnTo>
                    <a:lnTo>
                      <a:pt x="124" y="188"/>
                    </a:lnTo>
                    <a:lnTo>
                      <a:pt x="124" y="219"/>
                    </a:lnTo>
                    <a:lnTo>
                      <a:pt x="139" y="229"/>
                    </a:lnTo>
                    <a:lnTo>
                      <a:pt x="124" y="235"/>
                    </a:lnTo>
                    <a:lnTo>
                      <a:pt x="124" y="240"/>
                    </a:lnTo>
                    <a:lnTo>
                      <a:pt x="150" y="235"/>
                    </a:lnTo>
                    <a:lnTo>
                      <a:pt x="189" y="257"/>
                    </a:lnTo>
                    <a:lnTo>
                      <a:pt x="194" y="240"/>
                    </a:lnTo>
                    <a:lnTo>
                      <a:pt x="216" y="264"/>
                    </a:lnTo>
                    <a:lnTo>
                      <a:pt x="231" y="272"/>
                    </a:lnTo>
                    <a:lnTo>
                      <a:pt x="231" y="257"/>
                    </a:lnTo>
                    <a:lnTo>
                      <a:pt x="216" y="257"/>
                    </a:lnTo>
                    <a:lnTo>
                      <a:pt x="216" y="197"/>
                    </a:lnTo>
                    <a:lnTo>
                      <a:pt x="244" y="197"/>
                    </a:lnTo>
                    <a:lnTo>
                      <a:pt x="231" y="175"/>
                    </a:lnTo>
                    <a:lnTo>
                      <a:pt x="231" y="114"/>
                    </a:lnTo>
                    <a:lnTo>
                      <a:pt x="216" y="114"/>
                    </a:lnTo>
                    <a:lnTo>
                      <a:pt x="231" y="99"/>
                    </a:lnTo>
                    <a:lnTo>
                      <a:pt x="237" y="69"/>
                    </a:lnTo>
                    <a:lnTo>
                      <a:pt x="244" y="62"/>
                    </a:lnTo>
                    <a:lnTo>
                      <a:pt x="253" y="47"/>
                    </a:lnTo>
                    <a:lnTo>
                      <a:pt x="244" y="47"/>
                    </a:lnTo>
                    <a:lnTo>
                      <a:pt x="244" y="24"/>
                    </a:lnTo>
                    <a:lnTo>
                      <a:pt x="237" y="15"/>
                    </a:lnTo>
                    <a:lnTo>
                      <a:pt x="209" y="15"/>
                    </a:lnTo>
                    <a:lnTo>
                      <a:pt x="204" y="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54" name="Freeform 190"/>
              <p:cNvSpPr>
                <a:spLocks/>
              </p:cNvSpPr>
              <p:nvPr/>
            </p:nvSpPr>
            <p:spPr bwMode="auto">
              <a:xfrm>
                <a:off x="4833938" y="5221288"/>
                <a:ext cx="287337" cy="252412"/>
              </a:xfrm>
              <a:custGeom>
                <a:avLst/>
                <a:gdLst>
                  <a:gd name="T0" fmla="*/ 28 w 164"/>
                  <a:gd name="T1" fmla="*/ 37 h 143"/>
                  <a:gd name="T2" fmla="*/ 63 w 164"/>
                  <a:gd name="T3" fmla="*/ 59 h 143"/>
                  <a:gd name="T4" fmla="*/ 70 w 164"/>
                  <a:gd name="T5" fmla="*/ 44 h 143"/>
                  <a:gd name="T6" fmla="*/ 92 w 164"/>
                  <a:gd name="T7" fmla="*/ 66 h 143"/>
                  <a:gd name="T8" fmla="*/ 107 w 164"/>
                  <a:gd name="T9" fmla="*/ 76 h 143"/>
                  <a:gd name="T10" fmla="*/ 107 w 164"/>
                  <a:gd name="T11" fmla="*/ 59 h 143"/>
                  <a:gd name="T12" fmla="*/ 92 w 164"/>
                  <a:gd name="T13" fmla="*/ 59 h 143"/>
                  <a:gd name="T14" fmla="*/ 92 w 164"/>
                  <a:gd name="T15" fmla="*/ 0 h 143"/>
                  <a:gd name="T16" fmla="*/ 129 w 164"/>
                  <a:gd name="T17" fmla="*/ 0 h 143"/>
                  <a:gd name="T18" fmla="*/ 157 w 164"/>
                  <a:gd name="T19" fmla="*/ 22 h 143"/>
                  <a:gd name="T20" fmla="*/ 164 w 164"/>
                  <a:gd name="T21" fmla="*/ 37 h 143"/>
                  <a:gd name="T22" fmla="*/ 157 w 164"/>
                  <a:gd name="T23" fmla="*/ 44 h 143"/>
                  <a:gd name="T24" fmla="*/ 157 w 164"/>
                  <a:gd name="T25" fmla="*/ 59 h 143"/>
                  <a:gd name="T26" fmla="*/ 150 w 164"/>
                  <a:gd name="T27" fmla="*/ 76 h 143"/>
                  <a:gd name="T28" fmla="*/ 157 w 164"/>
                  <a:gd name="T29" fmla="*/ 83 h 143"/>
                  <a:gd name="T30" fmla="*/ 113 w 164"/>
                  <a:gd name="T31" fmla="*/ 105 h 143"/>
                  <a:gd name="T32" fmla="*/ 113 w 164"/>
                  <a:gd name="T33" fmla="*/ 113 h 143"/>
                  <a:gd name="T34" fmla="*/ 92 w 164"/>
                  <a:gd name="T35" fmla="*/ 113 h 143"/>
                  <a:gd name="T36" fmla="*/ 92 w 164"/>
                  <a:gd name="T37" fmla="*/ 121 h 143"/>
                  <a:gd name="T38" fmla="*/ 70 w 164"/>
                  <a:gd name="T39" fmla="*/ 143 h 143"/>
                  <a:gd name="T40" fmla="*/ 43 w 164"/>
                  <a:gd name="T41" fmla="*/ 143 h 143"/>
                  <a:gd name="T42" fmla="*/ 28 w 164"/>
                  <a:gd name="T43" fmla="*/ 126 h 143"/>
                  <a:gd name="T44" fmla="*/ 21 w 164"/>
                  <a:gd name="T45" fmla="*/ 143 h 143"/>
                  <a:gd name="T46" fmla="*/ 0 w 164"/>
                  <a:gd name="T47" fmla="*/ 121 h 143"/>
                  <a:gd name="T48" fmla="*/ 0 w 164"/>
                  <a:gd name="T49" fmla="*/ 76 h 143"/>
                  <a:gd name="T50" fmla="*/ 35 w 164"/>
                  <a:gd name="T51" fmla="*/ 66 h 143"/>
                  <a:gd name="T52" fmla="*/ 28 w 164"/>
                  <a:gd name="T53" fmla="*/ 37 h 143"/>
                  <a:gd name="T54" fmla="*/ 28 w 164"/>
                  <a:gd name="T55" fmla="*/ 37 h 143"/>
                  <a:gd name="T56" fmla="*/ 28 w 164"/>
                  <a:gd name="T57" fmla="*/ 37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64" h="143">
                    <a:moveTo>
                      <a:pt x="28" y="37"/>
                    </a:moveTo>
                    <a:lnTo>
                      <a:pt x="63" y="59"/>
                    </a:lnTo>
                    <a:lnTo>
                      <a:pt x="70" y="44"/>
                    </a:lnTo>
                    <a:lnTo>
                      <a:pt x="92" y="66"/>
                    </a:lnTo>
                    <a:lnTo>
                      <a:pt x="107" y="76"/>
                    </a:lnTo>
                    <a:lnTo>
                      <a:pt x="107" y="59"/>
                    </a:lnTo>
                    <a:lnTo>
                      <a:pt x="92" y="59"/>
                    </a:lnTo>
                    <a:lnTo>
                      <a:pt x="92" y="0"/>
                    </a:lnTo>
                    <a:lnTo>
                      <a:pt x="129" y="0"/>
                    </a:lnTo>
                    <a:lnTo>
                      <a:pt x="157" y="22"/>
                    </a:lnTo>
                    <a:lnTo>
                      <a:pt x="164" y="37"/>
                    </a:lnTo>
                    <a:lnTo>
                      <a:pt x="157" y="44"/>
                    </a:lnTo>
                    <a:lnTo>
                      <a:pt x="157" y="59"/>
                    </a:lnTo>
                    <a:lnTo>
                      <a:pt x="150" y="76"/>
                    </a:lnTo>
                    <a:lnTo>
                      <a:pt x="157" y="83"/>
                    </a:lnTo>
                    <a:lnTo>
                      <a:pt x="113" y="105"/>
                    </a:lnTo>
                    <a:lnTo>
                      <a:pt x="113" y="113"/>
                    </a:lnTo>
                    <a:lnTo>
                      <a:pt x="92" y="113"/>
                    </a:lnTo>
                    <a:lnTo>
                      <a:pt x="92" y="121"/>
                    </a:lnTo>
                    <a:lnTo>
                      <a:pt x="70" y="143"/>
                    </a:lnTo>
                    <a:lnTo>
                      <a:pt x="43" y="143"/>
                    </a:lnTo>
                    <a:lnTo>
                      <a:pt x="28" y="126"/>
                    </a:lnTo>
                    <a:lnTo>
                      <a:pt x="21" y="143"/>
                    </a:lnTo>
                    <a:lnTo>
                      <a:pt x="0" y="121"/>
                    </a:lnTo>
                    <a:lnTo>
                      <a:pt x="0" y="76"/>
                    </a:lnTo>
                    <a:lnTo>
                      <a:pt x="35" y="66"/>
                    </a:lnTo>
                    <a:lnTo>
                      <a:pt x="28" y="37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55" name="Freeform 191"/>
              <p:cNvSpPr>
                <a:spLocks/>
              </p:cNvSpPr>
              <p:nvPr/>
            </p:nvSpPr>
            <p:spPr bwMode="auto">
              <a:xfrm>
                <a:off x="4006850" y="4051300"/>
                <a:ext cx="292100" cy="236538"/>
              </a:xfrm>
              <a:custGeom>
                <a:avLst/>
                <a:gdLst>
                  <a:gd name="T0" fmla="*/ 151 w 166"/>
                  <a:gd name="T1" fmla="*/ 6 h 136"/>
                  <a:gd name="T2" fmla="*/ 158 w 166"/>
                  <a:gd name="T3" fmla="*/ 6 h 136"/>
                  <a:gd name="T4" fmla="*/ 166 w 166"/>
                  <a:gd name="T5" fmla="*/ 52 h 136"/>
                  <a:gd name="T6" fmla="*/ 129 w 166"/>
                  <a:gd name="T7" fmla="*/ 60 h 136"/>
                  <a:gd name="T8" fmla="*/ 129 w 166"/>
                  <a:gd name="T9" fmla="*/ 74 h 136"/>
                  <a:gd name="T10" fmla="*/ 108 w 166"/>
                  <a:gd name="T11" fmla="*/ 89 h 136"/>
                  <a:gd name="T12" fmla="*/ 71 w 166"/>
                  <a:gd name="T13" fmla="*/ 106 h 136"/>
                  <a:gd name="T14" fmla="*/ 64 w 166"/>
                  <a:gd name="T15" fmla="*/ 111 h 136"/>
                  <a:gd name="T16" fmla="*/ 64 w 166"/>
                  <a:gd name="T17" fmla="*/ 136 h 136"/>
                  <a:gd name="T18" fmla="*/ 0 w 166"/>
                  <a:gd name="T19" fmla="*/ 126 h 136"/>
                  <a:gd name="T20" fmla="*/ 21 w 166"/>
                  <a:gd name="T21" fmla="*/ 126 h 136"/>
                  <a:gd name="T22" fmla="*/ 36 w 166"/>
                  <a:gd name="T23" fmla="*/ 106 h 136"/>
                  <a:gd name="T24" fmla="*/ 42 w 166"/>
                  <a:gd name="T25" fmla="*/ 89 h 136"/>
                  <a:gd name="T26" fmla="*/ 42 w 166"/>
                  <a:gd name="T27" fmla="*/ 74 h 136"/>
                  <a:gd name="T28" fmla="*/ 64 w 166"/>
                  <a:gd name="T29" fmla="*/ 37 h 136"/>
                  <a:gd name="T30" fmla="*/ 84 w 166"/>
                  <a:gd name="T31" fmla="*/ 22 h 136"/>
                  <a:gd name="T32" fmla="*/ 101 w 166"/>
                  <a:gd name="T33" fmla="*/ 0 h 136"/>
                  <a:gd name="T34" fmla="*/ 108 w 166"/>
                  <a:gd name="T35" fmla="*/ 0 h 136"/>
                  <a:gd name="T36" fmla="*/ 114 w 166"/>
                  <a:gd name="T37" fmla="*/ 6 h 136"/>
                  <a:gd name="T38" fmla="*/ 151 w 166"/>
                  <a:gd name="T39" fmla="*/ 6 h 136"/>
                  <a:gd name="T40" fmla="*/ 151 w 166"/>
                  <a:gd name="T41" fmla="*/ 6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6" h="136">
                    <a:moveTo>
                      <a:pt x="151" y="6"/>
                    </a:moveTo>
                    <a:lnTo>
                      <a:pt x="158" y="6"/>
                    </a:lnTo>
                    <a:lnTo>
                      <a:pt x="166" y="52"/>
                    </a:lnTo>
                    <a:lnTo>
                      <a:pt x="129" y="60"/>
                    </a:lnTo>
                    <a:lnTo>
                      <a:pt x="129" y="74"/>
                    </a:lnTo>
                    <a:lnTo>
                      <a:pt x="108" y="89"/>
                    </a:lnTo>
                    <a:lnTo>
                      <a:pt x="71" y="106"/>
                    </a:lnTo>
                    <a:lnTo>
                      <a:pt x="64" y="111"/>
                    </a:lnTo>
                    <a:lnTo>
                      <a:pt x="64" y="136"/>
                    </a:lnTo>
                    <a:lnTo>
                      <a:pt x="0" y="126"/>
                    </a:lnTo>
                    <a:lnTo>
                      <a:pt x="21" y="126"/>
                    </a:lnTo>
                    <a:lnTo>
                      <a:pt x="36" y="106"/>
                    </a:lnTo>
                    <a:lnTo>
                      <a:pt x="42" y="89"/>
                    </a:lnTo>
                    <a:lnTo>
                      <a:pt x="42" y="74"/>
                    </a:lnTo>
                    <a:lnTo>
                      <a:pt x="64" y="37"/>
                    </a:lnTo>
                    <a:lnTo>
                      <a:pt x="84" y="22"/>
                    </a:lnTo>
                    <a:lnTo>
                      <a:pt x="101" y="0"/>
                    </a:lnTo>
                    <a:lnTo>
                      <a:pt x="108" y="0"/>
                    </a:lnTo>
                    <a:lnTo>
                      <a:pt x="114" y="6"/>
                    </a:lnTo>
                    <a:lnTo>
                      <a:pt x="151" y="6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56" name="Freeform 192"/>
              <p:cNvSpPr>
                <a:spLocks/>
              </p:cNvSpPr>
              <p:nvPr/>
            </p:nvSpPr>
            <p:spPr bwMode="auto">
              <a:xfrm>
                <a:off x="5103813" y="4545013"/>
                <a:ext cx="347662" cy="376237"/>
              </a:xfrm>
              <a:custGeom>
                <a:avLst/>
                <a:gdLst>
                  <a:gd name="T0" fmla="*/ 127 w 199"/>
                  <a:gd name="T1" fmla="*/ 86 h 215"/>
                  <a:gd name="T2" fmla="*/ 120 w 199"/>
                  <a:gd name="T3" fmla="*/ 86 h 215"/>
                  <a:gd name="T4" fmla="*/ 120 w 199"/>
                  <a:gd name="T5" fmla="*/ 114 h 215"/>
                  <a:gd name="T6" fmla="*/ 127 w 199"/>
                  <a:gd name="T7" fmla="*/ 114 h 215"/>
                  <a:gd name="T8" fmla="*/ 127 w 199"/>
                  <a:gd name="T9" fmla="*/ 123 h 215"/>
                  <a:gd name="T10" fmla="*/ 142 w 199"/>
                  <a:gd name="T11" fmla="*/ 140 h 215"/>
                  <a:gd name="T12" fmla="*/ 199 w 199"/>
                  <a:gd name="T13" fmla="*/ 146 h 215"/>
                  <a:gd name="T14" fmla="*/ 162 w 199"/>
                  <a:gd name="T15" fmla="*/ 192 h 215"/>
                  <a:gd name="T16" fmla="*/ 137 w 199"/>
                  <a:gd name="T17" fmla="*/ 192 h 215"/>
                  <a:gd name="T18" fmla="*/ 120 w 199"/>
                  <a:gd name="T19" fmla="*/ 215 h 215"/>
                  <a:gd name="T20" fmla="*/ 99 w 199"/>
                  <a:gd name="T21" fmla="*/ 208 h 215"/>
                  <a:gd name="T22" fmla="*/ 80 w 199"/>
                  <a:gd name="T23" fmla="*/ 215 h 215"/>
                  <a:gd name="T24" fmla="*/ 35 w 199"/>
                  <a:gd name="T25" fmla="*/ 208 h 215"/>
                  <a:gd name="T26" fmla="*/ 35 w 199"/>
                  <a:gd name="T27" fmla="*/ 187 h 215"/>
                  <a:gd name="T28" fmla="*/ 28 w 199"/>
                  <a:gd name="T29" fmla="*/ 187 h 215"/>
                  <a:gd name="T30" fmla="*/ 8 w 199"/>
                  <a:gd name="T31" fmla="*/ 161 h 215"/>
                  <a:gd name="T32" fmla="*/ 0 w 199"/>
                  <a:gd name="T33" fmla="*/ 146 h 215"/>
                  <a:gd name="T34" fmla="*/ 8 w 199"/>
                  <a:gd name="T35" fmla="*/ 140 h 215"/>
                  <a:gd name="T36" fmla="*/ 15 w 199"/>
                  <a:gd name="T37" fmla="*/ 114 h 215"/>
                  <a:gd name="T38" fmla="*/ 43 w 199"/>
                  <a:gd name="T39" fmla="*/ 69 h 215"/>
                  <a:gd name="T40" fmla="*/ 50 w 199"/>
                  <a:gd name="T41" fmla="*/ 15 h 215"/>
                  <a:gd name="T42" fmla="*/ 72 w 199"/>
                  <a:gd name="T43" fmla="*/ 8 h 215"/>
                  <a:gd name="T44" fmla="*/ 72 w 199"/>
                  <a:gd name="T45" fmla="*/ 0 h 215"/>
                  <a:gd name="T46" fmla="*/ 85 w 199"/>
                  <a:gd name="T47" fmla="*/ 37 h 215"/>
                  <a:gd name="T48" fmla="*/ 127 w 199"/>
                  <a:gd name="T49" fmla="*/ 86 h 215"/>
                  <a:gd name="T50" fmla="*/ 127 w 199"/>
                  <a:gd name="T51" fmla="*/ 86 h 215"/>
                  <a:gd name="T52" fmla="*/ 127 w 199"/>
                  <a:gd name="T53" fmla="*/ 86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99" h="215">
                    <a:moveTo>
                      <a:pt x="127" y="86"/>
                    </a:moveTo>
                    <a:lnTo>
                      <a:pt x="120" y="86"/>
                    </a:lnTo>
                    <a:lnTo>
                      <a:pt x="120" y="114"/>
                    </a:lnTo>
                    <a:lnTo>
                      <a:pt x="127" y="114"/>
                    </a:lnTo>
                    <a:lnTo>
                      <a:pt x="127" y="123"/>
                    </a:lnTo>
                    <a:lnTo>
                      <a:pt x="142" y="140"/>
                    </a:lnTo>
                    <a:lnTo>
                      <a:pt x="199" y="146"/>
                    </a:lnTo>
                    <a:lnTo>
                      <a:pt x="162" y="192"/>
                    </a:lnTo>
                    <a:lnTo>
                      <a:pt x="137" y="192"/>
                    </a:lnTo>
                    <a:lnTo>
                      <a:pt x="120" y="215"/>
                    </a:lnTo>
                    <a:lnTo>
                      <a:pt x="99" y="208"/>
                    </a:lnTo>
                    <a:lnTo>
                      <a:pt x="80" y="215"/>
                    </a:lnTo>
                    <a:lnTo>
                      <a:pt x="35" y="208"/>
                    </a:lnTo>
                    <a:lnTo>
                      <a:pt x="35" y="187"/>
                    </a:lnTo>
                    <a:lnTo>
                      <a:pt x="28" y="187"/>
                    </a:lnTo>
                    <a:lnTo>
                      <a:pt x="8" y="161"/>
                    </a:lnTo>
                    <a:lnTo>
                      <a:pt x="0" y="146"/>
                    </a:lnTo>
                    <a:lnTo>
                      <a:pt x="8" y="140"/>
                    </a:lnTo>
                    <a:lnTo>
                      <a:pt x="15" y="114"/>
                    </a:lnTo>
                    <a:lnTo>
                      <a:pt x="43" y="69"/>
                    </a:lnTo>
                    <a:lnTo>
                      <a:pt x="50" y="15"/>
                    </a:lnTo>
                    <a:lnTo>
                      <a:pt x="72" y="8"/>
                    </a:lnTo>
                    <a:lnTo>
                      <a:pt x="72" y="0"/>
                    </a:lnTo>
                    <a:lnTo>
                      <a:pt x="85" y="37"/>
                    </a:lnTo>
                    <a:lnTo>
                      <a:pt x="127" y="86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57" name="Freeform 193"/>
              <p:cNvSpPr>
                <a:spLocks/>
              </p:cNvSpPr>
              <p:nvPr/>
            </p:nvSpPr>
            <p:spPr bwMode="auto">
              <a:xfrm>
                <a:off x="5280025" y="4708525"/>
                <a:ext cx="250825" cy="338138"/>
              </a:xfrm>
              <a:custGeom>
                <a:avLst/>
                <a:gdLst>
                  <a:gd name="T0" fmla="*/ 22 w 143"/>
                  <a:gd name="T1" fmla="*/ 118 h 193"/>
                  <a:gd name="T2" fmla="*/ 0 w 143"/>
                  <a:gd name="T3" fmla="*/ 141 h 193"/>
                  <a:gd name="T4" fmla="*/ 0 w 143"/>
                  <a:gd name="T5" fmla="*/ 187 h 193"/>
                  <a:gd name="T6" fmla="*/ 15 w 143"/>
                  <a:gd name="T7" fmla="*/ 193 h 193"/>
                  <a:gd name="T8" fmla="*/ 37 w 143"/>
                  <a:gd name="T9" fmla="*/ 165 h 193"/>
                  <a:gd name="T10" fmla="*/ 99 w 143"/>
                  <a:gd name="T11" fmla="*/ 111 h 193"/>
                  <a:gd name="T12" fmla="*/ 112 w 143"/>
                  <a:gd name="T13" fmla="*/ 91 h 193"/>
                  <a:gd name="T14" fmla="*/ 143 w 143"/>
                  <a:gd name="T15" fmla="*/ 20 h 193"/>
                  <a:gd name="T16" fmla="*/ 143 w 143"/>
                  <a:gd name="T17" fmla="*/ 0 h 193"/>
                  <a:gd name="T18" fmla="*/ 128 w 143"/>
                  <a:gd name="T19" fmla="*/ 0 h 193"/>
                  <a:gd name="T20" fmla="*/ 57 w 143"/>
                  <a:gd name="T21" fmla="*/ 29 h 193"/>
                  <a:gd name="T22" fmla="*/ 44 w 143"/>
                  <a:gd name="T23" fmla="*/ 20 h 193"/>
                  <a:gd name="T24" fmla="*/ 37 w 143"/>
                  <a:gd name="T25" fmla="*/ 7 h 193"/>
                  <a:gd name="T26" fmla="*/ 29 w 143"/>
                  <a:gd name="T27" fmla="*/ 20 h 193"/>
                  <a:gd name="T28" fmla="*/ 29 w 143"/>
                  <a:gd name="T29" fmla="*/ 29 h 193"/>
                  <a:gd name="T30" fmla="*/ 44 w 143"/>
                  <a:gd name="T31" fmla="*/ 46 h 193"/>
                  <a:gd name="T32" fmla="*/ 99 w 143"/>
                  <a:gd name="T33" fmla="*/ 52 h 193"/>
                  <a:gd name="T34" fmla="*/ 62 w 143"/>
                  <a:gd name="T35" fmla="*/ 96 h 193"/>
                  <a:gd name="T36" fmla="*/ 37 w 143"/>
                  <a:gd name="T37" fmla="*/ 96 h 193"/>
                  <a:gd name="T38" fmla="*/ 22 w 143"/>
                  <a:gd name="T39" fmla="*/ 118 h 193"/>
                  <a:gd name="T40" fmla="*/ 22 w 143"/>
                  <a:gd name="T41" fmla="*/ 118 h 193"/>
                  <a:gd name="T42" fmla="*/ 22 w 143"/>
                  <a:gd name="T43" fmla="*/ 118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43" h="193">
                    <a:moveTo>
                      <a:pt x="22" y="118"/>
                    </a:moveTo>
                    <a:lnTo>
                      <a:pt x="0" y="141"/>
                    </a:lnTo>
                    <a:lnTo>
                      <a:pt x="0" y="187"/>
                    </a:lnTo>
                    <a:lnTo>
                      <a:pt x="15" y="193"/>
                    </a:lnTo>
                    <a:lnTo>
                      <a:pt x="37" y="165"/>
                    </a:lnTo>
                    <a:lnTo>
                      <a:pt x="99" y="111"/>
                    </a:lnTo>
                    <a:lnTo>
                      <a:pt x="112" y="91"/>
                    </a:lnTo>
                    <a:lnTo>
                      <a:pt x="143" y="20"/>
                    </a:lnTo>
                    <a:lnTo>
                      <a:pt x="143" y="0"/>
                    </a:lnTo>
                    <a:lnTo>
                      <a:pt x="128" y="0"/>
                    </a:lnTo>
                    <a:lnTo>
                      <a:pt x="57" y="29"/>
                    </a:lnTo>
                    <a:lnTo>
                      <a:pt x="44" y="20"/>
                    </a:lnTo>
                    <a:lnTo>
                      <a:pt x="37" y="7"/>
                    </a:lnTo>
                    <a:lnTo>
                      <a:pt x="29" y="20"/>
                    </a:lnTo>
                    <a:lnTo>
                      <a:pt x="29" y="29"/>
                    </a:lnTo>
                    <a:lnTo>
                      <a:pt x="44" y="46"/>
                    </a:lnTo>
                    <a:lnTo>
                      <a:pt x="99" y="52"/>
                    </a:lnTo>
                    <a:lnTo>
                      <a:pt x="62" y="96"/>
                    </a:lnTo>
                    <a:lnTo>
                      <a:pt x="37" y="96"/>
                    </a:lnTo>
                    <a:lnTo>
                      <a:pt x="22" y="118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58" name="Freeform 194"/>
              <p:cNvSpPr>
                <a:spLocks/>
              </p:cNvSpPr>
              <p:nvPr/>
            </p:nvSpPr>
            <p:spPr bwMode="auto">
              <a:xfrm>
                <a:off x="3924300" y="4287838"/>
                <a:ext cx="282575" cy="333375"/>
              </a:xfrm>
              <a:custGeom>
                <a:avLst/>
                <a:gdLst>
                  <a:gd name="T0" fmla="*/ 0 w 161"/>
                  <a:gd name="T1" fmla="*/ 96 h 190"/>
                  <a:gd name="T2" fmla="*/ 5 w 161"/>
                  <a:gd name="T3" fmla="*/ 89 h 190"/>
                  <a:gd name="T4" fmla="*/ 48 w 161"/>
                  <a:gd name="T5" fmla="*/ 89 h 190"/>
                  <a:gd name="T6" fmla="*/ 48 w 161"/>
                  <a:gd name="T7" fmla="*/ 74 h 190"/>
                  <a:gd name="T8" fmla="*/ 70 w 161"/>
                  <a:gd name="T9" fmla="*/ 67 h 190"/>
                  <a:gd name="T10" fmla="*/ 70 w 161"/>
                  <a:gd name="T11" fmla="*/ 20 h 190"/>
                  <a:gd name="T12" fmla="*/ 110 w 161"/>
                  <a:gd name="T13" fmla="*/ 20 h 190"/>
                  <a:gd name="T14" fmla="*/ 110 w 161"/>
                  <a:gd name="T15" fmla="*/ 0 h 190"/>
                  <a:gd name="T16" fmla="*/ 161 w 161"/>
                  <a:gd name="T17" fmla="*/ 33 h 190"/>
                  <a:gd name="T18" fmla="*/ 134 w 161"/>
                  <a:gd name="T19" fmla="*/ 33 h 190"/>
                  <a:gd name="T20" fmla="*/ 154 w 161"/>
                  <a:gd name="T21" fmla="*/ 183 h 190"/>
                  <a:gd name="T22" fmla="*/ 90 w 161"/>
                  <a:gd name="T23" fmla="*/ 183 h 190"/>
                  <a:gd name="T24" fmla="*/ 84 w 161"/>
                  <a:gd name="T25" fmla="*/ 190 h 190"/>
                  <a:gd name="T26" fmla="*/ 77 w 161"/>
                  <a:gd name="T27" fmla="*/ 183 h 190"/>
                  <a:gd name="T28" fmla="*/ 64 w 161"/>
                  <a:gd name="T29" fmla="*/ 190 h 190"/>
                  <a:gd name="T30" fmla="*/ 48 w 161"/>
                  <a:gd name="T31" fmla="*/ 168 h 190"/>
                  <a:gd name="T32" fmla="*/ 27 w 161"/>
                  <a:gd name="T33" fmla="*/ 161 h 190"/>
                  <a:gd name="T34" fmla="*/ 5 w 161"/>
                  <a:gd name="T35" fmla="*/ 161 h 190"/>
                  <a:gd name="T36" fmla="*/ 0 w 161"/>
                  <a:gd name="T37" fmla="*/ 168 h 190"/>
                  <a:gd name="T38" fmla="*/ 5 w 161"/>
                  <a:gd name="T39" fmla="*/ 139 h 190"/>
                  <a:gd name="T40" fmla="*/ 0 w 161"/>
                  <a:gd name="T41" fmla="*/ 124 h 190"/>
                  <a:gd name="T42" fmla="*/ 5 w 161"/>
                  <a:gd name="T43" fmla="*/ 109 h 190"/>
                  <a:gd name="T44" fmla="*/ 0 w 161"/>
                  <a:gd name="T45" fmla="*/ 96 h 190"/>
                  <a:gd name="T46" fmla="*/ 0 w 161"/>
                  <a:gd name="T47" fmla="*/ 96 h 190"/>
                  <a:gd name="T48" fmla="*/ 0 w 161"/>
                  <a:gd name="T49" fmla="*/ 96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61" h="190">
                    <a:moveTo>
                      <a:pt x="0" y="96"/>
                    </a:moveTo>
                    <a:lnTo>
                      <a:pt x="5" y="89"/>
                    </a:lnTo>
                    <a:lnTo>
                      <a:pt x="48" y="89"/>
                    </a:lnTo>
                    <a:lnTo>
                      <a:pt x="48" y="74"/>
                    </a:lnTo>
                    <a:lnTo>
                      <a:pt x="70" y="67"/>
                    </a:lnTo>
                    <a:lnTo>
                      <a:pt x="70" y="20"/>
                    </a:lnTo>
                    <a:lnTo>
                      <a:pt x="110" y="20"/>
                    </a:lnTo>
                    <a:lnTo>
                      <a:pt x="110" y="0"/>
                    </a:lnTo>
                    <a:lnTo>
                      <a:pt x="161" y="33"/>
                    </a:lnTo>
                    <a:lnTo>
                      <a:pt x="134" y="33"/>
                    </a:lnTo>
                    <a:lnTo>
                      <a:pt x="154" y="183"/>
                    </a:lnTo>
                    <a:lnTo>
                      <a:pt x="90" y="183"/>
                    </a:lnTo>
                    <a:lnTo>
                      <a:pt x="84" y="190"/>
                    </a:lnTo>
                    <a:lnTo>
                      <a:pt x="77" y="183"/>
                    </a:lnTo>
                    <a:lnTo>
                      <a:pt x="64" y="190"/>
                    </a:lnTo>
                    <a:lnTo>
                      <a:pt x="48" y="168"/>
                    </a:lnTo>
                    <a:lnTo>
                      <a:pt x="27" y="161"/>
                    </a:lnTo>
                    <a:lnTo>
                      <a:pt x="5" y="161"/>
                    </a:lnTo>
                    <a:lnTo>
                      <a:pt x="0" y="168"/>
                    </a:lnTo>
                    <a:lnTo>
                      <a:pt x="5" y="139"/>
                    </a:lnTo>
                    <a:lnTo>
                      <a:pt x="0" y="124"/>
                    </a:lnTo>
                    <a:lnTo>
                      <a:pt x="5" y="109"/>
                    </a:lnTo>
                    <a:lnTo>
                      <a:pt x="0" y="96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59" name="Freeform 195"/>
              <p:cNvSpPr>
                <a:spLocks/>
              </p:cNvSpPr>
              <p:nvPr/>
            </p:nvSpPr>
            <p:spPr bwMode="auto">
              <a:xfrm>
                <a:off x="3924300" y="4270375"/>
                <a:ext cx="198438" cy="188913"/>
              </a:xfrm>
              <a:custGeom>
                <a:avLst/>
                <a:gdLst>
                  <a:gd name="T0" fmla="*/ 0 w 114"/>
                  <a:gd name="T1" fmla="*/ 107 h 107"/>
                  <a:gd name="T2" fmla="*/ 7 w 114"/>
                  <a:gd name="T3" fmla="*/ 101 h 107"/>
                  <a:gd name="T4" fmla="*/ 50 w 114"/>
                  <a:gd name="T5" fmla="*/ 101 h 107"/>
                  <a:gd name="T6" fmla="*/ 50 w 114"/>
                  <a:gd name="T7" fmla="*/ 87 h 107"/>
                  <a:gd name="T8" fmla="*/ 70 w 114"/>
                  <a:gd name="T9" fmla="*/ 77 h 107"/>
                  <a:gd name="T10" fmla="*/ 70 w 114"/>
                  <a:gd name="T11" fmla="*/ 32 h 107"/>
                  <a:gd name="T12" fmla="*/ 114 w 114"/>
                  <a:gd name="T13" fmla="*/ 32 h 107"/>
                  <a:gd name="T14" fmla="*/ 114 w 114"/>
                  <a:gd name="T15" fmla="*/ 10 h 107"/>
                  <a:gd name="T16" fmla="*/ 50 w 114"/>
                  <a:gd name="T17" fmla="*/ 0 h 107"/>
                  <a:gd name="T18" fmla="*/ 27 w 114"/>
                  <a:gd name="T19" fmla="*/ 55 h 107"/>
                  <a:gd name="T20" fmla="*/ 0 w 114"/>
                  <a:gd name="T21" fmla="*/ 92 h 107"/>
                  <a:gd name="T22" fmla="*/ 0 w 114"/>
                  <a:gd name="T23" fmla="*/ 107 h 107"/>
                  <a:gd name="T24" fmla="*/ 0 w 114"/>
                  <a:gd name="T25" fmla="*/ 107 h 107"/>
                  <a:gd name="T26" fmla="*/ 0 w 114"/>
                  <a:gd name="T27" fmla="*/ 107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4" h="107">
                    <a:moveTo>
                      <a:pt x="0" y="107"/>
                    </a:moveTo>
                    <a:lnTo>
                      <a:pt x="7" y="101"/>
                    </a:lnTo>
                    <a:lnTo>
                      <a:pt x="50" y="101"/>
                    </a:lnTo>
                    <a:lnTo>
                      <a:pt x="50" y="87"/>
                    </a:lnTo>
                    <a:lnTo>
                      <a:pt x="70" y="77"/>
                    </a:lnTo>
                    <a:lnTo>
                      <a:pt x="70" y="32"/>
                    </a:lnTo>
                    <a:lnTo>
                      <a:pt x="114" y="32"/>
                    </a:lnTo>
                    <a:lnTo>
                      <a:pt x="114" y="10"/>
                    </a:lnTo>
                    <a:lnTo>
                      <a:pt x="50" y="0"/>
                    </a:lnTo>
                    <a:lnTo>
                      <a:pt x="27" y="55"/>
                    </a:lnTo>
                    <a:lnTo>
                      <a:pt x="0" y="92"/>
                    </a:lnTo>
                    <a:lnTo>
                      <a:pt x="0" y="107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60" name="Freeform 196"/>
              <p:cNvSpPr>
                <a:spLocks/>
              </p:cNvSpPr>
              <p:nvPr/>
            </p:nvSpPr>
            <p:spPr bwMode="auto">
              <a:xfrm>
                <a:off x="3908425" y="4573588"/>
                <a:ext cx="149225" cy="120650"/>
              </a:xfrm>
              <a:custGeom>
                <a:avLst/>
                <a:gdLst>
                  <a:gd name="T0" fmla="*/ 9 w 86"/>
                  <a:gd name="T1" fmla="*/ 54 h 69"/>
                  <a:gd name="T2" fmla="*/ 16 w 86"/>
                  <a:gd name="T3" fmla="*/ 54 h 69"/>
                  <a:gd name="T4" fmla="*/ 37 w 86"/>
                  <a:gd name="T5" fmla="*/ 45 h 69"/>
                  <a:gd name="T6" fmla="*/ 42 w 86"/>
                  <a:gd name="T7" fmla="*/ 54 h 69"/>
                  <a:gd name="T8" fmla="*/ 51 w 86"/>
                  <a:gd name="T9" fmla="*/ 45 h 69"/>
                  <a:gd name="T10" fmla="*/ 9 w 86"/>
                  <a:gd name="T11" fmla="*/ 45 h 69"/>
                  <a:gd name="T12" fmla="*/ 0 w 86"/>
                  <a:gd name="T13" fmla="*/ 30 h 69"/>
                  <a:gd name="T14" fmla="*/ 9 w 86"/>
                  <a:gd name="T15" fmla="*/ 8 h 69"/>
                  <a:gd name="T16" fmla="*/ 16 w 86"/>
                  <a:gd name="T17" fmla="*/ 0 h 69"/>
                  <a:gd name="T18" fmla="*/ 37 w 86"/>
                  <a:gd name="T19" fmla="*/ 0 h 69"/>
                  <a:gd name="T20" fmla="*/ 59 w 86"/>
                  <a:gd name="T21" fmla="*/ 8 h 69"/>
                  <a:gd name="T22" fmla="*/ 73 w 86"/>
                  <a:gd name="T23" fmla="*/ 30 h 69"/>
                  <a:gd name="T24" fmla="*/ 86 w 86"/>
                  <a:gd name="T25" fmla="*/ 69 h 69"/>
                  <a:gd name="T26" fmla="*/ 9 w 86"/>
                  <a:gd name="T27" fmla="*/ 69 h 69"/>
                  <a:gd name="T28" fmla="*/ 9 w 86"/>
                  <a:gd name="T29" fmla="*/ 54 h 69"/>
                  <a:gd name="T30" fmla="*/ 9 w 86"/>
                  <a:gd name="T31" fmla="*/ 54 h 69"/>
                  <a:gd name="T32" fmla="*/ 9 w 86"/>
                  <a:gd name="T33" fmla="*/ 54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6" h="69">
                    <a:moveTo>
                      <a:pt x="9" y="54"/>
                    </a:moveTo>
                    <a:lnTo>
                      <a:pt x="16" y="54"/>
                    </a:lnTo>
                    <a:lnTo>
                      <a:pt x="37" y="45"/>
                    </a:lnTo>
                    <a:lnTo>
                      <a:pt x="42" y="54"/>
                    </a:lnTo>
                    <a:lnTo>
                      <a:pt x="51" y="45"/>
                    </a:lnTo>
                    <a:lnTo>
                      <a:pt x="9" y="45"/>
                    </a:lnTo>
                    <a:lnTo>
                      <a:pt x="0" y="30"/>
                    </a:lnTo>
                    <a:lnTo>
                      <a:pt x="9" y="8"/>
                    </a:lnTo>
                    <a:lnTo>
                      <a:pt x="16" y="0"/>
                    </a:lnTo>
                    <a:lnTo>
                      <a:pt x="37" y="0"/>
                    </a:lnTo>
                    <a:lnTo>
                      <a:pt x="59" y="8"/>
                    </a:lnTo>
                    <a:lnTo>
                      <a:pt x="73" y="30"/>
                    </a:lnTo>
                    <a:lnTo>
                      <a:pt x="86" y="69"/>
                    </a:lnTo>
                    <a:lnTo>
                      <a:pt x="9" y="69"/>
                    </a:lnTo>
                    <a:lnTo>
                      <a:pt x="9" y="54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61" name="Freeform 197"/>
              <p:cNvSpPr>
                <a:spLocks/>
              </p:cNvSpPr>
              <p:nvPr/>
            </p:nvSpPr>
            <p:spPr bwMode="auto">
              <a:xfrm>
                <a:off x="3924300" y="4659313"/>
                <a:ext cx="73025" cy="42862"/>
              </a:xfrm>
              <a:custGeom>
                <a:avLst/>
                <a:gdLst>
                  <a:gd name="T0" fmla="*/ 0 w 42"/>
                  <a:gd name="T1" fmla="*/ 25 h 25"/>
                  <a:gd name="T2" fmla="*/ 7 w 42"/>
                  <a:gd name="T3" fmla="*/ 25 h 25"/>
                  <a:gd name="T4" fmla="*/ 28 w 42"/>
                  <a:gd name="T5" fmla="*/ 0 h 25"/>
                  <a:gd name="T6" fmla="*/ 33 w 42"/>
                  <a:gd name="T7" fmla="*/ 25 h 25"/>
                  <a:gd name="T8" fmla="*/ 42 w 42"/>
                  <a:gd name="T9" fmla="*/ 0 h 25"/>
                  <a:gd name="T10" fmla="*/ 0 w 42"/>
                  <a:gd name="T11" fmla="*/ 0 h 25"/>
                  <a:gd name="T12" fmla="*/ 0 w 42"/>
                  <a:gd name="T13" fmla="*/ 25 h 25"/>
                  <a:gd name="T14" fmla="*/ 0 w 42"/>
                  <a:gd name="T15" fmla="*/ 25 h 25"/>
                  <a:gd name="T16" fmla="*/ 0 w 42"/>
                  <a:gd name="T17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" h="25">
                    <a:moveTo>
                      <a:pt x="0" y="25"/>
                    </a:moveTo>
                    <a:lnTo>
                      <a:pt x="7" y="25"/>
                    </a:lnTo>
                    <a:lnTo>
                      <a:pt x="28" y="0"/>
                    </a:lnTo>
                    <a:lnTo>
                      <a:pt x="33" y="25"/>
                    </a:lnTo>
                    <a:lnTo>
                      <a:pt x="42" y="0"/>
                    </a:lnTo>
                    <a:lnTo>
                      <a:pt x="0" y="0"/>
                    </a:lnTo>
                    <a:lnTo>
                      <a:pt x="0" y="25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62" name="Freeform 198"/>
              <p:cNvSpPr>
                <a:spLocks/>
              </p:cNvSpPr>
              <p:nvPr/>
            </p:nvSpPr>
            <p:spPr bwMode="auto">
              <a:xfrm>
                <a:off x="3924300" y="4694238"/>
                <a:ext cx="73025" cy="52387"/>
              </a:xfrm>
              <a:custGeom>
                <a:avLst/>
                <a:gdLst>
                  <a:gd name="T0" fmla="*/ 28 w 42"/>
                  <a:gd name="T1" fmla="*/ 30 h 30"/>
                  <a:gd name="T2" fmla="*/ 42 w 42"/>
                  <a:gd name="T3" fmla="*/ 8 h 30"/>
                  <a:gd name="T4" fmla="*/ 42 w 42"/>
                  <a:gd name="T5" fmla="*/ 0 h 30"/>
                  <a:gd name="T6" fmla="*/ 0 w 42"/>
                  <a:gd name="T7" fmla="*/ 0 h 30"/>
                  <a:gd name="T8" fmla="*/ 20 w 42"/>
                  <a:gd name="T9" fmla="*/ 8 h 30"/>
                  <a:gd name="T10" fmla="*/ 20 w 42"/>
                  <a:gd name="T11" fmla="*/ 17 h 30"/>
                  <a:gd name="T12" fmla="*/ 28 w 42"/>
                  <a:gd name="T13" fmla="*/ 30 h 30"/>
                  <a:gd name="T14" fmla="*/ 28 w 42"/>
                  <a:gd name="T15" fmla="*/ 30 h 30"/>
                  <a:gd name="T16" fmla="*/ 28 w 42"/>
                  <a:gd name="T17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" h="30">
                    <a:moveTo>
                      <a:pt x="28" y="30"/>
                    </a:moveTo>
                    <a:lnTo>
                      <a:pt x="42" y="8"/>
                    </a:lnTo>
                    <a:lnTo>
                      <a:pt x="42" y="0"/>
                    </a:lnTo>
                    <a:lnTo>
                      <a:pt x="0" y="0"/>
                    </a:lnTo>
                    <a:lnTo>
                      <a:pt x="20" y="8"/>
                    </a:lnTo>
                    <a:lnTo>
                      <a:pt x="20" y="17"/>
                    </a:lnTo>
                    <a:lnTo>
                      <a:pt x="28" y="3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63" name="Freeform 199"/>
              <p:cNvSpPr>
                <a:spLocks/>
              </p:cNvSpPr>
              <p:nvPr/>
            </p:nvSpPr>
            <p:spPr bwMode="auto">
              <a:xfrm>
                <a:off x="3970338" y="4694238"/>
                <a:ext cx="160337" cy="125412"/>
              </a:xfrm>
              <a:custGeom>
                <a:avLst/>
                <a:gdLst>
                  <a:gd name="T0" fmla="*/ 85 w 92"/>
                  <a:gd name="T1" fmla="*/ 72 h 72"/>
                  <a:gd name="T2" fmla="*/ 92 w 92"/>
                  <a:gd name="T3" fmla="*/ 72 h 72"/>
                  <a:gd name="T4" fmla="*/ 92 w 92"/>
                  <a:gd name="T5" fmla="*/ 35 h 72"/>
                  <a:gd name="T6" fmla="*/ 78 w 92"/>
                  <a:gd name="T7" fmla="*/ 0 h 72"/>
                  <a:gd name="T8" fmla="*/ 58 w 92"/>
                  <a:gd name="T9" fmla="*/ 8 h 72"/>
                  <a:gd name="T10" fmla="*/ 43 w 92"/>
                  <a:gd name="T11" fmla="*/ 8 h 72"/>
                  <a:gd name="T12" fmla="*/ 48 w 92"/>
                  <a:gd name="T13" fmla="*/ 0 h 72"/>
                  <a:gd name="T14" fmla="*/ 15 w 92"/>
                  <a:gd name="T15" fmla="*/ 0 h 72"/>
                  <a:gd name="T16" fmla="*/ 15 w 92"/>
                  <a:gd name="T17" fmla="*/ 8 h 72"/>
                  <a:gd name="T18" fmla="*/ 0 w 92"/>
                  <a:gd name="T19" fmla="*/ 28 h 72"/>
                  <a:gd name="T20" fmla="*/ 21 w 92"/>
                  <a:gd name="T21" fmla="*/ 43 h 72"/>
                  <a:gd name="T22" fmla="*/ 37 w 92"/>
                  <a:gd name="T23" fmla="*/ 35 h 72"/>
                  <a:gd name="T24" fmla="*/ 43 w 92"/>
                  <a:gd name="T25" fmla="*/ 35 h 72"/>
                  <a:gd name="T26" fmla="*/ 58 w 92"/>
                  <a:gd name="T27" fmla="*/ 52 h 72"/>
                  <a:gd name="T28" fmla="*/ 58 w 92"/>
                  <a:gd name="T29" fmla="*/ 59 h 72"/>
                  <a:gd name="T30" fmla="*/ 63 w 92"/>
                  <a:gd name="T31" fmla="*/ 52 h 72"/>
                  <a:gd name="T32" fmla="*/ 78 w 92"/>
                  <a:gd name="T33" fmla="*/ 72 h 72"/>
                  <a:gd name="T34" fmla="*/ 85 w 92"/>
                  <a:gd name="T35" fmla="*/ 72 h 72"/>
                  <a:gd name="T36" fmla="*/ 85 w 92"/>
                  <a:gd name="T37" fmla="*/ 7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92" h="72">
                    <a:moveTo>
                      <a:pt x="85" y="72"/>
                    </a:moveTo>
                    <a:lnTo>
                      <a:pt x="92" y="72"/>
                    </a:lnTo>
                    <a:lnTo>
                      <a:pt x="92" y="35"/>
                    </a:lnTo>
                    <a:lnTo>
                      <a:pt x="78" y="0"/>
                    </a:lnTo>
                    <a:lnTo>
                      <a:pt x="58" y="8"/>
                    </a:lnTo>
                    <a:lnTo>
                      <a:pt x="43" y="8"/>
                    </a:lnTo>
                    <a:lnTo>
                      <a:pt x="48" y="0"/>
                    </a:lnTo>
                    <a:lnTo>
                      <a:pt x="15" y="0"/>
                    </a:lnTo>
                    <a:lnTo>
                      <a:pt x="15" y="8"/>
                    </a:lnTo>
                    <a:lnTo>
                      <a:pt x="0" y="28"/>
                    </a:lnTo>
                    <a:lnTo>
                      <a:pt x="21" y="43"/>
                    </a:lnTo>
                    <a:lnTo>
                      <a:pt x="37" y="35"/>
                    </a:lnTo>
                    <a:lnTo>
                      <a:pt x="43" y="35"/>
                    </a:lnTo>
                    <a:lnTo>
                      <a:pt x="58" y="52"/>
                    </a:lnTo>
                    <a:lnTo>
                      <a:pt x="58" y="59"/>
                    </a:lnTo>
                    <a:lnTo>
                      <a:pt x="63" y="52"/>
                    </a:lnTo>
                    <a:lnTo>
                      <a:pt x="78" y="72"/>
                    </a:lnTo>
                    <a:lnTo>
                      <a:pt x="85" y="72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64" name="Freeform 200"/>
              <p:cNvSpPr>
                <a:spLocks/>
              </p:cNvSpPr>
              <p:nvPr/>
            </p:nvSpPr>
            <p:spPr bwMode="auto">
              <a:xfrm>
                <a:off x="4005263" y="4754563"/>
                <a:ext cx="65087" cy="82550"/>
              </a:xfrm>
              <a:custGeom>
                <a:avLst/>
                <a:gdLst>
                  <a:gd name="T0" fmla="*/ 0 w 37"/>
                  <a:gd name="T1" fmla="*/ 8 h 47"/>
                  <a:gd name="T2" fmla="*/ 15 w 37"/>
                  <a:gd name="T3" fmla="*/ 0 h 47"/>
                  <a:gd name="T4" fmla="*/ 22 w 37"/>
                  <a:gd name="T5" fmla="*/ 0 h 47"/>
                  <a:gd name="T6" fmla="*/ 37 w 37"/>
                  <a:gd name="T7" fmla="*/ 17 h 47"/>
                  <a:gd name="T8" fmla="*/ 37 w 37"/>
                  <a:gd name="T9" fmla="*/ 25 h 47"/>
                  <a:gd name="T10" fmla="*/ 22 w 37"/>
                  <a:gd name="T11" fmla="*/ 47 h 47"/>
                  <a:gd name="T12" fmla="*/ 15 w 37"/>
                  <a:gd name="T13" fmla="*/ 39 h 47"/>
                  <a:gd name="T14" fmla="*/ 0 w 37"/>
                  <a:gd name="T15" fmla="*/ 39 h 47"/>
                  <a:gd name="T16" fmla="*/ 0 w 37"/>
                  <a:gd name="T17" fmla="*/ 8 h 47"/>
                  <a:gd name="T18" fmla="*/ 0 w 37"/>
                  <a:gd name="T19" fmla="*/ 8 h 47"/>
                  <a:gd name="T20" fmla="*/ 0 w 37"/>
                  <a:gd name="T21" fmla="*/ 8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7" h="47">
                    <a:moveTo>
                      <a:pt x="0" y="8"/>
                    </a:moveTo>
                    <a:lnTo>
                      <a:pt x="15" y="0"/>
                    </a:lnTo>
                    <a:lnTo>
                      <a:pt x="22" y="0"/>
                    </a:lnTo>
                    <a:lnTo>
                      <a:pt x="37" y="17"/>
                    </a:lnTo>
                    <a:lnTo>
                      <a:pt x="37" y="25"/>
                    </a:lnTo>
                    <a:lnTo>
                      <a:pt x="22" y="47"/>
                    </a:lnTo>
                    <a:lnTo>
                      <a:pt x="15" y="39"/>
                    </a:lnTo>
                    <a:lnTo>
                      <a:pt x="0" y="39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65" name="Freeform 201"/>
              <p:cNvSpPr>
                <a:spLocks/>
              </p:cNvSpPr>
              <p:nvPr/>
            </p:nvSpPr>
            <p:spPr bwMode="auto">
              <a:xfrm>
                <a:off x="4044950" y="4784725"/>
                <a:ext cx="101600" cy="119063"/>
              </a:xfrm>
              <a:custGeom>
                <a:avLst/>
                <a:gdLst>
                  <a:gd name="T0" fmla="*/ 58 w 58"/>
                  <a:gd name="T1" fmla="*/ 67 h 67"/>
                  <a:gd name="T2" fmla="*/ 58 w 58"/>
                  <a:gd name="T3" fmla="*/ 47 h 67"/>
                  <a:gd name="T4" fmla="*/ 43 w 58"/>
                  <a:gd name="T5" fmla="*/ 39 h 67"/>
                  <a:gd name="T6" fmla="*/ 43 w 58"/>
                  <a:gd name="T7" fmla="*/ 22 h 67"/>
                  <a:gd name="T8" fmla="*/ 35 w 58"/>
                  <a:gd name="T9" fmla="*/ 22 h 67"/>
                  <a:gd name="T10" fmla="*/ 21 w 58"/>
                  <a:gd name="T11" fmla="*/ 0 h 67"/>
                  <a:gd name="T12" fmla="*/ 0 w 58"/>
                  <a:gd name="T13" fmla="*/ 30 h 67"/>
                  <a:gd name="T14" fmla="*/ 43 w 58"/>
                  <a:gd name="T15" fmla="*/ 67 h 67"/>
                  <a:gd name="T16" fmla="*/ 58 w 58"/>
                  <a:gd name="T17" fmla="*/ 67 h 67"/>
                  <a:gd name="T18" fmla="*/ 58 w 58"/>
                  <a:gd name="T19" fmla="*/ 6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8" h="67">
                    <a:moveTo>
                      <a:pt x="58" y="67"/>
                    </a:moveTo>
                    <a:lnTo>
                      <a:pt x="58" y="47"/>
                    </a:lnTo>
                    <a:lnTo>
                      <a:pt x="43" y="39"/>
                    </a:lnTo>
                    <a:lnTo>
                      <a:pt x="43" y="22"/>
                    </a:lnTo>
                    <a:lnTo>
                      <a:pt x="35" y="22"/>
                    </a:lnTo>
                    <a:lnTo>
                      <a:pt x="21" y="0"/>
                    </a:lnTo>
                    <a:lnTo>
                      <a:pt x="0" y="30"/>
                    </a:lnTo>
                    <a:lnTo>
                      <a:pt x="43" y="67"/>
                    </a:lnTo>
                    <a:lnTo>
                      <a:pt x="58" y="67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66" name="Freeform 202"/>
              <p:cNvSpPr>
                <a:spLocks/>
              </p:cNvSpPr>
              <p:nvPr/>
            </p:nvSpPr>
            <p:spPr bwMode="auto">
              <a:xfrm>
                <a:off x="4197350" y="4629150"/>
                <a:ext cx="174625" cy="139700"/>
              </a:xfrm>
              <a:custGeom>
                <a:avLst/>
                <a:gdLst>
                  <a:gd name="T0" fmla="*/ 0 w 99"/>
                  <a:gd name="T1" fmla="*/ 65 h 80"/>
                  <a:gd name="T2" fmla="*/ 21 w 99"/>
                  <a:gd name="T3" fmla="*/ 22 h 80"/>
                  <a:gd name="T4" fmla="*/ 40 w 99"/>
                  <a:gd name="T5" fmla="*/ 17 h 80"/>
                  <a:gd name="T6" fmla="*/ 57 w 99"/>
                  <a:gd name="T7" fmla="*/ 0 h 80"/>
                  <a:gd name="T8" fmla="*/ 77 w 99"/>
                  <a:gd name="T9" fmla="*/ 0 h 80"/>
                  <a:gd name="T10" fmla="*/ 77 w 99"/>
                  <a:gd name="T11" fmla="*/ 17 h 80"/>
                  <a:gd name="T12" fmla="*/ 90 w 99"/>
                  <a:gd name="T13" fmla="*/ 38 h 80"/>
                  <a:gd name="T14" fmla="*/ 99 w 99"/>
                  <a:gd name="T15" fmla="*/ 38 h 80"/>
                  <a:gd name="T16" fmla="*/ 99 w 99"/>
                  <a:gd name="T17" fmla="*/ 45 h 80"/>
                  <a:gd name="T18" fmla="*/ 83 w 99"/>
                  <a:gd name="T19" fmla="*/ 52 h 80"/>
                  <a:gd name="T20" fmla="*/ 35 w 99"/>
                  <a:gd name="T21" fmla="*/ 52 h 80"/>
                  <a:gd name="T22" fmla="*/ 35 w 99"/>
                  <a:gd name="T23" fmla="*/ 80 h 80"/>
                  <a:gd name="T24" fmla="*/ 21 w 99"/>
                  <a:gd name="T25" fmla="*/ 74 h 80"/>
                  <a:gd name="T26" fmla="*/ 5 w 99"/>
                  <a:gd name="T27" fmla="*/ 74 h 80"/>
                  <a:gd name="T28" fmla="*/ 0 w 99"/>
                  <a:gd name="T29" fmla="*/ 65 h 80"/>
                  <a:gd name="T30" fmla="*/ 0 w 99"/>
                  <a:gd name="T31" fmla="*/ 65 h 80"/>
                  <a:gd name="T32" fmla="*/ 0 w 99"/>
                  <a:gd name="T33" fmla="*/ 65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9" h="80">
                    <a:moveTo>
                      <a:pt x="0" y="65"/>
                    </a:moveTo>
                    <a:lnTo>
                      <a:pt x="21" y="22"/>
                    </a:lnTo>
                    <a:lnTo>
                      <a:pt x="40" y="17"/>
                    </a:lnTo>
                    <a:lnTo>
                      <a:pt x="57" y="0"/>
                    </a:lnTo>
                    <a:lnTo>
                      <a:pt x="77" y="0"/>
                    </a:lnTo>
                    <a:lnTo>
                      <a:pt x="77" y="17"/>
                    </a:lnTo>
                    <a:lnTo>
                      <a:pt x="90" y="38"/>
                    </a:lnTo>
                    <a:lnTo>
                      <a:pt x="99" y="38"/>
                    </a:lnTo>
                    <a:lnTo>
                      <a:pt x="99" y="45"/>
                    </a:lnTo>
                    <a:lnTo>
                      <a:pt x="83" y="52"/>
                    </a:lnTo>
                    <a:lnTo>
                      <a:pt x="35" y="52"/>
                    </a:lnTo>
                    <a:lnTo>
                      <a:pt x="35" y="80"/>
                    </a:lnTo>
                    <a:lnTo>
                      <a:pt x="21" y="74"/>
                    </a:lnTo>
                    <a:lnTo>
                      <a:pt x="5" y="74"/>
                    </a:lnTo>
                    <a:lnTo>
                      <a:pt x="0" y="65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67" name="Freeform 203"/>
              <p:cNvSpPr>
                <a:spLocks/>
              </p:cNvSpPr>
              <p:nvPr/>
            </p:nvSpPr>
            <p:spPr bwMode="auto">
              <a:xfrm>
                <a:off x="4306888" y="4724400"/>
                <a:ext cx="47625" cy="130175"/>
              </a:xfrm>
              <a:custGeom>
                <a:avLst/>
                <a:gdLst>
                  <a:gd name="T0" fmla="*/ 22 w 27"/>
                  <a:gd name="T1" fmla="*/ 0 h 75"/>
                  <a:gd name="T2" fmla="*/ 0 w 27"/>
                  <a:gd name="T3" fmla="*/ 0 h 75"/>
                  <a:gd name="T4" fmla="*/ 22 w 27"/>
                  <a:gd name="T5" fmla="*/ 67 h 75"/>
                  <a:gd name="T6" fmla="*/ 22 w 27"/>
                  <a:gd name="T7" fmla="*/ 75 h 75"/>
                  <a:gd name="T8" fmla="*/ 27 w 27"/>
                  <a:gd name="T9" fmla="*/ 75 h 75"/>
                  <a:gd name="T10" fmla="*/ 27 w 27"/>
                  <a:gd name="T11" fmla="*/ 21 h 75"/>
                  <a:gd name="T12" fmla="*/ 22 w 27"/>
                  <a:gd name="T13" fmla="*/ 13 h 75"/>
                  <a:gd name="T14" fmla="*/ 22 w 27"/>
                  <a:gd name="T15" fmla="*/ 0 h 75"/>
                  <a:gd name="T16" fmla="*/ 22 w 27"/>
                  <a:gd name="T17" fmla="*/ 0 h 75"/>
                  <a:gd name="T18" fmla="*/ 22 w 27"/>
                  <a:gd name="T19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7" h="75">
                    <a:moveTo>
                      <a:pt x="22" y="0"/>
                    </a:moveTo>
                    <a:lnTo>
                      <a:pt x="0" y="0"/>
                    </a:lnTo>
                    <a:lnTo>
                      <a:pt x="22" y="67"/>
                    </a:lnTo>
                    <a:lnTo>
                      <a:pt x="22" y="75"/>
                    </a:lnTo>
                    <a:lnTo>
                      <a:pt x="27" y="75"/>
                    </a:lnTo>
                    <a:lnTo>
                      <a:pt x="27" y="21"/>
                    </a:lnTo>
                    <a:lnTo>
                      <a:pt x="22" y="13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68" name="Freeform 204"/>
              <p:cNvSpPr>
                <a:spLocks/>
              </p:cNvSpPr>
              <p:nvPr/>
            </p:nvSpPr>
            <p:spPr bwMode="auto">
              <a:xfrm>
                <a:off x="4341813" y="4694238"/>
                <a:ext cx="66675" cy="160337"/>
              </a:xfrm>
              <a:custGeom>
                <a:avLst/>
                <a:gdLst>
                  <a:gd name="T0" fmla="*/ 16 w 37"/>
                  <a:gd name="T1" fmla="*/ 10 h 92"/>
                  <a:gd name="T2" fmla="*/ 0 w 37"/>
                  <a:gd name="T3" fmla="*/ 17 h 92"/>
                  <a:gd name="T4" fmla="*/ 0 w 37"/>
                  <a:gd name="T5" fmla="*/ 30 h 92"/>
                  <a:gd name="T6" fmla="*/ 9 w 37"/>
                  <a:gd name="T7" fmla="*/ 38 h 92"/>
                  <a:gd name="T8" fmla="*/ 9 w 37"/>
                  <a:gd name="T9" fmla="*/ 92 h 92"/>
                  <a:gd name="T10" fmla="*/ 24 w 37"/>
                  <a:gd name="T11" fmla="*/ 92 h 92"/>
                  <a:gd name="T12" fmla="*/ 24 w 37"/>
                  <a:gd name="T13" fmla="*/ 62 h 92"/>
                  <a:gd name="T14" fmla="*/ 37 w 37"/>
                  <a:gd name="T15" fmla="*/ 30 h 92"/>
                  <a:gd name="T16" fmla="*/ 37 w 37"/>
                  <a:gd name="T17" fmla="*/ 10 h 92"/>
                  <a:gd name="T18" fmla="*/ 24 w 37"/>
                  <a:gd name="T19" fmla="*/ 0 h 92"/>
                  <a:gd name="T20" fmla="*/ 16 w 37"/>
                  <a:gd name="T21" fmla="*/ 0 h 92"/>
                  <a:gd name="T22" fmla="*/ 16 w 37"/>
                  <a:gd name="T23" fmla="*/ 10 h 92"/>
                  <a:gd name="T24" fmla="*/ 16 w 37"/>
                  <a:gd name="T25" fmla="*/ 10 h 92"/>
                  <a:gd name="T26" fmla="*/ 16 w 37"/>
                  <a:gd name="T27" fmla="*/ 1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7" h="92">
                    <a:moveTo>
                      <a:pt x="16" y="10"/>
                    </a:moveTo>
                    <a:lnTo>
                      <a:pt x="0" y="17"/>
                    </a:lnTo>
                    <a:lnTo>
                      <a:pt x="0" y="30"/>
                    </a:lnTo>
                    <a:lnTo>
                      <a:pt x="9" y="38"/>
                    </a:lnTo>
                    <a:lnTo>
                      <a:pt x="9" y="92"/>
                    </a:lnTo>
                    <a:lnTo>
                      <a:pt x="24" y="92"/>
                    </a:lnTo>
                    <a:lnTo>
                      <a:pt x="24" y="62"/>
                    </a:lnTo>
                    <a:lnTo>
                      <a:pt x="37" y="30"/>
                    </a:lnTo>
                    <a:lnTo>
                      <a:pt x="37" y="1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16" y="1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69" name="Freeform 205"/>
              <p:cNvSpPr>
                <a:spLocks/>
              </p:cNvSpPr>
              <p:nvPr/>
            </p:nvSpPr>
            <p:spPr bwMode="auto">
              <a:xfrm>
                <a:off x="4546600" y="4956175"/>
                <a:ext cx="34925" cy="46038"/>
              </a:xfrm>
              <a:custGeom>
                <a:avLst/>
                <a:gdLst>
                  <a:gd name="T0" fmla="*/ 20 w 20"/>
                  <a:gd name="T1" fmla="*/ 0 h 27"/>
                  <a:gd name="T2" fmla="*/ 20 w 20"/>
                  <a:gd name="T3" fmla="*/ 27 h 27"/>
                  <a:gd name="T4" fmla="*/ 0 w 20"/>
                  <a:gd name="T5" fmla="*/ 27 h 27"/>
                  <a:gd name="T6" fmla="*/ 8 w 20"/>
                  <a:gd name="T7" fmla="*/ 0 h 27"/>
                  <a:gd name="T8" fmla="*/ 20 w 20"/>
                  <a:gd name="T9" fmla="*/ 0 h 27"/>
                  <a:gd name="T10" fmla="*/ 20 w 20"/>
                  <a:gd name="T11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27">
                    <a:moveTo>
                      <a:pt x="20" y="0"/>
                    </a:moveTo>
                    <a:lnTo>
                      <a:pt x="20" y="27"/>
                    </a:lnTo>
                    <a:lnTo>
                      <a:pt x="0" y="27"/>
                    </a:lnTo>
                    <a:lnTo>
                      <a:pt x="8" y="0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70" name="Freeform 206"/>
              <p:cNvSpPr>
                <a:spLocks/>
              </p:cNvSpPr>
              <p:nvPr/>
            </p:nvSpPr>
            <p:spPr bwMode="auto">
              <a:xfrm>
                <a:off x="4576763" y="4921250"/>
                <a:ext cx="180975" cy="222250"/>
              </a:xfrm>
              <a:custGeom>
                <a:avLst/>
                <a:gdLst>
                  <a:gd name="T0" fmla="*/ 76 w 103"/>
                  <a:gd name="T1" fmla="*/ 9 h 128"/>
                  <a:gd name="T2" fmla="*/ 76 w 103"/>
                  <a:gd name="T3" fmla="*/ 30 h 128"/>
                  <a:gd name="T4" fmla="*/ 31 w 103"/>
                  <a:gd name="T5" fmla="*/ 22 h 128"/>
                  <a:gd name="T6" fmla="*/ 31 w 103"/>
                  <a:gd name="T7" fmla="*/ 39 h 128"/>
                  <a:gd name="T8" fmla="*/ 39 w 103"/>
                  <a:gd name="T9" fmla="*/ 30 h 128"/>
                  <a:gd name="T10" fmla="*/ 44 w 103"/>
                  <a:gd name="T11" fmla="*/ 39 h 128"/>
                  <a:gd name="T12" fmla="*/ 44 w 103"/>
                  <a:gd name="T13" fmla="*/ 83 h 128"/>
                  <a:gd name="T14" fmla="*/ 24 w 103"/>
                  <a:gd name="T15" fmla="*/ 83 h 128"/>
                  <a:gd name="T16" fmla="*/ 11 w 103"/>
                  <a:gd name="T17" fmla="*/ 91 h 128"/>
                  <a:gd name="T18" fmla="*/ 11 w 103"/>
                  <a:gd name="T19" fmla="*/ 96 h 128"/>
                  <a:gd name="T20" fmla="*/ 0 w 103"/>
                  <a:gd name="T21" fmla="*/ 96 h 128"/>
                  <a:gd name="T22" fmla="*/ 0 w 103"/>
                  <a:gd name="T23" fmla="*/ 113 h 128"/>
                  <a:gd name="T24" fmla="*/ 24 w 103"/>
                  <a:gd name="T25" fmla="*/ 128 h 128"/>
                  <a:gd name="T26" fmla="*/ 24 w 103"/>
                  <a:gd name="T27" fmla="*/ 120 h 128"/>
                  <a:gd name="T28" fmla="*/ 44 w 103"/>
                  <a:gd name="T29" fmla="*/ 120 h 128"/>
                  <a:gd name="T30" fmla="*/ 66 w 103"/>
                  <a:gd name="T31" fmla="*/ 113 h 128"/>
                  <a:gd name="T32" fmla="*/ 76 w 103"/>
                  <a:gd name="T33" fmla="*/ 83 h 128"/>
                  <a:gd name="T34" fmla="*/ 89 w 103"/>
                  <a:gd name="T35" fmla="*/ 67 h 128"/>
                  <a:gd name="T36" fmla="*/ 103 w 103"/>
                  <a:gd name="T37" fmla="*/ 0 h 128"/>
                  <a:gd name="T38" fmla="*/ 81 w 103"/>
                  <a:gd name="T39" fmla="*/ 9 h 128"/>
                  <a:gd name="T40" fmla="*/ 76 w 103"/>
                  <a:gd name="T41" fmla="*/ 9 h 128"/>
                  <a:gd name="T42" fmla="*/ 76 w 103"/>
                  <a:gd name="T43" fmla="*/ 9 h 128"/>
                  <a:gd name="T44" fmla="*/ 76 w 103"/>
                  <a:gd name="T45" fmla="*/ 9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03" h="128">
                    <a:moveTo>
                      <a:pt x="76" y="9"/>
                    </a:moveTo>
                    <a:lnTo>
                      <a:pt x="76" y="30"/>
                    </a:lnTo>
                    <a:lnTo>
                      <a:pt x="31" y="22"/>
                    </a:lnTo>
                    <a:lnTo>
                      <a:pt x="31" y="39"/>
                    </a:lnTo>
                    <a:lnTo>
                      <a:pt x="39" y="30"/>
                    </a:lnTo>
                    <a:lnTo>
                      <a:pt x="44" y="39"/>
                    </a:lnTo>
                    <a:lnTo>
                      <a:pt x="44" y="83"/>
                    </a:lnTo>
                    <a:lnTo>
                      <a:pt x="24" y="83"/>
                    </a:lnTo>
                    <a:lnTo>
                      <a:pt x="11" y="91"/>
                    </a:lnTo>
                    <a:lnTo>
                      <a:pt x="11" y="96"/>
                    </a:lnTo>
                    <a:lnTo>
                      <a:pt x="0" y="96"/>
                    </a:lnTo>
                    <a:lnTo>
                      <a:pt x="0" y="113"/>
                    </a:lnTo>
                    <a:lnTo>
                      <a:pt x="24" y="128"/>
                    </a:lnTo>
                    <a:lnTo>
                      <a:pt x="24" y="120"/>
                    </a:lnTo>
                    <a:lnTo>
                      <a:pt x="44" y="120"/>
                    </a:lnTo>
                    <a:lnTo>
                      <a:pt x="66" y="113"/>
                    </a:lnTo>
                    <a:lnTo>
                      <a:pt x="76" y="83"/>
                    </a:lnTo>
                    <a:lnTo>
                      <a:pt x="89" y="67"/>
                    </a:lnTo>
                    <a:lnTo>
                      <a:pt x="103" y="0"/>
                    </a:lnTo>
                    <a:lnTo>
                      <a:pt x="81" y="9"/>
                    </a:lnTo>
                    <a:lnTo>
                      <a:pt x="76" y="9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71" name="Freeform 207"/>
              <p:cNvSpPr>
                <a:spLocks/>
              </p:cNvSpPr>
              <p:nvPr/>
            </p:nvSpPr>
            <p:spPr bwMode="auto">
              <a:xfrm>
                <a:off x="5021263" y="5078413"/>
                <a:ext cx="39687" cy="50800"/>
              </a:xfrm>
              <a:custGeom>
                <a:avLst/>
                <a:gdLst>
                  <a:gd name="T0" fmla="*/ 22 w 22"/>
                  <a:gd name="T1" fmla="*/ 0 h 29"/>
                  <a:gd name="T2" fmla="*/ 22 w 22"/>
                  <a:gd name="T3" fmla="*/ 5 h 29"/>
                  <a:gd name="T4" fmla="*/ 0 w 22"/>
                  <a:gd name="T5" fmla="*/ 29 h 29"/>
                  <a:gd name="T6" fmla="*/ 0 w 22"/>
                  <a:gd name="T7" fmla="*/ 0 h 29"/>
                  <a:gd name="T8" fmla="*/ 22 w 22"/>
                  <a:gd name="T9" fmla="*/ 0 h 29"/>
                  <a:gd name="T10" fmla="*/ 22 w 22"/>
                  <a:gd name="T11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29">
                    <a:moveTo>
                      <a:pt x="22" y="0"/>
                    </a:moveTo>
                    <a:lnTo>
                      <a:pt x="22" y="5"/>
                    </a:lnTo>
                    <a:lnTo>
                      <a:pt x="0" y="29"/>
                    </a:lnTo>
                    <a:lnTo>
                      <a:pt x="0" y="0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72" name="Freeform 208"/>
              <p:cNvSpPr>
                <a:spLocks/>
              </p:cNvSpPr>
              <p:nvPr/>
            </p:nvSpPr>
            <p:spPr bwMode="auto">
              <a:xfrm>
                <a:off x="4603750" y="5441950"/>
                <a:ext cx="304800" cy="336550"/>
              </a:xfrm>
              <a:custGeom>
                <a:avLst/>
                <a:gdLst>
                  <a:gd name="T0" fmla="*/ 64 w 174"/>
                  <a:gd name="T1" fmla="*/ 193 h 193"/>
                  <a:gd name="T2" fmla="*/ 33 w 174"/>
                  <a:gd name="T3" fmla="*/ 116 h 193"/>
                  <a:gd name="T4" fmla="*/ 33 w 174"/>
                  <a:gd name="T5" fmla="*/ 94 h 193"/>
                  <a:gd name="T6" fmla="*/ 0 w 174"/>
                  <a:gd name="T7" fmla="*/ 17 h 193"/>
                  <a:gd name="T8" fmla="*/ 0 w 174"/>
                  <a:gd name="T9" fmla="*/ 0 h 193"/>
                  <a:gd name="T10" fmla="*/ 33 w 174"/>
                  <a:gd name="T11" fmla="*/ 0 h 193"/>
                  <a:gd name="T12" fmla="*/ 82 w 174"/>
                  <a:gd name="T13" fmla="*/ 17 h 193"/>
                  <a:gd name="T14" fmla="*/ 105 w 174"/>
                  <a:gd name="T15" fmla="*/ 17 h 193"/>
                  <a:gd name="T16" fmla="*/ 132 w 174"/>
                  <a:gd name="T17" fmla="*/ 25 h 193"/>
                  <a:gd name="T18" fmla="*/ 154 w 174"/>
                  <a:gd name="T19" fmla="*/ 17 h 193"/>
                  <a:gd name="T20" fmla="*/ 161 w 174"/>
                  <a:gd name="T21" fmla="*/ 0 h 193"/>
                  <a:gd name="T22" fmla="*/ 174 w 174"/>
                  <a:gd name="T23" fmla="*/ 17 h 193"/>
                  <a:gd name="T24" fmla="*/ 161 w 174"/>
                  <a:gd name="T25" fmla="*/ 32 h 193"/>
                  <a:gd name="T26" fmla="*/ 154 w 174"/>
                  <a:gd name="T27" fmla="*/ 25 h 193"/>
                  <a:gd name="T28" fmla="*/ 127 w 174"/>
                  <a:gd name="T29" fmla="*/ 25 h 193"/>
                  <a:gd name="T30" fmla="*/ 119 w 174"/>
                  <a:gd name="T31" fmla="*/ 77 h 193"/>
                  <a:gd name="T32" fmla="*/ 112 w 174"/>
                  <a:gd name="T33" fmla="*/ 94 h 193"/>
                  <a:gd name="T34" fmla="*/ 112 w 174"/>
                  <a:gd name="T35" fmla="*/ 185 h 193"/>
                  <a:gd name="T36" fmla="*/ 90 w 174"/>
                  <a:gd name="T37" fmla="*/ 193 h 193"/>
                  <a:gd name="T38" fmla="*/ 77 w 174"/>
                  <a:gd name="T39" fmla="*/ 193 h 193"/>
                  <a:gd name="T40" fmla="*/ 70 w 174"/>
                  <a:gd name="T41" fmla="*/ 185 h 193"/>
                  <a:gd name="T42" fmla="*/ 64 w 174"/>
                  <a:gd name="T43" fmla="*/ 193 h 193"/>
                  <a:gd name="T44" fmla="*/ 64 w 174"/>
                  <a:gd name="T45" fmla="*/ 193 h 193"/>
                  <a:gd name="T46" fmla="*/ 64 w 174"/>
                  <a:gd name="T47" fmla="*/ 193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74" h="193">
                    <a:moveTo>
                      <a:pt x="64" y="193"/>
                    </a:moveTo>
                    <a:lnTo>
                      <a:pt x="33" y="116"/>
                    </a:lnTo>
                    <a:lnTo>
                      <a:pt x="33" y="94"/>
                    </a:lnTo>
                    <a:lnTo>
                      <a:pt x="0" y="17"/>
                    </a:lnTo>
                    <a:lnTo>
                      <a:pt x="0" y="0"/>
                    </a:lnTo>
                    <a:lnTo>
                      <a:pt x="33" y="0"/>
                    </a:lnTo>
                    <a:lnTo>
                      <a:pt x="82" y="17"/>
                    </a:lnTo>
                    <a:lnTo>
                      <a:pt x="105" y="17"/>
                    </a:lnTo>
                    <a:lnTo>
                      <a:pt x="132" y="25"/>
                    </a:lnTo>
                    <a:lnTo>
                      <a:pt x="154" y="17"/>
                    </a:lnTo>
                    <a:lnTo>
                      <a:pt x="161" y="0"/>
                    </a:lnTo>
                    <a:lnTo>
                      <a:pt x="174" y="17"/>
                    </a:lnTo>
                    <a:lnTo>
                      <a:pt x="161" y="32"/>
                    </a:lnTo>
                    <a:lnTo>
                      <a:pt x="154" y="25"/>
                    </a:lnTo>
                    <a:lnTo>
                      <a:pt x="127" y="25"/>
                    </a:lnTo>
                    <a:lnTo>
                      <a:pt x="119" y="77"/>
                    </a:lnTo>
                    <a:lnTo>
                      <a:pt x="112" y="94"/>
                    </a:lnTo>
                    <a:lnTo>
                      <a:pt x="112" y="185"/>
                    </a:lnTo>
                    <a:lnTo>
                      <a:pt x="90" y="193"/>
                    </a:lnTo>
                    <a:lnTo>
                      <a:pt x="77" y="193"/>
                    </a:lnTo>
                    <a:lnTo>
                      <a:pt x="70" y="185"/>
                    </a:lnTo>
                    <a:lnTo>
                      <a:pt x="64" y="193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73" name="Freeform 209"/>
              <p:cNvSpPr>
                <a:spLocks/>
              </p:cNvSpPr>
              <p:nvPr/>
            </p:nvSpPr>
            <p:spPr bwMode="auto">
              <a:xfrm>
                <a:off x="4603750" y="5156200"/>
                <a:ext cx="287338" cy="328613"/>
              </a:xfrm>
              <a:custGeom>
                <a:avLst/>
                <a:gdLst>
                  <a:gd name="T0" fmla="*/ 0 w 164"/>
                  <a:gd name="T1" fmla="*/ 163 h 188"/>
                  <a:gd name="T2" fmla="*/ 32 w 164"/>
                  <a:gd name="T3" fmla="*/ 163 h 188"/>
                  <a:gd name="T4" fmla="*/ 80 w 164"/>
                  <a:gd name="T5" fmla="*/ 180 h 188"/>
                  <a:gd name="T6" fmla="*/ 102 w 164"/>
                  <a:gd name="T7" fmla="*/ 180 h 188"/>
                  <a:gd name="T8" fmla="*/ 131 w 164"/>
                  <a:gd name="T9" fmla="*/ 188 h 188"/>
                  <a:gd name="T10" fmla="*/ 151 w 164"/>
                  <a:gd name="T11" fmla="*/ 180 h 188"/>
                  <a:gd name="T12" fmla="*/ 131 w 164"/>
                  <a:gd name="T13" fmla="*/ 159 h 188"/>
                  <a:gd name="T14" fmla="*/ 131 w 164"/>
                  <a:gd name="T15" fmla="*/ 112 h 188"/>
                  <a:gd name="T16" fmla="*/ 164 w 164"/>
                  <a:gd name="T17" fmla="*/ 104 h 188"/>
                  <a:gd name="T18" fmla="*/ 156 w 164"/>
                  <a:gd name="T19" fmla="*/ 75 h 188"/>
                  <a:gd name="T20" fmla="*/ 131 w 164"/>
                  <a:gd name="T21" fmla="*/ 82 h 188"/>
                  <a:gd name="T22" fmla="*/ 131 w 164"/>
                  <a:gd name="T23" fmla="*/ 75 h 188"/>
                  <a:gd name="T24" fmla="*/ 146 w 164"/>
                  <a:gd name="T25" fmla="*/ 69 h 188"/>
                  <a:gd name="T26" fmla="*/ 131 w 164"/>
                  <a:gd name="T27" fmla="*/ 60 h 188"/>
                  <a:gd name="T28" fmla="*/ 131 w 164"/>
                  <a:gd name="T29" fmla="*/ 32 h 188"/>
                  <a:gd name="T30" fmla="*/ 115 w 164"/>
                  <a:gd name="T31" fmla="*/ 23 h 188"/>
                  <a:gd name="T32" fmla="*/ 102 w 164"/>
                  <a:gd name="T33" fmla="*/ 23 h 188"/>
                  <a:gd name="T34" fmla="*/ 102 w 164"/>
                  <a:gd name="T35" fmla="*/ 32 h 188"/>
                  <a:gd name="T36" fmla="*/ 80 w 164"/>
                  <a:gd name="T37" fmla="*/ 38 h 188"/>
                  <a:gd name="T38" fmla="*/ 69 w 164"/>
                  <a:gd name="T39" fmla="*/ 23 h 188"/>
                  <a:gd name="T40" fmla="*/ 69 w 164"/>
                  <a:gd name="T41" fmla="*/ 0 h 188"/>
                  <a:gd name="T42" fmla="*/ 25 w 164"/>
                  <a:gd name="T43" fmla="*/ 0 h 188"/>
                  <a:gd name="T44" fmla="*/ 10 w 164"/>
                  <a:gd name="T45" fmla="*/ 16 h 188"/>
                  <a:gd name="T46" fmla="*/ 25 w 164"/>
                  <a:gd name="T47" fmla="*/ 82 h 188"/>
                  <a:gd name="T48" fmla="*/ 25 w 164"/>
                  <a:gd name="T49" fmla="*/ 104 h 188"/>
                  <a:gd name="T50" fmla="*/ 10 w 164"/>
                  <a:gd name="T51" fmla="*/ 112 h 188"/>
                  <a:gd name="T52" fmla="*/ 0 w 164"/>
                  <a:gd name="T53" fmla="*/ 151 h 188"/>
                  <a:gd name="T54" fmla="*/ 0 w 164"/>
                  <a:gd name="T55" fmla="*/ 163 h 188"/>
                  <a:gd name="T56" fmla="*/ 0 w 164"/>
                  <a:gd name="T57" fmla="*/ 163 h 188"/>
                  <a:gd name="T58" fmla="*/ 0 w 164"/>
                  <a:gd name="T59" fmla="*/ 163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64" h="188">
                    <a:moveTo>
                      <a:pt x="0" y="163"/>
                    </a:moveTo>
                    <a:lnTo>
                      <a:pt x="32" y="163"/>
                    </a:lnTo>
                    <a:lnTo>
                      <a:pt x="80" y="180"/>
                    </a:lnTo>
                    <a:lnTo>
                      <a:pt x="102" y="180"/>
                    </a:lnTo>
                    <a:lnTo>
                      <a:pt x="131" y="188"/>
                    </a:lnTo>
                    <a:lnTo>
                      <a:pt x="151" y="180"/>
                    </a:lnTo>
                    <a:lnTo>
                      <a:pt x="131" y="159"/>
                    </a:lnTo>
                    <a:lnTo>
                      <a:pt x="131" y="112"/>
                    </a:lnTo>
                    <a:lnTo>
                      <a:pt x="164" y="104"/>
                    </a:lnTo>
                    <a:lnTo>
                      <a:pt x="156" y="75"/>
                    </a:lnTo>
                    <a:lnTo>
                      <a:pt x="131" y="82"/>
                    </a:lnTo>
                    <a:lnTo>
                      <a:pt x="131" y="75"/>
                    </a:lnTo>
                    <a:lnTo>
                      <a:pt x="146" y="69"/>
                    </a:lnTo>
                    <a:lnTo>
                      <a:pt x="131" y="60"/>
                    </a:lnTo>
                    <a:lnTo>
                      <a:pt x="131" y="32"/>
                    </a:lnTo>
                    <a:lnTo>
                      <a:pt x="115" y="23"/>
                    </a:lnTo>
                    <a:lnTo>
                      <a:pt x="102" y="23"/>
                    </a:lnTo>
                    <a:lnTo>
                      <a:pt x="102" y="32"/>
                    </a:lnTo>
                    <a:lnTo>
                      <a:pt x="80" y="38"/>
                    </a:lnTo>
                    <a:lnTo>
                      <a:pt x="69" y="23"/>
                    </a:lnTo>
                    <a:lnTo>
                      <a:pt x="69" y="0"/>
                    </a:lnTo>
                    <a:lnTo>
                      <a:pt x="25" y="0"/>
                    </a:lnTo>
                    <a:lnTo>
                      <a:pt x="10" y="16"/>
                    </a:lnTo>
                    <a:lnTo>
                      <a:pt x="25" y="82"/>
                    </a:lnTo>
                    <a:lnTo>
                      <a:pt x="25" y="104"/>
                    </a:lnTo>
                    <a:lnTo>
                      <a:pt x="10" y="112"/>
                    </a:lnTo>
                    <a:lnTo>
                      <a:pt x="0" y="151"/>
                    </a:lnTo>
                    <a:lnTo>
                      <a:pt x="0" y="163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74" name="Freeform 210"/>
              <p:cNvSpPr>
                <a:spLocks/>
              </p:cNvSpPr>
              <p:nvPr/>
            </p:nvSpPr>
            <p:spPr bwMode="auto">
              <a:xfrm>
                <a:off x="4708525" y="5570538"/>
                <a:ext cx="385763" cy="388937"/>
              </a:xfrm>
              <a:custGeom>
                <a:avLst/>
                <a:gdLst>
                  <a:gd name="T0" fmla="*/ 198 w 220"/>
                  <a:gd name="T1" fmla="*/ 17 h 222"/>
                  <a:gd name="T2" fmla="*/ 205 w 220"/>
                  <a:gd name="T3" fmla="*/ 69 h 222"/>
                  <a:gd name="T4" fmla="*/ 198 w 220"/>
                  <a:gd name="T5" fmla="*/ 69 h 222"/>
                  <a:gd name="T6" fmla="*/ 191 w 220"/>
                  <a:gd name="T7" fmla="*/ 75 h 222"/>
                  <a:gd name="T8" fmla="*/ 198 w 220"/>
                  <a:gd name="T9" fmla="*/ 82 h 222"/>
                  <a:gd name="T10" fmla="*/ 205 w 220"/>
                  <a:gd name="T11" fmla="*/ 75 h 222"/>
                  <a:gd name="T12" fmla="*/ 220 w 220"/>
                  <a:gd name="T13" fmla="*/ 75 h 222"/>
                  <a:gd name="T14" fmla="*/ 220 w 220"/>
                  <a:gd name="T15" fmla="*/ 114 h 222"/>
                  <a:gd name="T16" fmla="*/ 198 w 220"/>
                  <a:gd name="T17" fmla="*/ 122 h 222"/>
                  <a:gd name="T18" fmla="*/ 183 w 220"/>
                  <a:gd name="T19" fmla="*/ 153 h 222"/>
                  <a:gd name="T20" fmla="*/ 154 w 220"/>
                  <a:gd name="T21" fmla="*/ 176 h 222"/>
                  <a:gd name="T22" fmla="*/ 139 w 220"/>
                  <a:gd name="T23" fmla="*/ 201 h 222"/>
                  <a:gd name="T24" fmla="*/ 71 w 220"/>
                  <a:gd name="T25" fmla="*/ 206 h 222"/>
                  <a:gd name="T26" fmla="*/ 49 w 220"/>
                  <a:gd name="T27" fmla="*/ 222 h 222"/>
                  <a:gd name="T28" fmla="*/ 42 w 220"/>
                  <a:gd name="T29" fmla="*/ 222 h 222"/>
                  <a:gd name="T30" fmla="*/ 27 w 220"/>
                  <a:gd name="T31" fmla="*/ 206 h 222"/>
                  <a:gd name="T32" fmla="*/ 20 w 220"/>
                  <a:gd name="T33" fmla="*/ 176 h 222"/>
                  <a:gd name="T34" fmla="*/ 20 w 220"/>
                  <a:gd name="T35" fmla="*/ 168 h 222"/>
                  <a:gd name="T36" fmla="*/ 7 w 220"/>
                  <a:gd name="T37" fmla="*/ 114 h 222"/>
                  <a:gd name="T38" fmla="*/ 0 w 220"/>
                  <a:gd name="T39" fmla="*/ 114 h 222"/>
                  <a:gd name="T40" fmla="*/ 7 w 220"/>
                  <a:gd name="T41" fmla="*/ 107 h 222"/>
                  <a:gd name="T42" fmla="*/ 14 w 220"/>
                  <a:gd name="T43" fmla="*/ 114 h 222"/>
                  <a:gd name="T44" fmla="*/ 27 w 220"/>
                  <a:gd name="T45" fmla="*/ 114 h 222"/>
                  <a:gd name="T46" fmla="*/ 49 w 220"/>
                  <a:gd name="T47" fmla="*/ 107 h 222"/>
                  <a:gd name="T48" fmla="*/ 49 w 220"/>
                  <a:gd name="T49" fmla="*/ 43 h 222"/>
                  <a:gd name="T50" fmla="*/ 55 w 220"/>
                  <a:gd name="T51" fmla="*/ 60 h 222"/>
                  <a:gd name="T52" fmla="*/ 55 w 220"/>
                  <a:gd name="T53" fmla="*/ 75 h 222"/>
                  <a:gd name="T54" fmla="*/ 71 w 220"/>
                  <a:gd name="T55" fmla="*/ 75 h 222"/>
                  <a:gd name="T56" fmla="*/ 97 w 220"/>
                  <a:gd name="T57" fmla="*/ 60 h 222"/>
                  <a:gd name="T58" fmla="*/ 106 w 220"/>
                  <a:gd name="T59" fmla="*/ 69 h 222"/>
                  <a:gd name="T60" fmla="*/ 176 w 220"/>
                  <a:gd name="T61" fmla="*/ 0 h 222"/>
                  <a:gd name="T62" fmla="*/ 191 w 220"/>
                  <a:gd name="T63" fmla="*/ 17 h 222"/>
                  <a:gd name="T64" fmla="*/ 198 w 220"/>
                  <a:gd name="T65" fmla="*/ 17 h 222"/>
                  <a:gd name="T66" fmla="*/ 198 w 220"/>
                  <a:gd name="T67" fmla="*/ 17 h 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20" h="222">
                    <a:moveTo>
                      <a:pt x="198" y="17"/>
                    </a:moveTo>
                    <a:lnTo>
                      <a:pt x="205" y="69"/>
                    </a:lnTo>
                    <a:lnTo>
                      <a:pt x="198" y="69"/>
                    </a:lnTo>
                    <a:lnTo>
                      <a:pt x="191" y="75"/>
                    </a:lnTo>
                    <a:lnTo>
                      <a:pt x="198" y="82"/>
                    </a:lnTo>
                    <a:lnTo>
                      <a:pt x="205" y="75"/>
                    </a:lnTo>
                    <a:lnTo>
                      <a:pt x="220" y="75"/>
                    </a:lnTo>
                    <a:lnTo>
                      <a:pt x="220" y="114"/>
                    </a:lnTo>
                    <a:lnTo>
                      <a:pt x="198" y="122"/>
                    </a:lnTo>
                    <a:lnTo>
                      <a:pt x="183" y="153"/>
                    </a:lnTo>
                    <a:lnTo>
                      <a:pt x="154" y="176"/>
                    </a:lnTo>
                    <a:lnTo>
                      <a:pt x="139" y="201"/>
                    </a:lnTo>
                    <a:lnTo>
                      <a:pt x="71" y="206"/>
                    </a:lnTo>
                    <a:lnTo>
                      <a:pt x="49" y="222"/>
                    </a:lnTo>
                    <a:lnTo>
                      <a:pt x="42" y="222"/>
                    </a:lnTo>
                    <a:lnTo>
                      <a:pt x="27" y="206"/>
                    </a:lnTo>
                    <a:lnTo>
                      <a:pt x="20" y="176"/>
                    </a:lnTo>
                    <a:lnTo>
                      <a:pt x="20" y="168"/>
                    </a:lnTo>
                    <a:lnTo>
                      <a:pt x="7" y="114"/>
                    </a:lnTo>
                    <a:lnTo>
                      <a:pt x="0" y="114"/>
                    </a:lnTo>
                    <a:lnTo>
                      <a:pt x="7" y="107"/>
                    </a:lnTo>
                    <a:lnTo>
                      <a:pt x="14" y="114"/>
                    </a:lnTo>
                    <a:lnTo>
                      <a:pt x="27" y="114"/>
                    </a:lnTo>
                    <a:lnTo>
                      <a:pt x="49" y="107"/>
                    </a:lnTo>
                    <a:lnTo>
                      <a:pt x="49" y="43"/>
                    </a:lnTo>
                    <a:lnTo>
                      <a:pt x="55" y="60"/>
                    </a:lnTo>
                    <a:lnTo>
                      <a:pt x="55" y="75"/>
                    </a:lnTo>
                    <a:lnTo>
                      <a:pt x="71" y="75"/>
                    </a:lnTo>
                    <a:lnTo>
                      <a:pt x="97" y="60"/>
                    </a:lnTo>
                    <a:lnTo>
                      <a:pt x="106" y="69"/>
                    </a:lnTo>
                    <a:lnTo>
                      <a:pt x="176" y="0"/>
                    </a:lnTo>
                    <a:lnTo>
                      <a:pt x="191" y="17"/>
                    </a:lnTo>
                    <a:lnTo>
                      <a:pt x="198" y="17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75" name="Freeform 211"/>
              <p:cNvSpPr>
                <a:spLocks/>
              </p:cNvSpPr>
              <p:nvPr/>
            </p:nvSpPr>
            <p:spPr bwMode="auto">
              <a:xfrm>
                <a:off x="4792663" y="5473700"/>
                <a:ext cx="228600" cy="236538"/>
              </a:xfrm>
              <a:custGeom>
                <a:avLst/>
                <a:gdLst>
                  <a:gd name="T0" fmla="*/ 0 w 130"/>
                  <a:gd name="T1" fmla="*/ 104 h 136"/>
                  <a:gd name="T2" fmla="*/ 8 w 130"/>
                  <a:gd name="T3" fmla="*/ 121 h 136"/>
                  <a:gd name="T4" fmla="*/ 8 w 130"/>
                  <a:gd name="T5" fmla="*/ 136 h 136"/>
                  <a:gd name="T6" fmla="*/ 23 w 130"/>
                  <a:gd name="T7" fmla="*/ 136 h 136"/>
                  <a:gd name="T8" fmla="*/ 50 w 130"/>
                  <a:gd name="T9" fmla="*/ 121 h 136"/>
                  <a:gd name="T10" fmla="*/ 57 w 130"/>
                  <a:gd name="T11" fmla="*/ 128 h 136"/>
                  <a:gd name="T12" fmla="*/ 130 w 130"/>
                  <a:gd name="T13" fmla="*/ 61 h 136"/>
                  <a:gd name="T14" fmla="*/ 107 w 130"/>
                  <a:gd name="T15" fmla="*/ 61 h 136"/>
                  <a:gd name="T16" fmla="*/ 102 w 130"/>
                  <a:gd name="T17" fmla="*/ 47 h 136"/>
                  <a:gd name="T18" fmla="*/ 63 w 130"/>
                  <a:gd name="T19" fmla="*/ 0 h 136"/>
                  <a:gd name="T20" fmla="*/ 50 w 130"/>
                  <a:gd name="T21" fmla="*/ 15 h 136"/>
                  <a:gd name="T22" fmla="*/ 43 w 130"/>
                  <a:gd name="T23" fmla="*/ 7 h 136"/>
                  <a:gd name="T24" fmla="*/ 15 w 130"/>
                  <a:gd name="T25" fmla="*/ 7 h 136"/>
                  <a:gd name="T26" fmla="*/ 8 w 130"/>
                  <a:gd name="T27" fmla="*/ 61 h 136"/>
                  <a:gd name="T28" fmla="*/ 0 w 130"/>
                  <a:gd name="T29" fmla="*/ 78 h 136"/>
                  <a:gd name="T30" fmla="*/ 0 w 130"/>
                  <a:gd name="T31" fmla="*/ 104 h 136"/>
                  <a:gd name="T32" fmla="*/ 0 w 130"/>
                  <a:gd name="T33" fmla="*/ 104 h 136"/>
                  <a:gd name="T34" fmla="*/ 0 w 130"/>
                  <a:gd name="T35" fmla="*/ 104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0" h="136">
                    <a:moveTo>
                      <a:pt x="0" y="104"/>
                    </a:moveTo>
                    <a:lnTo>
                      <a:pt x="8" y="121"/>
                    </a:lnTo>
                    <a:lnTo>
                      <a:pt x="8" y="136"/>
                    </a:lnTo>
                    <a:lnTo>
                      <a:pt x="23" y="136"/>
                    </a:lnTo>
                    <a:lnTo>
                      <a:pt x="50" y="121"/>
                    </a:lnTo>
                    <a:lnTo>
                      <a:pt x="57" y="128"/>
                    </a:lnTo>
                    <a:lnTo>
                      <a:pt x="130" y="61"/>
                    </a:lnTo>
                    <a:lnTo>
                      <a:pt x="107" y="61"/>
                    </a:lnTo>
                    <a:lnTo>
                      <a:pt x="102" y="47"/>
                    </a:lnTo>
                    <a:lnTo>
                      <a:pt x="63" y="0"/>
                    </a:lnTo>
                    <a:lnTo>
                      <a:pt x="50" y="15"/>
                    </a:lnTo>
                    <a:lnTo>
                      <a:pt x="43" y="7"/>
                    </a:lnTo>
                    <a:lnTo>
                      <a:pt x="15" y="7"/>
                    </a:lnTo>
                    <a:lnTo>
                      <a:pt x="8" y="61"/>
                    </a:lnTo>
                    <a:lnTo>
                      <a:pt x="0" y="78"/>
                    </a:lnTo>
                    <a:lnTo>
                      <a:pt x="0" y="104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76" name="Freeform 212"/>
              <p:cNvSpPr>
                <a:spLocks/>
              </p:cNvSpPr>
              <p:nvPr/>
            </p:nvSpPr>
            <p:spPr bwMode="auto">
              <a:xfrm>
                <a:off x="4908550" y="5421313"/>
                <a:ext cx="195263" cy="180975"/>
              </a:xfrm>
              <a:custGeom>
                <a:avLst/>
                <a:gdLst>
                  <a:gd name="T0" fmla="*/ 69 w 111"/>
                  <a:gd name="T1" fmla="*/ 0 h 104"/>
                  <a:gd name="T2" fmla="*/ 49 w 111"/>
                  <a:gd name="T3" fmla="*/ 0 h 104"/>
                  <a:gd name="T4" fmla="*/ 49 w 111"/>
                  <a:gd name="T5" fmla="*/ 8 h 104"/>
                  <a:gd name="T6" fmla="*/ 29 w 111"/>
                  <a:gd name="T7" fmla="*/ 30 h 104"/>
                  <a:gd name="T8" fmla="*/ 0 w 111"/>
                  <a:gd name="T9" fmla="*/ 30 h 104"/>
                  <a:gd name="T10" fmla="*/ 37 w 111"/>
                  <a:gd name="T11" fmla="*/ 76 h 104"/>
                  <a:gd name="T12" fmla="*/ 44 w 111"/>
                  <a:gd name="T13" fmla="*/ 89 h 104"/>
                  <a:gd name="T14" fmla="*/ 65 w 111"/>
                  <a:gd name="T15" fmla="*/ 89 h 104"/>
                  <a:gd name="T16" fmla="*/ 79 w 111"/>
                  <a:gd name="T17" fmla="*/ 104 h 104"/>
                  <a:gd name="T18" fmla="*/ 84 w 111"/>
                  <a:gd name="T19" fmla="*/ 104 h 104"/>
                  <a:gd name="T20" fmla="*/ 104 w 111"/>
                  <a:gd name="T21" fmla="*/ 66 h 104"/>
                  <a:gd name="T22" fmla="*/ 111 w 111"/>
                  <a:gd name="T23" fmla="*/ 30 h 104"/>
                  <a:gd name="T24" fmla="*/ 104 w 111"/>
                  <a:gd name="T25" fmla="*/ 8 h 104"/>
                  <a:gd name="T26" fmla="*/ 84 w 111"/>
                  <a:gd name="T27" fmla="*/ 0 h 104"/>
                  <a:gd name="T28" fmla="*/ 69 w 111"/>
                  <a:gd name="T29" fmla="*/ 0 h 104"/>
                  <a:gd name="T30" fmla="*/ 69 w 111"/>
                  <a:gd name="T31" fmla="*/ 0 h 104"/>
                  <a:gd name="T32" fmla="*/ 69 w 111"/>
                  <a:gd name="T33" fmla="*/ 0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1" h="104">
                    <a:moveTo>
                      <a:pt x="69" y="0"/>
                    </a:moveTo>
                    <a:lnTo>
                      <a:pt x="49" y="0"/>
                    </a:lnTo>
                    <a:lnTo>
                      <a:pt x="49" y="8"/>
                    </a:lnTo>
                    <a:lnTo>
                      <a:pt x="29" y="30"/>
                    </a:lnTo>
                    <a:lnTo>
                      <a:pt x="0" y="30"/>
                    </a:lnTo>
                    <a:lnTo>
                      <a:pt x="37" y="76"/>
                    </a:lnTo>
                    <a:lnTo>
                      <a:pt x="44" y="89"/>
                    </a:lnTo>
                    <a:lnTo>
                      <a:pt x="65" y="89"/>
                    </a:lnTo>
                    <a:lnTo>
                      <a:pt x="79" y="104"/>
                    </a:lnTo>
                    <a:lnTo>
                      <a:pt x="84" y="104"/>
                    </a:lnTo>
                    <a:lnTo>
                      <a:pt x="104" y="66"/>
                    </a:lnTo>
                    <a:lnTo>
                      <a:pt x="111" y="30"/>
                    </a:lnTo>
                    <a:lnTo>
                      <a:pt x="104" y="8"/>
                    </a:lnTo>
                    <a:lnTo>
                      <a:pt x="84" y="0"/>
                    </a:lnTo>
                    <a:lnTo>
                      <a:pt x="69" y="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77" name="Freeform 213"/>
              <p:cNvSpPr>
                <a:spLocks/>
              </p:cNvSpPr>
              <p:nvPr/>
            </p:nvSpPr>
            <p:spPr bwMode="auto">
              <a:xfrm>
                <a:off x="5030788" y="5275263"/>
                <a:ext cx="249237" cy="428625"/>
              </a:xfrm>
              <a:custGeom>
                <a:avLst/>
                <a:gdLst>
                  <a:gd name="T0" fmla="*/ 37 w 141"/>
                  <a:gd name="T1" fmla="*/ 245 h 245"/>
                  <a:gd name="T2" fmla="*/ 37 w 141"/>
                  <a:gd name="T3" fmla="*/ 232 h 245"/>
                  <a:gd name="T4" fmla="*/ 73 w 141"/>
                  <a:gd name="T5" fmla="*/ 215 h 245"/>
                  <a:gd name="T6" fmla="*/ 79 w 141"/>
                  <a:gd name="T7" fmla="*/ 210 h 245"/>
                  <a:gd name="T8" fmla="*/ 79 w 141"/>
                  <a:gd name="T9" fmla="*/ 188 h 245"/>
                  <a:gd name="T10" fmla="*/ 57 w 141"/>
                  <a:gd name="T11" fmla="*/ 149 h 245"/>
                  <a:gd name="T12" fmla="*/ 141 w 141"/>
                  <a:gd name="T13" fmla="*/ 75 h 245"/>
                  <a:gd name="T14" fmla="*/ 134 w 141"/>
                  <a:gd name="T15" fmla="*/ 0 h 245"/>
                  <a:gd name="T16" fmla="*/ 121 w 141"/>
                  <a:gd name="T17" fmla="*/ 13 h 245"/>
                  <a:gd name="T18" fmla="*/ 73 w 141"/>
                  <a:gd name="T19" fmla="*/ 13 h 245"/>
                  <a:gd name="T20" fmla="*/ 57 w 141"/>
                  <a:gd name="T21" fmla="*/ 30 h 245"/>
                  <a:gd name="T22" fmla="*/ 73 w 141"/>
                  <a:gd name="T23" fmla="*/ 45 h 245"/>
                  <a:gd name="T24" fmla="*/ 79 w 141"/>
                  <a:gd name="T25" fmla="*/ 67 h 245"/>
                  <a:gd name="T26" fmla="*/ 79 w 141"/>
                  <a:gd name="T27" fmla="*/ 82 h 245"/>
                  <a:gd name="T28" fmla="*/ 73 w 141"/>
                  <a:gd name="T29" fmla="*/ 95 h 245"/>
                  <a:gd name="T30" fmla="*/ 57 w 141"/>
                  <a:gd name="T31" fmla="*/ 82 h 245"/>
                  <a:gd name="T32" fmla="*/ 57 w 141"/>
                  <a:gd name="T33" fmla="*/ 67 h 245"/>
                  <a:gd name="T34" fmla="*/ 49 w 141"/>
                  <a:gd name="T35" fmla="*/ 67 h 245"/>
                  <a:gd name="T36" fmla="*/ 44 w 141"/>
                  <a:gd name="T37" fmla="*/ 50 h 245"/>
                  <a:gd name="T38" fmla="*/ 0 w 141"/>
                  <a:gd name="T39" fmla="*/ 75 h 245"/>
                  <a:gd name="T40" fmla="*/ 0 w 141"/>
                  <a:gd name="T41" fmla="*/ 82 h 245"/>
                  <a:gd name="T42" fmla="*/ 16 w 141"/>
                  <a:gd name="T43" fmla="*/ 82 h 245"/>
                  <a:gd name="T44" fmla="*/ 37 w 141"/>
                  <a:gd name="T45" fmla="*/ 90 h 245"/>
                  <a:gd name="T46" fmla="*/ 44 w 141"/>
                  <a:gd name="T47" fmla="*/ 112 h 245"/>
                  <a:gd name="T48" fmla="*/ 37 w 141"/>
                  <a:gd name="T49" fmla="*/ 149 h 245"/>
                  <a:gd name="T50" fmla="*/ 16 w 141"/>
                  <a:gd name="T51" fmla="*/ 188 h 245"/>
                  <a:gd name="T52" fmla="*/ 24 w 141"/>
                  <a:gd name="T53" fmla="*/ 245 h 245"/>
                  <a:gd name="T54" fmla="*/ 37 w 141"/>
                  <a:gd name="T55" fmla="*/ 245 h 245"/>
                  <a:gd name="T56" fmla="*/ 37 w 141"/>
                  <a:gd name="T57" fmla="*/ 245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41" h="245">
                    <a:moveTo>
                      <a:pt x="37" y="245"/>
                    </a:moveTo>
                    <a:lnTo>
                      <a:pt x="37" y="232"/>
                    </a:lnTo>
                    <a:lnTo>
                      <a:pt x="73" y="215"/>
                    </a:lnTo>
                    <a:lnTo>
                      <a:pt x="79" y="210"/>
                    </a:lnTo>
                    <a:lnTo>
                      <a:pt x="79" y="188"/>
                    </a:lnTo>
                    <a:lnTo>
                      <a:pt x="57" y="149"/>
                    </a:lnTo>
                    <a:lnTo>
                      <a:pt x="141" y="75"/>
                    </a:lnTo>
                    <a:lnTo>
                      <a:pt x="134" y="0"/>
                    </a:lnTo>
                    <a:lnTo>
                      <a:pt x="121" y="13"/>
                    </a:lnTo>
                    <a:lnTo>
                      <a:pt x="73" y="13"/>
                    </a:lnTo>
                    <a:lnTo>
                      <a:pt x="57" y="30"/>
                    </a:lnTo>
                    <a:lnTo>
                      <a:pt x="73" y="45"/>
                    </a:lnTo>
                    <a:lnTo>
                      <a:pt x="79" y="67"/>
                    </a:lnTo>
                    <a:lnTo>
                      <a:pt x="79" y="82"/>
                    </a:lnTo>
                    <a:lnTo>
                      <a:pt x="73" y="95"/>
                    </a:lnTo>
                    <a:lnTo>
                      <a:pt x="57" y="82"/>
                    </a:lnTo>
                    <a:lnTo>
                      <a:pt x="57" y="67"/>
                    </a:lnTo>
                    <a:lnTo>
                      <a:pt x="49" y="67"/>
                    </a:lnTo>
                    <a:lnTo>
                      <a:pt x="44" y="50"/>
                    </a:lnTo>
                    <a:lnTo>
                      <a:pt x="0" y="75"/>
                    </a:lnTo>
                    <a:lnTo>
                      <a:pt x="0" y="82"/>
                    </a:lnTo>
                    <a:lnTo>
                      <a:pt x="16" y="82"/>
                    </a:lnTo>
                    <a:lnTo>
                      <a:pt x="37" y="90"/>
                    </a:lnTo>
                    <a:lnTo>
                      <a:pt x="44" y="112"/>
                    </a:lnTo>
                    <a:lnTo>
                      <a:pt x="37" y="149"/>
                    </a:lnTo>
                    <a:lnTo>
                      <a:pt x="16" y="188"/>
                    </a:lnTo>
                    <a:lnTo>
                      <a:pt x="24" y="245"/>
                    </a:lnTo>
                    <a:lnTo>
                      <a:pt x="37" y="245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78" name="Freeform 214"/>
              <p:cNvSpPr>
                <a:spLocks/>
              </p:cNvSpPr>
              <p:nvPr/>
            </p:nvSpPr>
            <p:spPr bwMode="auto">
              <a:xfrm>
                <a:off x="5348288" y="5327650"/>
                <a:ext cx="150812" cy="354013"/>
              </a:xfrm>
              <a:custGeom>
                <a:avLst/>
                <a:gdLst>
                  <a:gd name="T0" fmla="*/ 0 w 86"/>
                  <a:gd name="T1" fmla="*/ 144 h 202"/>
                  <a:gd name="T2" fmla="*/ 5 w 86"/>
                  <a:gd name="T3" fmla="*/ 180 h 202"/>
                  <a:gd name="T4" fmla="*/ 19 w 86"/>
                  <a:gd name="T5" fmla="*/ 202 h 202"/>
                  <a:gd name="T6" fmla="*/ 41 w 86"/>
                  <a:gd name="T7" fmla="*/ 202 h 202"/>
                  <a:gd name="T8" fmla="*/ 79 w 86"/>
                  <a:gd name="T9" fmla="*/ 47 h 202"/>
                  <a:gd name="T10" fmla="*/ 86 w 86"/>
                  <a:gd name="T11" fmla="*/ 54 h 202"/>
                  <a:gd name="T12" fmla="*/ 79 w 86"/>
                  <a:gd name="T13" fmla="*/ 10 h 202"/>
                  <a:gd name="T14" fmla="*/ 72 w 86"/>
                  <a:gd name="T15" fmla="*/ 0 h 202"/>
                  <a:gd name="T16" fmla="*/ 67 w 86"/>
                  <a:gd name="T17" fmla="*/ 17 h 202"/>
                  <a:gd name="T18" fmla="*/ 61 w 86"/>
                  <a:gd name="T19" fmla="*/ 17 h 202"/>
                  <a:gd name="T20" fmla="*/ 61 w 86"/>
                  <a:gd name="T21" fmla="*/ 40 h 202"/>
                  <a:gd name="T22" fmla="*/ 19 w 86"/>
                  <a:gd name="T23" fmla="*/ 62 h 202"/>
                  <a:gd name="T24" fmla="*/ 5 w 86"/>
                  <a:gd name="T25" fmla="*/ 84 h 202"/>
                  <a:gd name="T26" fmla="*/ 19 w 86"/>
                  <a:gd name="T27" fmla="*/ 121 h 202"/>
                  <a:gd name="T28" fmla="*/ 0 w 86"/>
                  <a:gd name="T29" fmla="*/ 144 h 202"/>
                  <a:gd name="T30" fmla="*/ 0 w 86"/>
                  <a:gd name="T31" fmla="*/ 144 h 202"/>
                  <a:gd name="T32" fmla="*/ 0 w 86"/>
                  <a:gd name="T33" fmla="*/ 144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6" h="202">
                    <a:moveTo>
                      <a:pt x="0" y="144"/>
                    </a:moveTo>
                    <a:lnTo>
                      <a:pt x="5" y="180"/>
                    </a:lnTo>
                    <a:lnTo>
                      <a:pt x="19" y="202"/>
                    </a:lnTo>
                    <a:lnTo>
                      <a:pt x="41" y="202"/>
                    </a:lnTo>
                    <a:lnTo>
                      <a:pt x="79" y="47"/>
                    </a:lnTo>
                    <a:lnTo>
                      <a:pt x="86" y="54"/>
                    </a:lnTo>
                    <a:lnTo>
                      <a:pt x="79" y="10"/>
                    </a:lnTo>
                    <a:lnTo>
                      <a:pt x="72" y="0"/>
                    </a:lnTo>
                    <a:lnTo>
                      <a:pt x="67" y="17"/>
                    </a:lnTo>
                    <a:lnTo>
                      <a:pt x="61" y="17"/>
                    </a:lnTo>
                    <a:lnTo>
                      <a:pt x="61" y="40"/>
                    </a:lnTo>
                    <a:lnTo>
                      <a:pt x="19" y="62"/>
                    </a:lnTo>
                    <a:lnTo>
                      <a:pt x="5" y="84"/>
                    </a:lnTo>
                    <a:lnTo>
                      <a:pt x="19" y="121"/>
                    </a:lnTo>
                    <a:lnTo>
                      <a:pt x="0" y="144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79" name="Freeform 215"/>
              <p:cNvSpPr>
                <a:spLocks/>
              </p:cNvSpPr>
              <p:nvPr/>
            </p:nvSpPr>
            <p:spPr bwMode="auto">
              <a:xfrm>
                <a:off x="4954588" y="5761038"/>
                <a:ext cx="66675" cy="66675"/>
              </a:xfrm>
              <a:custGeom>
                <a:avLst/>
                <a:gdLst>
                  <a:gd name="T0" fmla="*/ 38 w 38"/>
                  <a:gd name="T1" fmla="*/ 13 h 39"/>
                  <a:gd name="T2" fmla="*/ 22 w 38"/>
                  <a:gd name="T3" fmla="*/ 32 h 39"/>
                  <a:gd name="T4" fmla="*/ 8 w 38"/>
                  <a:gd name="T5" fmla="*/ 39 h 39"/>
                  <a:gd name="T6" fmla="*/ 0 w 38"/>
                  <a:gd name="T7" fmla="*/ 32 h 39"/>
                  <a:gd name="T8" fmla="*/ 15 w 38"/>
                  <a:gd name="T9" fmla="*/ 0 h 39"/>
                  <a:gd name="T10" fmla="*/ 22 w 38"/>
                  <a:gd name="T11" fmla="*/ 7 h 39"/>
                  <a:gd name="T12" fmla="*/ 38 w 38"/>
                  <a:gd name="T13" fmla="*/ 13 h 39"/>
                  <a:gd name="T14" fmla="*/ 38 w 38"/>
                  <a:gd name="T15" fmla="*/ 13 h 39"/>
                  <a:gd name="T16" fmla="*/ 38 w 38"/>
                  <a:gd name="T17" fmla="*/ 13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8" h="39">
                    <a:moveTo>
                      <a:pt x="38" y="13"/>
                    </a:moveTo>
                    <a:lnTo>
                      <a:pt x="22" y="32"/>
                    </a:lnTo>
                    <a:lnTo>
                      <a:pt x="8" y="39"/>
                    </a:lnTo>
                    <a:lnTo>
                      <a:pt x="0" y="32"/>
                    </a:lnTo>
                    <a:lnTo>
                      <a:pt x="15" y="0"/>
                    </a:lnTo>
                    <a:lnTo>
                      <a:pt x="22" y="7"/>
                    </a:lnTo>
                    <a:lnTo>
                      <a:pt x="38" y="13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80" name="Freeform 216"/>
              <p:cNvSpPr>
                <a:spLocks/>
              </p:cNvSpPr>
              <p:nvPr/>
            </p:nvSpPr>
            <p:spPr bwMode="auto">
              <a:xfrm>
                <a:off x="5094288" y="5259388"/>
                <a:ext cx="73025" cy="182562"/>
              </a:xfrm>
              <a:custGeom>
                <a:avLst/>
                <a:gdLst>
                  <a:gd name="T0" fmla="*/ 8 w 42"/>
                  <a:gd name="T1" fmla="*/ 60 h 104"/>
                  <a:gd name="T2" fmla="*/ 0 w 42"/>
                  <a:gd name="T3" fmla="*/ 53 h 104"/>
                  <a:gd name="T4" fmla="*/ 8 w 42"/>
                  <a:gd name="T5" fmla="*/ 36 h 104"/>
                  <a:gd name="T6" fmla="*/ 8 w 42"/>
                  <a:gd name="T7" fmla="*/ 23 h 104"/>
                  <a:gd name="T8" fmla="*/ 13 w 42"/>
                  <a:gd name="T9" fmla="*/ 16 h 104"/>
                  <a:gd name="T10" fmla="*/ 8 w 42"/>
                  <a:gd name="T11" fmla="*/ 0 h 104"/>
                  <a:gd name="T12" fmla="*/ 21 w 42"/>
                  <a:gd name="T13" fmla="*/ 0 h 104"/>
                  <a:gd name="T14" fmla="*/ 35 w 42"/>
                  <a:gd name="T15" fmla="*/ 23 h 104"/>
                  <a:gd name="T16" fmla="*/ 21 w 42"/>
                  <a:gd name="T17" fmla="*/ 36 h 104"/>
                  <a:gd name="T18" fmla="*/ 35 w 42"/>
                  <a:gd name="T19" fmla="*/ 53 h 104"/>
                  <a:gd name="T20" fmla="*/ 42 w 42"/>
                  <a:gd name="T21" fmla="*/ 75 h 104"/>
                  <a:gd name="T22" fmla="*/ 42 w 42"/>
                  <a:gd name="T23" fmla="*/ 90 h 104"/>
                  <a:gd name="T24" fmla="*/ 35 w 42"/>
                  <a:gd name="T25" fmla="*/ 104 h 104"/>
                  <a:gd name="T26" fmla="*/ 21 w 42"/>
                  <a:gd name="T27" fmla="*/ 90 h 104"/>
                  <a:gd name="T28" fmla="*/ 21 w 42"/>
                  <a:gd name="T29" fmla="*/ 75 h 104"/>
                  <a:gd name="T30" fmla="*/ 13 w 42"/>
                  <a:gd name="T31" fmla="*/ 75 h 104"/>
                  <a:gd name="T32" fmla="*/ 8 w 42"/>
                  <a:gd name="T33" fmla="*/ 60 h 104"/>
                  <a:gd name="T34" fmla="*/ 8 w 42"/>
                  <a:gd name="T35" fmla="*/ 60 h 104"/>
                  <a:gd name="T36" fmla="*/ 8 w 42"/>
                  <a:gd name="T37" fmla="*/ 60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2" h="104">
                    <a:moveTo>
                      <a:pt x="8" y="60"/>
                    </a:moveTo>
                    <a:lnTo>
                      <a:pt x="0" y="53"/>
                    </a:lnTo>
                    <a:lnTo>
                      <a:pt x="8" y="36"/>
                    </a:lnTo>
                    <a:lnTo>
                      <a:pt x="8" y="23"/>
                    </a:lnTo>
                    <a:lnTo>
                      <a:pt x="13" y="16"/>
                    </a:lnTo>
                    <a:lnTo>
                      <a:pt x="8" y="0"/>
                    </a:lnTo>
                    <a:lnTo>
                      <a:pt x="21" y="0"/>
                    </a:lnTo>
                    <a:lnTo>
                      <a:pt x="35" y="23"/>
                    </a:lnTo>
                    <a:lnTo>
                      <a:pt x="21" y="36"/>
                    </a:lnTo>
                    <a:lnTo>
                      <a:pt x="35" y="53"/>
                    </a:lnTo>
                    <a:lnTo>
                      <a:pt x="42" y="75"/>
                    </a:lnTo>
                    <a:lnTo>
                      <a:pt x="42" y="90"/>
                    </a:lnTo>
                    <a:lnTo>
                      <a:pt x="35" y="104"/>
                    </a:lnTo>
                    <a:lnTo>
                      <a:pt x="21" y="90"/>
                    </a:lnTo>
                    <a:lnTo>
                      <a:pt x="21" y="75"/>
                    </a:lnTo>
                    <a:lnTo>
                      <a:pt x="13" y="75"/>
                    </a:lnTo>
                    <a:lnTo>
                      <a:pt x="8" y="6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81" name="Freeform 217"/>
              <p:cNvSpPr>
                <a:spLocks/>
              </p:cNvSpPr>
              <p:nvPr/>
            </p:nvSpPr>
            <p:spPr bwMode="auto">
              <a:xfrm>
                <a:off x="4489450" y="4000500"/>
                <a:ext cx="87313" cy="198438"/>
              </a:xfrm>
              <a:custGeom>
                <a:avLst/>
                <a:gdLst>
                  <a:gd name="T0" fmla="*/ 50 w 50"/>
                  <a:gd name="T1" fmla="*/ 71 h 114"/>
                  <a:gd name="T2" fmla="*/ 50 w 50"/>
                  <a:gd name="T3" fmla="*/ 79 h 114"/>
                  <a:gd name="T4" fmla="*/ 39 w 50"/>
                  <a:gd name="T5" fmla="*/ 101 h 114"/>
                  <a:gd name="T6" fmla="*/ 39 w 50"/>
                  <a:gd name="T7" fmla="*/ 109 h 114"/>
                  <a:gd name="T8" fmla="*/ 30 w 50"/>
                  <a:gd name="T9" fmla="*/ 114 h 114"/>
                  <a:gd name="T10" fmla="*/ 30 w 50"/>
                  <a:gd name="T11" fmla="*/ 87 h 114"/>
                  <a:gd name="T12" fmla="*/ 9 w 50"/>
                  <a:gd name="T13" fmla="*/ 79 h 114"/>
                  <a:gd name="T14" fmla="*/ 0 w 50"/>
                  <a:gd name="T15" fmla="*/ 64 h 114"/>
                  <a:gd name="T16" fmla="*/ 15 w 50"/>
                  <a:gd name="T17" fmla="*/ 42 h 114"/>
                  <a:gd name="T18" fmla="*/ 9 w 50"/>
                  <a:gd name="T19" fmla="*/ 8 h 114"/>
                  <a:gd name="T20" fmla="*/ 15 w 50"/>
                  <a:gd name="T21" fmla="*/ 0 h 114"/>
                  <a:gd name="T22" fmla="*/ 39 w 50"/>
                  <a:gd name="T23" fmla="*/ 0 h 114"/>
                  <a:gd name="T24" fmla="*/ 44 w 50"/>
                  <a:gd name="T25" fmla="*/ 8 h 114"/>
                  <a:gd name="T26" fmla="*/ 50 w 50"/>
                  <a:gd name="T27" fmla="*/ 0 h 114"/>
                  <a:gd name="T28" fmla="*/ 44 w 50"/>
                  <a:gd name="T29" fmla="*/ 15 h 114"/>
                  <a:gd name="T30" fmla="*/ 50 w 50"/>
                  <a:gd name="T31" fmla="*/ 34 h 114"/>
                  <a:gd name="T32" fmla="*/ 39 w 50"/>
                  <a:gd name="T33" fmla="*/ 51 h 114"/>
                  <a:gd name="T34" fmla="*/ 39 w 50"/>
                  <a:gd name="T35" fmla="*/ 64 h 114"/>
                  <a:gd name="T36" fmla="*/ 50 w 50"/>
                  <a:gd name="T37" fmla="*/ 64 h 114"/>
                  <a:gd name="T38" fmla="*/ 50 w 50"/>
                  <a:gd name="T39" fmla="*/ 71 h 114"/>
                  <a:gd name="T40" fmla="*/ 50 w 50"/>
                  <a:gd name="T41" fmla="*/ 71 h 114"/>
                  <a:gd name="T42" fmla="*/ 50 w 50"/>
                  <a:gd name="T43" fmla="*/ 71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0" h="114">
                    <a:moveTo>
                      <a:pt x="50" y="71"/>
                    </a:moveTo>
                    <a:lnTo>
                      <a:pt x="50" y="79"/>
                    </a:lnTo>
                    <a:lnTo>
                      <a:pt x="39" y="101"/>
                    </a:lnTo>
                    <a:lnTo>
                      <a:pt x="39" y="109"/>
                    </a:lnTo>
                    <a:lnTo>
                      <a:pt x="30" y="114"/>
                    </a:lnTo>
                    <a:lnTo>
                      <a:pt x="30" y="87"/>
                    </a:lnTo>
                    <a:lnTo>
                      <a:pt x="9" y="79"/>
                    </a:lnTo>
                    <a:lnTo>
                      <a:pt x="0" y="64"/>
                    </a:lnTo>
                    <a:lnTo>
                      <a:pt x="15" y="42"/>
                    </a:lnTo>
                    <a:lnTo>
                      <a:pt x="9" y="8"/>
                    </a:lnTo>
                    <a:lnTo>
                      <a:pt x="15" y="0"/>
                    </a:lnTo>
                    <a:lnTo>
                      <a:pt x="39" y="0"/>
                    </a:lnTo>
                    <a:lnTo>
                      <a:pt x="44" y="8"/>
                    </a:lnTo>
                    <a:lnTo>
                      <a:pt x="50" y="0"/>
                    </a:lnTo>
                    <a:lnTo>
                      <a:pt x="44" y="15"/>
                    </a:lnTo>
                    <a:lnTo>
                      <a:pt x="50" y="34"/>
                    </a:lnTo>
                    <a:lnTo>
                      <a:pt x="39" y="51"/>
                    </a:lnTo>
                    <a:lnTo>
                      <a:pt x="39" y="64"/>
                    </a:lnTo>
                    <a:lnTo>
                      <a:pt x="50" y="64"/>
                    </a:lnTo>
                    <a:lnTo>
                      <a:pt x="50" y="71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82" name="Freeform 218"/>
              <p:cNvSpPr>
                <a:spLocks/>
              </p:cNvSpPr>
              <p:nvPr/>
            </p:nvSpPr>
            <p:spPr bwMode="auto">
              <a:xfrm>
                <a:off x="4659313" y="4724400"/>
                <a:ext cx="307975" cy="207963"/>
              </a:xfrm>
              <a:custGeom>
                <a:avLst/>
                <a:gdLst>
                  <a:gd name="T0" fmla="*/ 114 w 176"/>
                  <a:gd name="T1" fmla="*/ 0 h 119"/>
                  <a:gd name="T2" fmla="*/ 125 w 176"/>
                  <a:gd name="T3" fmla="*/ 21 h 119"/>
                  <a:gd name="T4" fmla="*/ 125 w 176"/>
                  <a:gd name="T5" fmla="*/ 37 h 119"/>
                  <a:gd name="T6" fmla="*/ 139 w 176"/>
                  <a:gd name="T7" fmla="*/ 45 h 119"/>
                  <a:gd name="T8" fmla="*/ 176 w 176"/>
                  <a:gd name="T9" fmla="*/ 89 h 119"/>
                  <a:gd name="T10" fmla="*/ 119 w 176"/>
                  <a:gd name="T11" fmla="*/ 89 h 119"/>
                  <a:gd name="T12" fmla="*/ 114 w 176"/>
                  <a:gd name="T13" fmla="*/ 105 h 119"/>
                  <a:gd name="T14" fmla="*/ 85 w 176"/>
                  <a:gd name="T15" fmla="*/ 105 h 119"/>
                  <a:gd name="T16" fmla="*/ 77 w 176"/>
                  <a:gd name="T17" fmla="*/ 89 h 119"/>
                  <a:gd name="T18" fmla="*/ 70 w 176"/>
                  <a:gd name="T19" fmla="*/ 89 h 119"/>
                  <a:gd name="T20" fmla="*/ 57 w 176"/>
                  <a:gd name="T21" fmla="*/ 112 h 119"/>
                  <a:gd name="T22" fmla="*/ 37 w 176"/>
                  <a:gd name="T23" fmla="*/ 119 h 119"/>
                  <a:gd name="T24" fmla="*/ 30 w 176"/>
                  <a:gd name="T25" fmla="*/ 119 h 119"/>
                  <a:gd name="T26" fmla="*/ 8 w 176"/>
                  <a:gd name="T27" fmla="*/ 89 h 119"/>
                  <a:gd name="T28" fmla="*/ 0 w 176"/>
                  <a:gd name="T29" fmla="*/ 84 h 119"/>
                  <a:gd name="T30" fmla="*/ 21 w 176"/>
                  <a:gd name="T31" fmla="*/ 60 h 119"/>
                  <a:gd name="T32" fmla="*/ 70 w 176"/>
                  <a:gd name="T33" fmla="*/ 37 h 119"/>
                  <a:gd name="T34" fmla="*/ 57 w 176"/>
                  <a:gd name="T35" fmla="*/ 37 h 119"/>
                  <a:gd name="T36" fmla="*/ 85 w 176"/>
                  <a:gd name="T37" fmla="*/ 30 h 119"/>
                  <a:gd name="T38" fmla="*/ 114 w 176"/>
                  <a:gd name="T39" fmla="*/ 0 h 119"/>
                  <a:gd name="T40" fmla="*/ 114 w 176"/>
                  <a:gd name="T41" fmla="*/ 0 h 119"/>
                  <a:gd name="T42" fmla="*/ 114 w 176"/>
                  <a:gd name="T43" fmla="*/ 0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6" h="119">
                    <a:moveTo>
                      <a:pt x="114" y="0"/>
                    </a:moveTo>
                    <a:lnTo>
                      <a:pt x="125" y="21"/>
                    </a:lnTo>
                    <a:lnTo>
                      <a:pt x="125" y="37"/>
                    </a:lnTo>
                    <a:lnTo>
                      <a:pt x="139" y="45"/>
                    </a:lnTo>
                    <a:lnTo>
                      <a:pt x="176" y="89"/>
                    </a:lnTo>
                    <a:lnTo>
                      <a:pt x="119" y="89"/>
                    </a:lnTo>
                    <a:lnTo>
                      <a:pt x="114" y="105"/>
                    </a:lnTo>
                    <a:lnTo>
                      <a:pt x="85" y="105"/>
                    </a:lnTo>
                    <a:lnTo>
                      <a:pt x="77" y="89"/>
                    </a:lnTo>
                    <a:lnTo>
                      <a:pt x="70" y="89"/>
                    </a:lnTo>
                    <a:lnTo>
                      <a:pt x="57" y="112"/>
                    </a:lnTo>
                    <a:lnTo>
                      <a:pt x="37" y="119"/>
                    </a:lnTo>
                    <a:lnTo>
                      <a:pt x="30" y="119"/>
                    </a:lnTo>
                    <a:lnTo>
                      <a:pt x="8" y="89"/>
                    </a:lnTo>
                    <a:lnTo>
                      <a:pt x="0" y="84"/>
                    </a:lnTo>
                    <a:lnTo>
                      <a:pt x="21" y="60"/>
                    </a:lnTo>
                    <a:lnTo>
                      <a:pt x="70" y="37"/>
                    </a:lnTo>
                    <a:lnTo>
                      <a:pt x="57" y="37"/>
                    </a:lnTo>
                    <a:lnTo>
                      <a:pt x="85" y="30"/>
                    </a:lnTo>
                    <a:lnTo>
                      <a:pt x="114" y="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83" name="Freeform 219"/>
              <p:cNvSpPr>
                <a:spLocks/>
              </p:cNvSpPr>
              <p:nvPr/>
            </p:nvSpPr>
            <p:spPr bwMode="auto">
              <a:xfrm>
                <a:off x="4995863" y="5035550"/>
                <a:ext cx="52387" cy="47625"/>
              </a:xfrm>
              <a:custGeom>
                <a:avLst/>
                <a:gdLst>
                  <a:gd name="T0" fmla="*/ 29 w 29"/>
                  <a:gd name="T1" fmla="*/ 27 h 27"/>
                  <a:gd name="T2" fmla="*/ 0 w 29"/>
                  <a:gd name="T3" fmla="*/ 27 h 27"/>
                  <a:gd name="T4" fmla="*/ 29 w 29"/>
                  <a:gd name="T5" fmla="*/ 0 h 27"/>
                  <a:gd name="T6" fmla="*/ 29 w 29"/>
                  <a:gd name="T7" fmla="*/ 27 h 27"/>
                  <a:gd name="T8" fmla="*/ 29 w 29"/>
                  <a:gd name="T9" fmla="*/ 27 h 27"/>
                  <a:gd name="T10" fmla="*/ 29 w 29"/>
                  <a:gd name="T11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9" h="27">
                    <a:moveTo>
                      <a:pt x="29" y="27"/>
                    </a:moveTo>
                    <a:lnTo>
                      <a:pt x="0" y="27"/>
                    </a:lnTo>
                    <a:lnTo>
                      <a:pt x="29" y="0"/>
                    </a:lnTo>
                    <a:lnTo>
                      <a:pt x="29" y="27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84" name="Freeform 220"/>
              <p:cNvSpPr>
                <a:spLocks/>
              </p:cNvSpPr>
              <p:nvPr/>
            </p:nvSpPr>
            <p:spPr bwMode="auto">
              <a:xfrm>
                <a:off x="6630988" y="4483100"/>
                <a:ext cx="182562" cy="385763"/>
              </a:xfrm>
              <a:custGeom>
                <a:avLst/>
                <a:gdLst>
                  <a:gd name="T0" fmla="*/ 35 w 104"/>
                  <a:gd name="T1" fmla="*/ 0 h 220"/>
                  <a:gd name="T2" fmla="*/ 0 w 104"/>
                  <a:gd name="T3" fmla="*/ 15 h 220"/>
                  <a:gd name="T4" fmla="*/ 0 w 104"/>
                  <a:gd name="T5" fmla="*/ 35 h 220"/>
                  <a:gd name="T6" fmla="*/ 13 w 104"/>
                  <a:gd name="T7" fmla="*/ 60 h 220"/>
                  <a:gd name="T8" fmla="*/ 13 w 104"/>
                  <a:gd name="T9" fmla="*/ 82 h 220"/>
                  <a:gd name="T10" fmla="*/ 22 w 104"/>
                  <a:gd name="T11" fmla="*/ 99 h 220"/>
                  <a:gd name="T12" fmla="*/ 28 w 104"/>
                  <a:gd name="T13" fmla="*/ 128 h 220"/>
                  <a:gd name="T14" fmla="*/ 13 w 104"/>
                  <a:gd name="T15" fmla="*/ 164 h 220"/>
                  <a:gd name="T16" fmla="*/ 13 w 104"/>
                  <a:gd name="T17" fmla="*/ 180 h 220"/>
                  <a:gd name="T18" fmla="*/ 35 w 104"/>
                  <a:gd name="T19" fmla="*/ 212 h 220"/>
                  <a:gd name="T20" fmla="*/ 35 w 104"/>
                  <a:gd name="T21" fmla="*/ 201 h 220"/>
                  <a:gd name="T22" fmla="*/ 42 w 104"/>
                  <a:gd name="T23" fmla="*/ 212 h 220"/>
                  <a:gd name="T24" fmla="*/ 57 w 104"/>
                  <a:gd name="T25" fmla="*/ 220 h 220"/>
                  <a:gd name="T26" fmla="*/ 62 w 104"/>
                  <a:gd name="T27" fmla="*/ 212 h 220"/>
                  <a:gd name="T28" fmla="*/ 57 w 104"/>
                  <a:gd name="T29" fmla="*/ 201 h 220"/>
                  <a:gd name="T30" fmla="*/ 35 w 104"/>
                  <a:gd name="T31" fmla="*/ 201 h 220"/>
                  <a:gd name="T32" fmla="*/ 28 w 104"/>
                  <a:gd name="T33" fmla="*/ 164 h 220"/>
                  <a:gd name="T34" fmla="*/ 22 w 104"/>
                  <a:gd name="T35" fmla="*/ 164 h 220"/>
                  <a:gd name="T36" fmla="*/ 22 w 104"/>
                  <a:gd name="T37" fmla="*/ 156 h 220"/>
                  <a:gd name="T38" fmla="*/ 28 w 104"/>
                  <a:gd name="T39" fmla="*/ 128 h 220"/>
                  <a:gd name="T40" fmla="*/ 28 w 104"/>
                  <a:gd name="T41" fmla="*/ 104 h 220"/>
                  <a:gd name="T42" fmla="*/ 42 w 104"/>
                  <a:gd name="T43" fmla="*/ 104 h 220"/>
                  <a:gd name="T44" fmla="*/ 42 w 104"/>
                  <a:gd name="T45" fmla="*/ 119 h 220"/>
                  <a:gd name="T46" fmla="*/ 57 w 104"/>
                  <a:gd name="T47" fmla="*/ 119 h 220"/>
                  <a:gd name="T48" fmla="*/ 70 w 104"/>
                  <a:gd name="T49" fmla="*/ 136 h 220"/>
                  <a:gd name="T50" fmla="*/ 70 w 104"/>
                  <a:gd name="T51" fmla="*/ 128 h 220"/>
                  <a:gd name="T52" fmla="*/ 62 w 104"/>
                  <a:gd name="T53" fmla="*/ 104 h 220"/>
                  <a:gd name="T54" fmla="*/ 70 w 104"/>
                  <a:gd name="T55" fmla="*/ 87 h 220"/>
                  <a:gd name="T56" fmla="*/ 104 w 104"/>
                  <a:gd name="T57" fmla="*/ 87 h 220"/>
                  <a:gd name="T58" fmla="*/ 104 w 104"/>
                  <a:gd name="T59" fmla="*/ 74 h 220"/>
                  <a:gd name="T60" fmla="*/ 79 w 104"/>
                  <a:gd name="T61" fmla="*/ 32 h 220"/>
                  <a:gd name="T62" fmla="*/ 42 w 104"/>
                  <a:gd name="T63" fmla="*/ 45 h 220"/>
                  <a:gd name="T64" fmla="*/ 42 w 104"/>
                  <a:gd name="T65" fmla="*/ 15 h 220"/>
                  <a:gd name="T66" fmla="*/ 35 w 104"/>
                  <a:gd name="T67" fmla="*/ 10 h 220"/>
                  <a:gd name="T68" fmla="*/ 35 w 104"/>
                  <a:gd name="T69" fmla="*/ 0 h 220"/>
                  <a:gd name="T70" fmla="*/ 35 w 104"/>
                  <a:gd name="T71" fmla="*/ 0 h 220"/>
                  <a:gd name="T72" fmla="*/ 35 w 104"/>
                  <a:gd name="T73" fmla="*/ 0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04" h="220">
                    <a:moveTo>
                      <a:pt x="35" y="0"/>
                    </a:moveTo>
                    <a:lnTo>
                      <a:pt x="0" y="15"/>
                    </a:lnTo>
                    <a:lnTo>
                      <a:pt x="0" y="35"/>
                    </a:lnTo>
                    <a:lnTo>
                      <a:pt x="13" y="60"/>
                    </a:lnTo>
                    <a:lnTo>
                      <a:pt x="13" y="82"/>
                    </a:lnTo>
                    <a:lnTo>
                      <a:pt x="22" y="99"/>
                    </a:lnTo>
                    <a:lnTo>
                      <a:pt x="28" y="128"/>
                    </a:lnTo>
                    <a:lnTo>
                      <a:pt x="13" y="164"/>
                    </a:lnTo>
                    <a:lnTo>
                      <a:pt x="13" y="180"/>
                    </a:lnTo>
                    <a:lnTo>
                      <a:pt x="35" y="212"/>
                    </a:lnTo>
                    <a:lnTo>
                      <a:pt x="35" y="201"/>
                    </a:lnTo>
                    <a:lnTo>
                      <a:pt x="42" y="212"/>
                    </a:lnTo>
                    <a:lnTo>
                      <a:pt x="57" y="220"/>
                    </a:lnTo>
                    <a:lnTo>
                      <a:pt x="62" y="212"/>
                    </a:lnTo>
                    <a:lnTo>
                      <a:pt x="57" y="201"/>
                    </a:lnTo>
                    <a:lnTo>
                      <a:pt x="35" y="201"/>
                    </a:lnTo>
                    <a:lnTo>
                      <a:pt x="28" y="164"/>
                    </a:lnTo>
                    <a:lnTo>
                      <a:pt x="22" y="164"/>
                    </a:lnTo>
                    <a:lnTo>
                      <a:pt x="22" y="156"/>
                    </a:lnTo>
                    <a:lnTo>
                      <a:pt x="28" y="128"/>
                    </a:lnTo>
                    <a:lnTo>
                      <a:pt x="28" y="104"/>
                    </a:lnTo>
                    <a:lnTo>
                      <a:pt x="42" y="104"/>
                    </a:lnTo>
                    <a:lnTo>
                      <a:pt x="42" y="119"/>
                    </a:lnTo>
                    <a:lnTo>
                      <a:pt x="57" y="119"/>
                    </a:lnTo>
                    <a:lnTo>
                      <a:pt x="70" y="136"/>
                    </a:lnTo>
                    <a:lnTo>
                      <a:pt x="70" y="128"/>
                    </a:lnTo>
                    <a:lnTo>
                      <a:pt x="62" y="104"/>
                    </a:lnTo>
                    <a:lnTo>
                      <a:pt x="70" y="87"/>
                    </a:lnTo>
                    <a:lnTo>
                      <a:pt x="104" y="87"/>
                    </a:lnTo>
                    <a:lnTo>
                      <a:pt x="104" y="74"/>
                    </a:lnTo>
                    <a:lnTo>
                      <a:pt x="79" y="32"/>
                    </a:lnTo>
                    <a:lnTo>
                      <a:pt x="42" y="45"/>
                    </a:lnTo>
                    <a:lnTo>
                      <a:pt x="42" y="15"/>
                    </a:lnTo>
                    <a:lnTo>
                      <a:pt x="35" y="10"/>
                    </a:lnTo>
                    <a:lnTo>
                      <a:pt x="35" y="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85" name="Freeform 221"/>
              <p:cNvSpPr>
                <a:spLocks/>
              </p:cNvSpPr>
              <p:nvPr/>
            </p:nvSpPr>
            <p:spPr bwMode="auto">
              <a:xfrm>
                <a:off x="6740525" y="4414838"/>
                <a:ext cx="161925" cy="369887"/>
              </a:xfrm>
              <a:custGeom>
                <a:avLst/>
                <a:gdLst>
                  <a:gd name="T0" fmla="*/ 0 w 92"/>
                  <a:gd name="T1" fmla="*/ 8 h 212"/>
                  <a:gd name="T2" fmla="*/ 0 w 92"/>
                  <a:gd name="T3" fmla="*/ 0 h 212"/>
                  <a:gd name="T4" fmla="*/ 8 w 92"/>
                  <a:gd name="T5" fmla="*/ 8 h 212"/>
                  <a:gd name="T6" fmla="*/ 57 w 92"/>
                  <a:gd name="T7" fmla="*/ 0 h 212"/>
                  <a:gd name="T8" fmla="*/ 57 w 92"/>
                  <a:gd name="T9" fmla="*/ 17 h 212"/>
                  <a:gd name="T10" fmla="*/ 79 w 92"/>
                  <a:gd name="T11" fmla="*/ 17 h 212"/>
                  <a:gd name="T12" fmla="*/ 57 w 92"/>
                  <a:gd name="T13" fmla="*/ 22 h 212"/>
                  <a:gd name="T14" fmla="*/ 50 w 92"/>
                  <a:gd name="T15" fmla="*/ 45 h 212"/>
                  <a:gd name="T16" fmla="*/ 42 w 92"/>
                  <a:gd name="T17" fmla="*/ 54 h 212"/>
                  <a:gd name="T18" fmla="*/ 92 w 92"/>
                  <a:gd name="T19" fmla="*/ 136 h 212"/>
                  <a:gd name="T20" fmla="*/ 85 w 92"/>
                  <a:gd name="T21" fmla="*/ 175 h 212"/>
                  <a:gd name="T22" fmla="*/ 62 w 92"/>
                  <a:gd name="T23" fmla="*/ 187 h 212"/>
                  <a:gd name="T24" fmla="*/ 57 w 92"/>
                  <a:gd name="T25" fmla="*/ 187 h 212"/>
                  <a:gd name="T26" fmla="*/ 50 w 92"/>
                  <a:gd name="T27" fmla="*/ 205 h 212"/>
                  <a:gd name="T28" fmla="*/ 35 w 92"/>
                  <a:gd name="T29" fmla="*/ 212 h 212"/>
                  <a:gd name="T30" fmla="*/ 35 w 92"/>
                  <a:gd name="T31" fmla="*/ 197 h 212"/>
                  <a:gd name="T32" fmla="*/ 23 w 92"/>
                  <a:gd name="T33" fmla="*/ 187 h 212"/>
                  <a:gd name="T34" fmla="*/ 62 w 92"/>
                  <a:gd name="T35" fmla="*/ 158 h 212"/>
                  <a:gd name="T36" fmla="*/ 62 w 92"/>
                  <a:gd name="T37" fmla="*/ 113 h 212"/>
                  <a:gd name="T38" fmla="*/ 50 w 92"/>
                  <a:gd name="T39" fmla="*/ 91 h 212"/>
                  <a:gd name="T40" fmla="*/ 50 w 92"/>
                  <a:gd name="T41" fmla="*/ 82 h 212"/>
                  <a:gd name="T42" fmla="*/ 13 w 92"/>
                  <a:gd name="T43" fmla="*/ 54 h 212"/>
                  <a:gd name="T44" fmla="*/ 35 w 92"/>
                  <a:gd name="T45" fmla="*/ 45 h 212"/>
                  <a:gd name="T46" fmla="*/ 23 w 92"/>
                  <a:gd name="T47" fmla="*/ 39 h 212"/>
                  <a:gd name="T48" fmla="*/ 8 w 92"/>
                  <a:gd name="T49" fmla="*/ 22 h 212"/>
                  <a:gd name="T50" fmla="*/ 0 w 92"/>
                  <a:gd name="T51" fmla="*/ 8 h 212"/>
                  <a:gd name="T52" fmla="*/ 0 w 92"/>
                  <a:gd name="T53" fmla="*/ 8 h 212"/>
                  <a:gd name="T54" fmla="*/ 0 w 92"/>
                  <a:gd name="T55" fmla="*/ 8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92" h="212">
                    <a:moveTo>
                      <a:pt x="0" y="8"/>
                    </a:moveTo>
                    <a:lnTo>
                      <a:pt x="0" y="0"/>
                    </a:lnTo>
                    <a:lnTo>
                      <a:pt x="8" y="8"/>
                    </a:lnTo>
                    <a:lnTo>
                      <a:pt x="57" y="0"/>
                    </a:lnTo>
                    <a:lnTo>
                      <a:pt x="57" y="17"/>
                    </a:lnTo>
                    <a:lnTo>
                      <a:pt x="79" y="17"/>
                    </a:lnTo>
                    <a:lnTo>
                      <a:pt x="57" y="22"/>
                    </a:lnTo>
                    <a:lnTo>
                      <a:pt x="50" y="45"/>
                    </a:lnTo>
                    <a:lnTo>
                      <a:pt x="42" y="54"/>
                    </a:lnTo>
                    <a:lnTo>
                      <a:pt x="92" y="136"/>
                    </a:lnTo>
                    <a:lnTo>
                      <a:pt x="85" y="175"/>
                    </a:lnTo>
                    <a:lnTo>
                      <a:pt x="62" y="187"/>
                    </a:lnTo>
                    <a:lnTo>
                      <a:pt x="57" y="187"/>
                    </a:lnTo>
                    <a:lnTo>
                      <a:pt x="50" y="205"/>
                    </a:lnTo>
                    <a:lnTo>
                      <a:pt x="35" y="212"/>
                    </a:lnTo>
                    <a:lnTo>
                      <a:pt x="35" y="197"/>
                    </a:lnTo>
                    <a:lnTo>
                      <a:pt x="23" y="187"/>
                    </a:lnTo>
                    <a:lnTo>
                      <a:pt x="62" y="158"/>
                    </a:lnTo>
                    <a:lnTo>
                      <a:pt x="62" y="113"/>
                    </a:lnTo>
                    <a:lnTo>
                      <a:pt x="50" y="91"/>
                    </a:lnTo>
                    <a:lnTo>
                      <a:pt x="50" y="82"/>
                    </a:lnTo>
                    <a:lnTo>
                      <a:pt x="13" y="54"/>
                    </a:lnTo>
                    <a:lnTo>
                      <a:pt x="35" y="45"/>
                    </a:lnTo>
                    <a:lnTo>
                      <a:pt x="23" y="39"/>
                    </a:lnTo>
                    <a:lnTo>
                      <a:pt x="8" y="22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86" name="Freeform 222"/>
              <p:cNvSpPr>
                <a:spLocks/>
              </p:cNvSpPr>
              <p:nvPr/>
            </p:nvSpPr>
            <p:spPr bwMode="auto">
              <a:xfrm>
                <a:off x="6740525" y="4641850"/>
                <a:ext cx="114300" cy="104775"/>
              </a:xfrm>
              <a:custGeom>
                <a:avLst/>
                <a:gdLst>
                  <a:gd name="T0" fmla="*/ 23 w 65"/>
                  <a:gd name="T1" fmla="*/ 60 h 60"/>
                  <a:gd name="T2" fmla="*/ 65 w 65"/>
                  <a:gd name="T3" fmla="*/ 31 h 60"/>
                  <a:gd name="T4" fmla="*/ 65 w 65"/>
                  <a:gd name="T5" fmla="*/ 0 h 60"/>
                  <a:gd name="T6" fmla="*/ 52 w 65"/>
                  <a:gd name="T7" fmla="*/ 0 h 60"/>
                  <a:gd name="T8" fmla="*/ 52 w 65"/>
                  <a:gd name="T9" fmla="*/ 10 h 60"/>
                  <a:gd name="T10" fmla="*/ 42 w 65"/>
                  <a:gd name="T11" fmla="*/ 0 h 60"/>
                  <a:gd name="T12" fmla="*/ 8 w 65"/>
                  <a:gd name="T13" fmla="*/ 0 h 60"/>
                  <a:gd name="T14" fmla="*/ 0 w 65"/>
                  <a:gd name="T15" fmla="*/ 15 h 60"/>
                  <a:gd name="T16" fmla="*/ 8 w 65"/>
                  <a:gd name="T17" fmla="*/ 40 h 60"/>
                  <a:gd name="T18" fmla="*/ 8 w 65"/>
                  <a:gd name="T19" fmla="*/ 60 h 60"/>
                  <a:gd name="T20" fmla="*/ 23 w 65"/>
                  <a:gd name="T21" fmla="*/ 60 h 60"/>
                  <a:gd name="T22" fmla="*/ 23 w 65"/>
                  <a:gd name="T2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5" h="60">
                    <a:moveTo>
                      <a:pt x="23" y="60"/>
                    </a:moveTo>
                    <a:lnTo>
                      <a:pt x="65" y="31"/>
                    </a:lnTo>
                    <a:lnTo>
                      <a:pt x="65" y="0"/>
                    </a:lnTo>
                    <a:lnTo>
                      <a:pt x="52" y="0"/>
                    </a:lnTo>
                    <a:lnTo>
                      <a:pt x="52" y="10"/>
                    </a:lnTo>
                    <a:lnTo>
                      <a:pt x="42" y="0"/>
                    </a:lnTo>
                    <a:lnTo>
                      <a:pt x="8" y="0"/>
                    </a:lnTo>
                    <a:lnTo>
                      <a:pt x="0" y="15"/>
                    </a:lnTo>
                    <a:lnTo>
                      <a:pt x="8" y="40"/>
                    </a:lnTo>
                    <a:lnTo>
                      <a:pt x="8" y="60"/>
                    </a:lnTo>
                    <a:lnTo>
                      <a:pt x="23" y="6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87" name="Freeform 223"/>
              <p:cNvSpPr>
                <a:spLocks/>
              </p:cNvSpPr>
              <p:nvPr/>
            </p:nvSpPr>
            <p:spPr bwMode="auto">
              <a:xfrm>
                <a:off x="6691313" y="4837113"/>
                <a:ext cx="90487" cy="147637"/>
              </a:xfrm>
              <a:custGeom>
                <a:avLst/>
                <a:gdLst>
                  <a:gd name="T0" fmla="*/ 29 w 52"/>
                  <a:gd name="T1" fmla="*/ 9 h 84"/>
                  <a:gd name="T2" fmla="*/ 24 w 52"/>
                  <a:gd name="T3" fmla="*/ 17 h 84"/>
                  <a:gd name="T4" fmla="*/ 9 w 52"/>
                  <a:gd name="T5" fmla="*/ 9 h 84"/>
                  <a:gd name="T6" fmla="*/ 0 w 52"/>
                  <a:gd name="T7" fmla="*/ 0 h 84"/>
                  <a:gd name="T8" fmla="*/ 0 w 52"/>
                  <a:gd name="T9" fmla="*/ 39 h 84"/>
                  <a:gd name="T10" fmla="*/ 24 w 52"/>
                  <a:gd name="T11" fmla="*/ 52 h 84"/>
                  <a:gd name="T12" fmla="*/ 44 w 52"/>
                  <a:gd name="T13" fmla="*/ 84 h 84"/>
                  <a:gd name="T14" fmla="*/ 52 w 52"/>
                  <a:gd name="T15" fmla="*/ 84 h 84"/>
                  <a:gd name="T16" fmla="*/ 44 w 52"/>
                  <a:gd name="T17" fmla="*/ 52 h 84"/>
                  <a:gd name="T18" fmla="*/ 44 w 52"/>
                  <a:gd name="T19" fmla="*/ 22 h 84"/>
                  <a:gd name="T20" fmla="*/ 29 w 52"/>
                  <a:gd name="T21" fmla="*/ 9 h 84"/>
                  <a:gd name="T22" fmla="*/ 29 w 52"/>
                  <a:gd name="T23" fmla="*/ 9 h 84"/>
                  <a:gd name="T24" fmla="*/ 29 w 52"/>
                  <a:gd name="T25" fmla="*/ 9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2" h="84">
                    <a:moveTo>
                      <a:pt x="29" y="9"/>
                    </a:moveTo>
                    <a:lnTo>
                      <a:pt x="24" y="17"/>
                    </a:lnTo>
                    <a:lnTo>
                      <a:pt x="9" y="9"/>
                    </a:lnTo>
                    <a:lnTo>
                      <a:pt x="0" y="0"/>
                    </a:lnTo>
                    <a:lnTo>
                      <a:pt x="0" y="39"/>
                    </a:lnTo>
                    <a:lnTo>
                      <a:pt x="24" y="52"/>
                    </a:lnTo>
                    <a:lnTo>
                      <a:pt x="44" y="84"/>
                    </a:lnTo>
                    <a:lnTo>
                      <a:pt x="52" y="84"/>
                    </a:lnTo>
                    <a:lnTo>
                      <a:pt x="44" y="52"/>
                    </a:lnTo>
                    <a:lnTo>
                      <a:pt x="44" y="22"/>
                    </a:lnTo>
                    <a:lnTo>
                      <a:pt x="29" y="9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88" name="Freeform 224"/>
              <p:cNvSpPr>
                <a:spLocks/>
              </p:cNvSpPr>
              <p:nvPr/>
            </p:nvSpPr>
            <p:spPr bwMode="auto">
              <a:xfrm>
                <a:off x="6902450" y="4837113"/>
                <a:ext cx="239713" cy="147637"/>
              </a:xfrm>
              <a:custGeom>
                <a:avLst/>
                <a:gdLst>
                  <a:gd name="T0" fmla="*/ 77 w 136"/>
                  <a:gd name="T1" fmla="*/ 22 h 84"/>
                  <a:gd name="T2" fmla="*/ 85 w 136"/>
                  <a:gd name="T3" fmla="*/ 22 h 84"/>
                  <a:gd name="T4" fmla="*/ 77 w 136"/>
                  <a:gd name="T5" fmla="*/ 39 h 84"/>
                  <a:gd name="T6" fmla="*/ 55 w 136"/>
                  <a:gd name="T7" fmla="*/ 39 h 84"/>
                  <a:gd name="T8" fmla="*/ 45 w 136"/>
                  <a:gd name="T9" fmla="*/ 52 h 84"/>
                  <a:gd name="T10" fmla="*/ 28 w 136"/>
                  <a:gd name="T11" fmla="*/ 52 h 84"/>
                  <a:gd name="T12" fmla="*/ 28 w 136"/>
                  <a:gd name="T13" fmla="*/ 76 h 84"/>
                  <a:gd name="T14" fmla="*/ 0 w 136"/>
                  <a:gd name="T15" fmla="*/ 76 h 84"/>
                  <a:gd name="T16" fmla="*/ 12 w 136"/>
                  <a:gd name="T17" fmla="*/ 84 h 84"/>
                  <a:gd name="T18" fmla="*/ 34 w 136"/>
                  <a:gd name="T19" fmla="*/ 84 h 84"/>
                  <a:gd name="T20" fmla="*/ 45 w 136"/>
                  <a:gd name="T21" fmla="*/ 76 h 84"/>
                  <a:gd name="T22" fmla="*/ 55 w 136"/>
                  <a:gd name="T23" fmla="*/ 84 h 84"/>
                  <a:gd name="T24" fmla="*/ 70 w 136"/>
                  <a:gd name="T25" fmla="*/ 76 h 84"/>
                  <a:gd name="T26" fmla="*/ 90 w 136"/>
                  <a:gd name="T27" fmla="*/ 39 h 84"/>
                  <a:gd name="T28" fmla="*/ 127 w 136"/>
                  <a:gd name="T29" fmla="*/ 39 h 84"/>
                  <a:gd name="T30" fmla="*/ 119 w 136"/>
                  <a:gd name="T31" fmla="*/ 22 h 84"/>
                  <a:gd name="T32" fmla="*/ 136 w 136"/>
                  <a:gd name="T33" fmla="*/ 22 h 84"/>
                  <a:gd name="T34" fmla="*/ 112 w 136"/>
                  <a:gd name="T35" fmla="*/ 17 h 84"/>
                  <a:gd name="T36" fmla="*/ 112 w 136"/>
                  <a:gd name="T37" fmla="*/ 9 h 84"/>
                  <a:gd name="T38" fmla="*/ 97 w 136"/>
                  <a:gd name="T39" fmla="*/ 0 h 84"/>
                  <a:gd name="T40" fmla="*/ 85 w 136"/>
                  <a:gd name="T41" fmla="*/ 17 h 84"/>
                  <a:gd name="T42" fmla="*/ 77 w 136"/>
                  <a:gd name="T43" fmla="*/ 22 h 84"/>
                  <a:gd name="T44" fmla="*/ 77 w 136"/>
                  <a:gd name="T45" fmla="*/ 22 h 84"/>
                  <a:gd name="T46" fmla="*/ 77 w 136"/>
                  <a:gd name="T47" fmla="*/ 22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36" h="84">
                    <a:moveTo>
                      <a:pt x="77" y="22"/>
                    </a:moveTo>
                    <a:lnTo>
                      <a:pt x="85" y="22"/>
                    </a:lnTo>
                    <a:lnTo>
                      <a:pt x="77" y="39"/>
                    </a:lnTo>
                    <a:lnTo>
                      <a:pt x="55" y="39"/>
                    </a:lnTo>
                    <a:lnTo>
                      <a:pt x="45" y="52"/>
                    </a:lnTo>
                    <a:lnTo>
                      <a:pt x="28" y="52"/>
                    </a:lnTo>
                    <a:lnTo>
                      <a:pt x="28" y="76"/>
                    </a:lnTo>
                    <a:lnTo>
                      <a:pt x="0" y="76"/>
                    </a:lnTo>
                    <a:lnTo>
                      <a:pt x="12" y="84"/>
                    </a:lnTo>
                    <a:lnTo>
                      <a:pt x="34" y="84"/>
                    </a:lnTo>
                    <a:lnTo>
                      <a:pt x="45" y="76"/>
                    </a:lnTo>
                    <a:lnTo>
                      <a:pt x="55" y="84"/>
                    </a:lnTo>
                    <a:lnTo>
                      <a:pt x="70" y="76"/>
                    </a:lnTo>
                    <a:lnTo>
                      <a:pt x="90" y="39"/>
                    </a:lnTo>
                    <a:lnTo>
                      <a:pt x="127" y="39"/>
                    </a:lnTo>
                    <a:lnTo>
                      <a:pt x="119" y="22"/>
                    </a:lnTo>
                    <a:lnTo>
                      <a:pt x="136" y="22"/>
                    </a:lnTo>
                    <a:lnTo>
                      <a:pt x="112" y="17"/>
                    </a:lnTo>
                    <a:lnTo>
                      <a:pt x="112" y="9"/>
                    </a:lnTo>
                    <a:lnTo>
                      <a:pt x="97" y="0"/>
                    </a:lnTo>
                    <a:lnTo>
                      <a:pt x="85" y="17"/>
                    </a:lnTo>
                    <a:lnTo>
                      <a:pt x="77" y="22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89" name="Freeform 225"/>
              <p:cNvSpPr>
                <a:spLocks/>
              </p:cNvSpPr>
              <p:nvPr/>
            </p:nvSpPr>
            <p:spPr bwMode="auto">
              <a:xfrm>
                <a:off x="6891338" y="4903788"/>
                <a:ext cx="234950" cy="214312"/>
              </a:xfrm>
              <a:custGeom>
                <a:avLst/>
                <a:gdLst>
                  <a:gd name="T0" fmla="*/ 9 w 134"/>
                  <a:gd name="T1" fmla="*/ 39 h 123"/>
                  <a:gd name="T2" fmla="*/ 20 w 134"/>
                  <a:gd name="T3" fmla="*/ 47 h 123"/>
                  <a:gd name="T4" fmla="*/ 42 w 134"/>
                  <a:gd name="T5" fmla="*/ 47 h 123"/>
                  <a:gd name="T6" fmla="*/ 51 w 134"/>
                  <a:gd name="T7" fmla="*/ 39 h 123"/>
                  <a:gd name="T8" fmla="*/ 64 w 134"/>
                  <a:gd name="T9" fmla="*/ 47 h 123"/>
                  <a:gd name="T10" fmla="*/ 77 w 134"/>
                  <a:gd name="T11" fmla="*/ 39 h 123"/>
                  <a:gd name="T12" fmla="*/ 99 w 134"/>
                  <a:gd name="T13" fmla="*/ 0 h 123"/>
                  <a:gd name="T14" fmla="*/ 126 w 134"/>
                  <a:gd name="T15" fmla="*/ 0 h 123"/>
                  <a:gd name="T16" fmla="*/ 121 w 134"/>
                  <a:gd name="T17" fmla="*/ 17 h 123"/>
                  <a:gd name="T18" fmla="*/ 126 w 134"/>
                  <a:gd name="T19" fmla="*/ 32 h 123"/>
                  <a:gd name="T20" fmla="*/ 121 w 134"/>
                  <a:gd name="T21" fmla="*/ 39 h 123"/>
                  <a:gd name="T22" fmla="*/ 134 w 134"/>
                  <a:gd name="T23" fmla="*/ 47 h 123"/>
                  <a:gd name="T24" fmla="*/ 104 w 134"/>
                  <a:gd name="T25" fmla="*/ 77 h 123"/>
                  <a:gd name="T26" fmla="*/ 99 w 134"/>
                  <a:gd name="T27" fmla="*/ 94 h 123"/>
                  <a:gd name="T28" fmla="*/ 104 w 134"/>
                  <a:gd name="T29" fmla="*/ 94 h 123"/>
                  <a:gd name="T30" fmla="*/ 99 w 134"/>
                  <a:gd name="T31" fmla="*/ 108 h 123"/>
                  <a:gd name="T32" fmla="*/ 84 w 134"/>
                  <a:gd name="T33" fmla="*/ 123 h 123"/>
                  <a:gd name="T34" fmla="*/ 77 w 134"/>
                  <a:gd name="T35" fmla="*/ 108 h 123"/>
                  <a:gd name="T36" fmla="*/ 42 w 134"/>
                  <a:gd name="T37" fmla="*/ 108 h 123"/>
                  <a:gd name="T38" fmla="*/ 42 w 134"/>
                  <a:gd name="T39" fmla="*/ 101 h 123"/>
                  <a:gd name="T40" fmla="*/ 20 w 134"/>
                  <a:gd name="T41" fmla="*/ 101 h 123"/>
                  <a:gd name="T42" fmla="*/ 0 w 134"/>
                  <a:gd name="T43" fmla="*/ 47 h 123"/>
                  <a:gd name="T44" fmla="*/ 9 w 134"/>
                  <a:gd name="T45" fmla="*/ 39 h 123"/>
                  <a:gd name="T46" fmla="*/ 9 w 134"/>
                  <a:gd name="T47" fmla="*/ 39 h 123"/>
                  <a:gd name="T48" fmla="*/ 9 w 134"/>
                  <a:gd name="T49" fmla="*/ 39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34" h="123">
                    <a:moveTo>
                      <a:pt x="9" y="39"/>
                    </a:moveTo>
                    <a:lnTo>
                      <a:pt x="20" y="47"/>
                    </a:lnTo>
                    <a:lnTo>
                      <a:pt x="42" y="47"/>
                    </a:lnTo>
                    <a:lnTo>
                      <a:pt x="51" y="39"/>
                    </a:lnTo>
                    <a:lnTo>
                      <a:pt x="64" y="47"/>
                    </a:lnTo>
                    <a:lnTo>
                      <a:pt x="77" y="39"/>
                    </a:lnTo>
                    <a:lnTo>
                      <a:pt x="99" y="0"/>
                    </a:lnTo>
                    <a:lnTo>
                      <a:pt x="126" y="0"/>
                    </a:lnTo>
                    <a:lnTo>
                      <a:pt x="121" y="17"/>
                    </a:lnTo>
                    <a:lnTo>
                      <a:pt x="126" y="32"/>
                    </a:lnTo>
                    <a:lnTo>
                      <a:pt x="121" y="39"/>
                    </a:lnTo>
                    <a:lnTo>
                      <a:pt x="134" y="47"/>
                    </a:lnTo>
                    <a:lnTo>
                      <a:pt x="104" y="77"/>
                    </a:lnTo>
                    <a:lnTo>
                      <a:pt x="99" y="94"/>
                    </a:lnTo>
                    <a:lnTo>
                      <a:pt x="104" y="94"/>
                    </a:lnTo>
                    <a:lnTo>
                      <a:pt x="99" y="108"/>
                    </a:lnTo>
                    <a:lnTo>
                      <a:pt x="84" y="123"/>
                    </a:lnTo>
                    <a:lnTo>
                      <a:pt x="77" y="108"/>
                    </a:lnTo>
                    <a:lnTo>
                      <a:pt x="42" y="108"/>
                    </a:lnTo>
                    <a:lnTo>
                      <a:pt x="42" y="101"/>
                    </a:lnTo>
                    <a:lnTo>
                      <a:pt x="20" y="101"/>
                    </a:lnTo>
                    <a:lnTo>
                      <a:pt x="0" y="47"/>
                    </a:lnTo>
                    <a:lnTo>
                      <a:pt x="9" y="39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90" name="Freeform 226"/>
              <p:cNvSpPr>
                <a:spLocks/>
              </p:cNvSpPr>
              <p:nvPr/>
            </p:nvSpPr>
            <p:spPr bwMode="auto">
              <a:xfrm>
                <a:off x="7412038" y="5011738"/>
                <a:ext cx="238125" cy="219075"/>
              </a:xfrm>
              <a:custGeom>
                <a:avLst/>
                <a:gdLst>
                  <a:gd name="T0" fmla="*/ 136 w 136"/>
                  <a:gd name="T1" fmla="*/ 37 h 126"/>
                  <a:gd name="T2" fmla="*/ 136 w 136"/>
                  <a:gd name="T3" fmla="*/ 126 h 126"/>
                  <a:gd name="T4" fmla="*/ 112 w 136"/>
                  <a:gd name="T5" fmla="*/ 111 h 126"/>
                  <a:gd name="T6" fmla="*/ 94 w 136"/>
                  <a:gd name="T7" fmla="*/ 120 h 126"/>
                  <a:gd name="T8" fmla="*/ 99 w 136"/>
                  <a:gd name="T9" fmla="*/ 105 h 126"/>
                  <a:gd name="T10" fmla="*/ 94 w 136"/>
                  <a:gd name="T11" fmla="*/ 81 h 126"/>
                  <a:gd name="T12" fmla="*/ 28 w 136"/>
                  <a:gd name="T13" fmla="*/ 44 h 126"/>
                  <a:gd name="T14" fmla="*/ 22 w 136"/>
                  <a:gd name="T15" fmla="*/ 59 h 126"/>
                  <a:gd name="T16" fmla="*/ 22 w 136"/>
                  <a:gd name="T17" fmla="*/ 44 h 126"/>
                  <a:gd name="T18" fmla="*/ 13 w 136"/>
                  <a:gd name="T19" fmla="*/ 37 h 126"/>
                  <a:gd name="T20" fmla="*/ 28 w 136"/>
                  <a:gd name="T21" fmla="*/ 37 h 126"/>
                  <a:gd name="T22" fmla="*/ 42 w 136"/>
                  <a:gd name="T23" fmla="*/ 29 h 126"/>
                  <a:gd name="T24" fmla="*/ 13 w 136"/>
                  <a:gd name="T25" fmla="*/ 29 h 126"/>
                  <a:gd name="T26" fmla="*/ 7 w 136"/>
                  <a:gd name="T27" fmla="*/ 20 h 126"/>
                  <a:gd name="T28" fmla="*/ 0 w 136"/>
                  <a:gd name="T29" fmla="*/ 20 h 126"/>
                  <a:gd name="T30" fmla="*/ 13 w 136"/>
                  <a:gd name="T31" fmla="*/ 0 h 126"/>
                  <a:gd name="T32" fmla="*/ 22 w 136"/>
                  <a:gd name="T33" fmla="*/ 0 h 126"/>
                  <a:gd name="T34" fmla="*/ 42 w 136"/>
                  <a:gd name="T35" fmla="*/ 12 h 126"/>
                  <a:gd name="T36" fmla="*/ 42 w 136"/>
                  <a:gd name="T37" fmla="*/ 29 h 126"/>
                  <a:gd name="T38" fmla="*/ 58 w 136"/>
                  <a:gd name="T39" fmla="*/ 44 h 126"/>
                  <a:gd name="T40" fmla="*/ 72 w 136"/>
                  <a:gd name="T41" fmla="*/ 29 h 126"/>
                  <a:gd name="T42" fmla="*/ 94 w 136"/>
                  <a:gd name="T43" fmla="*/ 20 h 126"/>
                  <a:gd name="T44" fmla="*/ 136 w 136"/>
                  <a:gd name="T45" fmla="*/ 37 h 126"/>
                  <a:gd name="T46" fmla="*/ 136 w 136"/>
                  <a:gd name="T47" fmla="*/ 37 h 126"/>
                  <a:gd name="T48" fmla="*/ 136 w 136"/>
                  <a:gd name="T49" fmla="*/ 37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36" h="126">
                    <a:moveTo>
                      <a:pt x="136" y="37"/>
                    </a:moveTo>
                    <a:lnTo>
                      <a:pt x="136" y="126"/>
                    </a:lnTo>
                    <a:lnTo>
                      <a:pt x="112" y="111"/>
                    </a:lnTo>
                    <a:lnTo>
                      <a:pt x="94" y="120"/>
                    </a:lnTo>
                    <a:lnTo>
                      <a:pt x="99" y="105"/>
                    </a:lnTo>
                    <a:lnTo>
                      <a:pt x="94" y="81"/>
                    </a:lnTo>
                    <a:lnTo>
                      <a:pt x="28" y="44"/>
                    </a:lnTo>
                    <a:lnTo>
                      <a:pt x="22" y="59"/>
                    </a:lnTo>
                    <a:lnTo>
                      <a:pt x="22" y="44"/>
                    </a:lnTo>
                    <a:lnTo>
                      <a:pt x="13" y="37"/>
                    </a:lnTo>
                    <a:lnTo>
                      <a:pt x="28" y="37"/>
                    </a:lnTo>
                    <a:lnTo>
                      <a:pt x="42" y="29"/>
                    </a:lnTo>
                    <a:lnTo>
                      <a:pt x="13" y="29"/>
                    </a:lnTo>
                    <a:lnTo>
                      <a:pt x="7" y="20"/>
                    </a:lnTo>
                    <a:lnTo>
                      <a:pt x="0" y="20"/>
                    </a:lnTo>
                    <a:lnTo>
                      <a:pt x="13" y="0"/>
                    </a:lnTo>
                    <a:lnTo>
                      <a:pt x="22" y="0"/>
                    </a:lnTo>
                    <a:lnTo>
                      <a:pt x="42" y="12"/>
                    </a:lnTo>
                    <a:lnTo>
                      <a:pt x="42" y="29"/>
                    </a:lnTo>
                    <a:lnTo>
                      <a:pt x="58" y="44"/>
                    </a:lnTo>
                    <a:lnTo>
                      <a:pt x="72" y="29"/>
                    </a:lnTo>
                    <a:lnTo>
                      <a:pt x="94" y="20"/>
                    </a:lnTo>
                    <a:lnTo>
                      <a:pt x="136" y="37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91" name="Freeform 227"/>
              <p:cNvSpPr>
                <a:spLocks/>
              </p:cNvSpPr>
              <p:nvPr/>
            </p:nvSpPr>
            <p:spPr bwMode="auto">
              <a:xfrm>
                <a:off x="7650163" y="5075238"/>
                <a:ext cx="223837" cy="214312"/>
              </a:xfrm>
              <a:custGeom>
                <a:avLst/>
                <a:gdLst>
                  <a:gd name="T0" fmla="*/ 0 w 127"/>
                  <a:gd name="T1" fmla="*/ 91 h 123"/>
                  <a:gd name="T2" fmla="*/ 0 w 127"/>
                  <a:gd name="T3" fmla="*/ 0 h 123"/>
                  <a:gd name="T4" fmla="*/ 35 w 127"/>
                  <a:gd name="T5" fmla="*/ 7 h 123"/>
                  <a:gd name="T6" fmla="*/ 57 w 127"/>
                  <a:gd name="T7" fmla="*/ 31 h 123"/>
                  <a:gd name="T8" fmla="*/ 57 w 127"/>
                  <a:gd name="T9" fmla="*/ 39 h 123"/>
                  <a:gd name="T10" fmla="*/ 90 w 127"/>
                  <a:gd name="T11" fmla="*/ 61 h 123"/>
                  <a:gd name="T12" fmla="*/ 78 w 127"/>
                  <a:gd name="T13" fmla="*/ 69 h 123"/>
                  <a:gd name="T14" fmla="*/ 83 w 127"/>
                  <a:gd name="T15" fmla="*/ 69 h 123"/>
                  <a:gd name="T16" fmla="*/ 90 w 127"/>
                  <a:gd name="T17" fmla="*/ 76 h 123"/>
                  <a:gd name="T18" fmla="*/ 98 w 127"/>
                  <a:gd name="T19" fmla="*/ 91 h 123"/>
                  <a:gd name="T20" fmla="*/ 105 w 127"/>
                  <a:gd name="T21" fmla="*/ 91 h 123"/>
                  <a:gd name="T22" fmla="*/ 105 w 127"/>
                  <a:gd name="T23" fmla="*/ 106 h 123"/>
                  <a:gd name="T24" fmla="*/ 127 w 127"/>
                  <a:gd name="T25" fmla="*/ 115 h 123"/>
                  <a:gd name="T26" fmla="*/ 127 w 127"/>
                  <a:gd name="T27" fmla="*/ 123 h 123"/>
                  <a:gd name="T28" fmla="*/ 83 w 127"/>
                  <a:gd name="T29" fmla="*/ 115 h 123"/>
                  <a:gd name="T30" fmla="*/ 63 w 127"/>
                  <a:gd name="T31" fmla="*/ 76 h 123"/>
                  <a:gd name="T32" fmla="*/ 43 w 127"/>
                  <a:gd name="T33" fmla="*/ 76 h 123"/>
                  <a:gd name="T34" fmla="*/ 21 w 127"/>
                  <a:gd name="T35" fmla="*/ 84 h 123"/>
                  <a:gd name="T36" fmla="*/ 35 w 127"/>
                  <a:gd name="T37" fmla="*/ 91 h 123"/>
                  <a:gd name="T38" fmla="*/ 0 w 127"/>
                  <a:gd name="T39" fmla="*/ 91 h 123"/>
                  <a:gd name="T40" fmla="*/ 0 w 127"/>
                  <a:gd name="T41" fmla="*/ 91 h 123"/>
                  <a:gd name="T42" fmla="*/ 0 w 127"/>
                  <a:gd name="T43" fmla="*/ 91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27" h="123">
                    <a:moveTo>
                      <a:pt x="0" y="91"/>
                    </a:moveTo>
                    <a:lnTo>
                      <a:pt x="0" y="0"/>
                    </a:lnTo>
                    <a:lnTo>
                      <a:pt x="35" y="7"/>
                    </a:lnTo>
                    <a:lnTo>
                      <a:pt x="57" y="31"/>
                    </a:lnTo>
                    <a:lnTo>
                      <a:pt x="57" y="39"/>
                    </a:lnTo>
                    <a:lnTo>
                      <a:pt x="90" y="61"/>
                    </a:lnTo>
                    <a:lnTo>
                      <a:pt x="78" y="69"/>
                    </a:lnTo>
                    <a:lnTo>
                      <a:pt x="83" y="69"/>
                    </a:lnTo>
                    <a:lnTo>
                      <a:pt x="90" y="76"/>
                    </a:lnTo>
                    <a:lnTo>
                      <a:pt x="98" y="91"/>
                    </a:lnTo>
                    <a:lnTo>
                      <a:pt x="105" y="91"/>
                    </a:lnTo>
                    <a:lnTo>
                      <a:pt x="105" y="106"/>
                    </a:lnTo>
                    <a:lnTo>
                      <a:pt x="127" y="115"/>
                    </a:lnTo>
                    <a:lnTo>
                      <a:pt x="127" y="123"/>
                    </a:lnTo>
                    <a:lnTo>
                      <a:pt x="83" y="115"/>
                    </a:lnTo>
                    <a:lnTo>
                      <a:pt x="63" y="76"/>
                    </a:lnTo>
                    <a:lnTo>
                      <a:pt x="43" y="76"/>
                    </a:lnTo>
                    <a:lnTo>
                      <a:pt x="21" y="84"/>
                    </a:lnTo>
                    <a:lnTo>
                      <a:pt x="35" y="91"/>
                    </a:lnTo>
                    <a:lnTo>
                      <a:pt x="0" y="91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92" name="Freeform 228"/>
              <p:cNvSpPr>
                <a:spLocks/>
              </p:cNvSpPr>
              <p:nvPr/>
            </p:nvSpPr>
            <p:spPr bwMode="auto">
              <a:xfrm>
                <a:off x="6616700" y="4970463"/>
                <a:ext cx="42863" cy="47625"/>
              </a:xfrm>
              <a:custGeom>
                <a:avLst/>
                <a:gdLst>
                  <a:gd name="T0" fmla="*/ 0 w 23"/>
                  <a:gd name="T1" fmla="*/ 15 h 27"/>
                  <a:gd name="T2" fmla="*/ 23 w 23"/>
                  <a:gd name="T3" fmla="*/ 27 h 27"/>
                  <a:gd name="T4" fmla="*/ 0 w 23"/>
                  <a:gd name="T5" fmla="*/ 0 h 27"/>
                  <a:gd name="T6" fmla="*/ 0 w 23"/>
                  <a:gd name="T7" fmla="*/ 15 h 27"/>
                  <a:gd name="T8" fmla="*/ 0 w 23"/>
                  <a:gd name="T9" fmla="*/ 15 h 27"/>
                  <a:gd name="T10" fmla="*/ 0 w 23"/>
                  <a:gd name="T11" fmla="*/ 15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3" h="27">
                    <a:moveTo>
                      <a:pt x="0" y="15"/>
                    </a:moveTo>
                    <a:lnTo>
                      <a:pt x="23" y="27"/>
                    </a:lnTo>
                    <a:lnTo>
                      <a:pt x="0" y="0"/>
                    </a:lnTo>
                    <a:lnTo>
                      <a:pt x="0" y="15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93" name="Freeform 229"/>
              <p:cNvSpPr>
                <a:spLocks/>
              </p:cNvSpPr>
              <p:nvPr/>
            </p:nvSpPr>
            <p:spPr bwMode="auto">
              <a:xfrm>
                <a:off x="6656388" y="5037138"/>
                <a:ext cx="41275" cy="46037"/>
              </a:xfrm>
              <a:custGeom>
                <a:avLst/>
                <a:gdLst>
                  <a:gd name="T0" fmla="*/ 0 w 24"/>
                  <a:gd name="T1" fmla="*/ 0 h 26"/>
                  <a:gd name="T2" fmla="*/ 24 w 24"/>
                  <a:gd name="T3" fmla="*/ 26 h 26"/>
                  <a:gd name="T4" fmla="*/ 24 w 24"/>
                  <a:gd name="T5" fmla="*/ 0 h 26"/>
                  <a:gd name="T6" fmla="*/ 0 w 24"/>
                  <a:gd name="T7" fmla="*/ 0 h 26"/>
                  <a:gd name="T8" fmla="*/ 0 w 24"/>
                  <a:gd name="T9" fmla="*/ 0 h 26"/>
                  <a:gd name="T10" fmla="*/ 0 w 24"/>
                  <a:gd name="T11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" h="26">
                    <a:moveTo>
                      <a:pt x="0" y="0"/>
                    </a:moveTo>
                    <a:lnTo>
                      <a:pt x="24" y="26"/>
                    </a:lnTo>
                    <a:lnTo>
                      <a:pt x="24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94" name="Freeform 230"/>
              <p:cNvSpPr>
                <a:spLocks/>
              </p:cNvSpPr>
              <p:nvPr/>
            </p:nvSpPr>
            <p:spPr bwMode="auto">
              <a:xfrm>
                <a:off x="6891338" y="4500563"/>
                <a:ext cx="63500" cy="44450"/>
              </a:xfrm>
              <a:custGeom>
                <a:avLst/>
                <a:gdLst>
                  <a:gd name="T0" fmla="*/ 0 w 37"/>
                  <a:gd name="T1" fmla="*/ 5 h 25"/>
                  <a:gd name="T2" fmla="*/ 0 w 37"/>
                  <a:gd name="T3" fmla="*/ 22 h 25"/>
                  <a:gd name="T4" fmla="*/ 15 w 37"/>
                  <a:gd name="T5" fmla="*/ 25 h 25"/>
                  <a:gd name="T6" fmla="*/ 20 w 37"/>
                  <a:gd name="T7" fmla="*/ 22 h 25"/>
                  <a:gd name="T8" fmla="*/ 37 w 37"/>
                  <a:gd name="T9" fmla="*/ 0 h 25"/>
                  <a:gd name="T10" fmla="*/ 9 w 37"/>
                  <a:gd name="T11" fmla="*/ 0 h 25"/>
                  <a:gd name="T12" fmla="*/ 0 w 37"/>
                  <a:gd name="T13" fmla="*/ 5 h 25"/>
                  <a:gd name="T14" fmla="*/ 0 w 37"/>
                  <a:gd name="T15" fmla="*/ 5 h 25"/>
                  <a:gd name="T16" fmla="*/ 0 w 37"/>
                  <a:gd name="T17" fmla="*/ 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7" h="25">
                    <a:moveTo>
                      <a:pt x="0" y="5"/>
                    </a:moveTo>
                    <a:lnTo>
                      <a:pt x="0" y="22"/>
                    </a:lnTo>
                    <a:lnTo>
                      <a:pt x="15" y="25"/>
                    </a:lnTo>
                    <a:lnTo>
                      <a:pt x="20" y="22"/>
                    </a:lnTo>
                    <a:lnTo>
                      <a:pt x="37" y="0"/>
                    </a:lnTo>
                    <a:lnTo>
                      <a:pt x="9" y="0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95" name="Freeform 231"/>
              <p:cNvSpPr>
                <a:spLocks/>
              </p:cNvSpPr>
              <p:nvPr/>
            </p:nvSpPr>
            <p:spPr bwMode="auto">
              <a:xfrm>
                <a:off x="7005638" y="5292725"/>
                <a:ext cx="955675" cy="796925"/>
              </a:xfrm>
              <a:custGeom>
                <a:avLst/>
                <a:gdLst>
                  <a:gd name="T0" fmla="*/ 47 w 544"/>
                  <a:gd name="T1" fmla="*/ 388 h 455"/>
                  <a:gd name="T2" fmla="*/ 90 w 544"/>
                  <a:gd name="T3" fmla="*/ 358 h 455"/>
                  <a:gd name="T4" fmla="*/ 147 w 544"/>
                  <a:gd name="T5" fmla="*/ 349 h 455"/>
                  <a:gd name="T6" fmla="*/ 246 w 544"/>
                  <a:gd name="T7" fmla="*/ 319 h 455"/>
                  <a:gd name="T8" fmla="*/ 281 w 544"/>
                  <a:gd name="T9" fmla="*/ 349 h 455"/>
                  <a:gd name="T10" fmla="*/ 303 w 544"/>
                  <a:gd name="T11" fmla="*/ 388 h 455"/>
                  <a:gd name="T12" fmla="*/ 331 w 544"/>
                  <a:gd name="T13" fmla="*/ 358 h 455"/>
                  <a:gd name="T14" fmla="*/ 331 w 544"/>
                  <a:gd name="T15" fmla="*/ 388 h 455"/>
                  <a:gd name="T16" fmla="*/ 338 w 544"/>
                  <a:gd name="T17" fmla="*/ 388 h 455"/>
                  <a:gd name="T18" fmla="*/ 346 w 544"/>
                  <a:gd name="T19" fmla="*/ 396 h 455"/>
                  <a:gd name="T20" fmla="*/ 353 w 544"/>
                  <a:gd name="T21" fmla="*/ 425 h 455"/>
                  <a:gd name="T22" fmla="*/ 395 w 544"/>
                  <a:gd name="T23" fmla="*/ 440 h 455"/>
                  <a:gd name="T24" fmla="*/ 424 w 544"/>
                  <a:gd name="T25" fmla="*/ 433 h 455"/>
                  <a:gd name="T26" fmla="*/ 432 w 544"/>
                  <a:gd name="T27" fmla="*/ 440 h 455"/>
                  <a:gd name="T28" fmla="*/ 454 w 544"/>
                  <a:gd name="T29" fmla="*/ 455 h 455"/>
                  <a:gd name="T30" fmla="*/ 496 w 544"/>
                  <a:gd name="T31" fmla="*/ 433 h 455"/>
                  <a:gd name="T32" fmla="*/ 537 w 544"/>
                  <a:gd name="T33" fmla="*/ 312 h 455"/>
                  <a:gd name="T34" fmla="*/ 537 w 544"/>
                  <a:gd name="T35" fmla="*/ 230 h 455"/>
                  <a:gd name="T36" fmla="*/ 511 w 544"/>
                  <a:gd name="T37" fmla="*/ 193 h 455"/>
                  <a:gd name="T38" fmla="*/ 496 w 544"/>
                  <a:gd name="T39" fmla="*/ 180 h 455"/>
                  <a:gd name="T40" fmla="*/ 432 w 544"/>
                  <a:gd name="T41" fmla="*/ 82 h 455"/>
                  <a:gd name="T42" fmla="*/ 424 w 544"/>
                  <a:gd name="T43" fmla="*/ 59 h 455"/>
                  <a:gd name="T44" fmla="*/ 395 w 544"/>
                  <a:gd name="T45" fmla="*/ 0 h 455"/>
                  <a:gd name="T46" fmla="*/ 380 w 544"/>
                  <a:gd name="T47" fmla="*/ 22 h 455"/>
                  <a:gd name="T48" fmla="*/ 353 w 544"/>
                  <a:gd name="T49" fmla="*/ 104 h 455"/>
                  <a:gd name="T50" fmla="*/ 311 w 544"/>
                  <a:gd name="T51" fmla="*/ 74 h 455"/>
                  <a:gd name="T52" fmla="*/ 296 w 544"/>
                  <a:gd name="T53" fmla="*/ 67 h 455"/>
                  <a:gd name="T54" fmla="*/ 311 w 544"/>
                  <a:gd name="T55" fmla="*/ 37 h 455"/>
                  <a:gd name="T56" fmla="*/ 311 w 544"/>
                  <a:gd name="T57" fmla="*/ 22 h 455"/>
                  <a:gd name="T58" fmla="*/ 303 w 544"/>
                  <a:gd name="T59" fmla="*/ 22 h 455"/>
                  <a:gd name="T60" fmla="*/ 253 w 544"/>
                  <a:gd name="T61" fmla="*/ 5 h 455"/>
                  <a:gd name="T62" fmla="*/ 239 w 544"/>
                  <a:gd name="T63" fmla="*/ 22 h 455"/>
                  <a:gd name="T64" fmla="*/ 226 w 544"/>
                  <a:gd name="T65" fmla="*/ 37 h 455"/>
                  <a:gd name="T66" fmla="*/ 217 w 544"/>
                  <a:gd name="T67" fmla="*/ 67 h 455"/>
                  <a:gd name="T68" fmla="*/ 206 w 544"/>
                  <a:gd name="T69" fmla="*/ 67 h 455"/>
                  <a:gd name="T70" fmla="*/ 196 w 544"/>
                  <a:gd name="T71" fmla="*/ 43 h 455"/>
                  <a:gd name="T72" fmla="*/ 169 w 544"/>
                  <a:gd name="T73" fmla="*/ 59 h 455"/>
                  <a:gd name="T74" fmla="*/ 154 w 544"/>
                  <a:gd name="T75" fmla="*/ 82 h 455"/>
                  <a:gd name="T76" fmla="*/ 147 w 544"/>
                  <a:gd name="T77" fmla="*/ 87 h 455"/>
                  <a:gd name="T78" fmla="*/ 132 w 544"/>
                  <a:gd name="T79" fmla="*/ 82 h 455"/>
                  <a:gd name="T80" fmla="*/ 125 w 544"/>
                  <a:gd name="T81" fmla="*/ 112 h 455"/>
                  <a:gd name="T82" fmla="*/ 40 w 544"/>
                  <a:gd name="T83" fmla="*/ 151 h 455"/>
                  <a:gd name="T84" fmla="*/ 5 w 544"/>
                  <a:gd name="T85" fmla="*/ 163 h 455"/>
                  <a:gd name="T86" fmla="*/ 0 w 544"/>
                  <a:gd name="T87" fmla="*/ 193 h 455"/>
                  <a:gd name="T88" fmla="*/ 5 w 544"/>
                  <a:gd name="T89" fmla="*/ 223 h 455"/>
                  <a:gd name="T90" fmla="*/ 0 w 544"/>
                  <a:gd name="T91" fmla="*/ 230 h 455"/>
                  <a:gd name="T92" fmla="*/ 33 w 544"/>
                  <a:gd name="T93" fmla="*/ 349 h 455"/>
                  <a:gd name="T94" fmla="*/ 25 w 544"/>
                  <a:gd name="T95" fmla="*/ 364 h 455"/>
                  <a:gd name="T96" fmla="*/ 25 w 544"/>
                  <a:gd name="T97" fmla="*/ 364 h 4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44" h="455">
                    <a:moveTo>
                      <a:pt x="25" y="364"/>
                    </a:moveTo>
                    <a:lnTo>
                      <a:pt x="47" y="388"/>
                    </a:lnTo>
                    <a:lnTo>
                      <a:pt x="68" y="388"/>
                    </a:lnTo>
                    <a:lnTo>
                      <a:pt x="90" y="358"/>
                    </a:lnTo>
                    <a:lnTo>
                      <a:pt x="132" y="358"/>
                    </a:lnTo>
                    <a:lnTo>
                      <a:pt x="147" y="349"/>
                    </a:lnTo>
                    <a:lnTo>
                      <a:pt x="176" y="326"/>
                    </a:lnTo>
                    <a:lnTo>
                      <a:pt x="246" y="319"/>
                    </a:lnTo>
                    <a:lnTo>
                      <a:pt x="281" y="334"/>
                    </a:lnTo>
                    <a:lnTo>
                      <a:pt x="281" y="349"/>
                    </a:lnTo>
                    <a:lnTo>
                      <a:pt x="288" y="349"/>
                    </a:lnTo>
                    <a:lnTo>
                      <a:pt x="303" y="388"/>
                    </a:lnTo>
                    <a:lnTo>
                      <a:pt x="331" y="334"/>
                    </a:lnTo>
                    <a:lnTo>
                      <a:pt x="331" y="358"/>
                    </a:lnTo>
                    <a:lnTo>
                      <a:pt x="323" y="388"/>
                    </a:lnTo>
                    <a:lnTo>
                      <a:pt x="331" y="388"/>
                    </a:lnTo>
                    <a:lnTo>
                      <a:pt x="331" y="364"/>
                    </a:lnTo>
                    <a:lnTo>
                      <a:pt x="338" y="388"/>
                    </a:lnTo>
                    <a:lnTo>
                      <a:pt x="331" y="396"/>
                    </a:lnTo>
                    <a:lnTo>
                      <a:pt x="346" y="396"/>
                    </a:lnTo>
                    <a:lnTo>
                      <a:pt x="353" y="410"/>
                    </a:lnTo>
                    <a:lnTo>
                      <a:pt x="353" y="425"/>
                    </a:lnTo>
                    <a:lnTo>
                      <a:pt x="380" y="440"/>
                    </a:lnTo>
                    <a:lnTo>
                      <a:pt x="395" y="440"/>
                    </a:lnTo>
                    <a:lnTo>
                      <a:pt x="408" y="447"/>
                    </a:lnTo>
                    <a:lnTo>
                      <a:pt x="424" y="433"/>
                    </a:lnTo>
                    <a:lnTo>
                      <a:pt x="424" y="440"/>
                    </a:lnTo>
                    <a:lnTo>
                      <a:pt x="432" y="440"/>
                    </a:lnTo>
                    <a:lnTo>
                      <a:pt x="432" y="447"/>
                    </a:lnTo>
                    <a:lnTo>
                      <a:pt x="454" y="455"/>
                    </a:lnTo>
                    <a:lnTo>
                      <a:pt x="465" y="433"/>
                    </a:lnTo>
                    <a:lnTo>
                      <a:pt x="496" y="433"/>
                    </a:lnTo>
                    <a:lnTo>
                      <a:pt x="502" y="396"/>
                    </a:lnTo>
                    <a:lnTo>
                      <a:pt x="537" y="312"/>
                    </a:lnTo>
                    <a:lnTo>
                      <a:pt x="544" y="275"/>
                    </a:lnTo>
                    <a:lnTo>
                      <a:pt x="537" y="230"/>
                    </a:lnTo>
                    <a:lnTo>
                      <a:pt x="519" y="200"/>
                    </a:lnTo>
                    <a:lnTo>
                      <a:pt x="511" y="193"/>
                    </a:lnTo>
                    <a:lnTo>
                      <a:pt x="496" y="163"/>
                    </a:lnTo>
                    <a:lnTo>
                      <a:pt x="496" y="180"/>
                    </a:lnTo>
                    <a:lnTo>
                      <a:pt x="439" y="87"/>
                    </a:lnTo>
                    <a:lnTo>
                      <a:pt x="432" y="82"/>
                    </a:lnTo>
                    <a:lnTo>
                      <a:pt x="432" y="67"/>
                    </a:lnTo>
                    <a:lnTo>
                      <a:pt x="424" y="59"/>
                    </a:lnTo>
                    <a:lnTo>
                      <a:pt x="408" y="59"/>
                    </a:lnTo>
                    <a:lnTo>
                      <a:pt x="395" y="0"/>
                    </a:lnTo>
                    <a:lnTo>
                      <a:pt x="390" y="0"/>
                    </a:lnTo>
                    <a:lnTo>
                      <a:pt x="380" y="22"/>
                    </a:lnTo>
                    <a:lnTo>
                      <a:pt x="373" y="104"/>
                    </a:lnTo>
                    <a:lnTo>
                      <a:pt x="353" y="104"/>
                    </a:lnTo>
                    <a:lnTo>
                      <a:pt x="323" y="74"/>
                    </a:lnTo>
                    <a:lnTo>
                      <a:pt x="311" y="74"/>
                    </a:lnTo>
                    <a:lnTo>
                      <a:pt x="311" y="67"/>
                    </a:lnTo>
                    <a:lnTo>
                      <a:pt x="296" y="67"/>
                    </a:lnTo>
                    <a:lnTo>
                      <a:pt x="303" y="37"/>
                    </a:lnTo>
                    <a:lnTo>
                      <a:pt x="311" y="37"/>
                    </a:lnTo>
                    <a:lnTo>
                      <a:pt x="323" y="22"/>
                    </a:lnTo>
                    <a:lnTo>
                      <a:pt x="311" y="22"/>
                    </a:lnTo>
                    <a:lnTo>
                      <a:pt x="303" y="28"/>
                    </a:lnTo>
                    <a:lnTo>
                      <a:pt x="303" y="22"/>
                    </a:lnTo>
                    <a:lnTo>
                      <a:pt x="296" y="22"/>
                    </a:lnTo>
                    <a:lnTo>
                      <a:pt x="253" y="5"/>
                    </a:lnTo>
                    <a:lnTo>
                      <a:pt x="259" y="22"/>
                    </a:lnTo>
                    <a:lnTo>
                      <a:pt x="239" y="22"/>
                    </a:lnTo>
                    <a:lnTo>
                      <a:pt x="226" y="28"/>
                    </a:lnTo>
                    <a:lnTo>
                      <a:pt x="226" y="37"/>
                    </a:lnTo>
                    <a:lnTo>
                      <a:pt x="217" y="37"/>
                    </a:lnTo>
                    <a:lnTo>
                      <a:pt x="217" y="67"/>
                    </a:lnTo>
                    <a:lnTo>
                      <a:pt x="206" y="59"/>
                    </a:lnTo>
                    <a:lnTo>
                      <a:pt x="206" y="67"/>
                    </a:lnTo>
                    <a:lnTo>
                      <a:pt x="206" y="59"/>
                    </a:lnTo>
                    <a:lnTo>
                      <a:pt x="196" y="43"/>
                    </a:lnTo>
                    <a:lnTo>
                      <a:pt x="189" y="43"/>
                    </a:lnTo>
                    <a:lnTo>
                      <a:pt x="169" y="59"/>
                    </a:lnTo>
                    <a:lnTo>
                      <a:pt x="162" y="59"/>
                    </a:lnTo>
                    <a:lnTo>
                      <a:pt x="154" y="82"/>
                    </a:lnTo>
                    <a:lnTo>
                      <a:pt x="132" y="82"/>
                    </a:lnTo>
                    <a:lnTo>
                      <a:pt x="147" y="87"/>
                    </a:lnTo>
                    <a:lnTo>
                      <a:pt x="132" y="104"/>
                    </a:lnTo>
                    <a:lnTo>
                      <a:pt x="132" y="82"/>
                    </a:lnTo>
                    <a:lnTo>
                      <a:pt x="119" y="104"/>
                    </a:lnTo>
                    <a:lnTo>
                      <a:pt x="125" y="112"/>
                    </a:lnTo>
                    <a:lnTo>
                      <a:pt x="104" y="127"/>
                    </a:lnTo>
                    <a:lnTo>
                      <a:pt x="40" y="151"/>
                    </a:lnTo>
                    <a:lnTo>
                      <a:pt x="20" y="180"/>
                    </a:lnTo>
                    <a:lnTo>
                      <a:pt x="5" y="163"/>
                    </a:lnTo>
                    <a:lnTo>
                      <a:pt x="5" y="193"/>
                    </a:lnTo>
                    <a:lnTo>
                      <a:pt x="0" y="193"/>
                    </a:lnTo>
                    <a:lnTo>
                      <a:pt x="20" y="237"/>
                    </a:lnTo>
                    <a:lnTo>
                      <a:pt x="5" y="223"/>
                    </a:lnTo>
                    <a:lnTo>
                      <a:pt x="5" y="237"/>
                    </a:lnTo>
                    <a:lnTo>
                      <a:pt x="0" y="230"/>
                    </a:lnTo>
                    <a:lnTo>
                      <a:pt x="25" y="280"/>
                    </a:lnTo>
                    <a:lnTo>
                      <a:pt x="33" y="349"/>
                    </a:lnTo>
                    <a:lnTo>
                      <a:pt x="25" y="358"/>
                    </a:lnTo>
                    <a:lnTo>
                      <a:pt x="25" y="364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96" name="Freeform 232"/>
              <p:cNvSpPr>
                <a:spLocks/>
              </p:cNvSpPr>
              <p:nvPr/>
            </p:nvSpPr>
            <p:spPr bwMode="auto">
              <a:xfrm>
                <a:off x="6570663" y="4864100"/>
                <a:ext cx="254000" cy="292100"/>
              </a:xfrm>
              <a:custGeom>
                <a:avLst/>
                <a:gdLst>
                  <a:gd name="T0" fmla="*/ 0 w 145"/>
                  <a:gd name="T1" fmla="*/ 0 h 167"/>
                  <a:gd name="T2" fmla="*/ 0 w 145"/>
                  <a:gd name="T3" fmla="*/ 7 h 167"/>
                  <a:gd name="T4" fmla="*/ 33 w 145"/>
                  <a:gd name="T5" fmla="*/ 52 h 167"/>
                  <a:gd name="T6" fmla="*/ 47 w 145"/>
                  <a:gd name="T7" fmla="*/ 61 h 167"/>
                  <a:gd name="T8" fmla="*/ 119 w 145"/>
                  <a:gd name="T9" fmla="*/ 167 h 167"/>
                  <a:gd name="T10" fmla="*/ 137 w 145"/>
                  <a:gd name="T11" fmla="*/ 167 h 167"/>
                  <a:gd name="T12" fmla="*/ 145 w 145"/>
                  <a:gd name="T13" fmla="*/ 128 h 167"/>
                  <a:gd name="T14" fmla="*/ 137 w 145"/>
                  <a:gd name="T15" fmla="*/ 116 h 167"/>
                  <a:gd name="T16" fmla="*/ 130 w 145"/>
                  <a:gd name="T17" fmla="*/ 116 h 167"/>
                  <a:gd name="T18" fmla="*/ 119 w 145"/>
                  <a:gd name="T19" fmla="*/ 99 h 167"/>
                  <a:gd name="T20" fmla="*/ 110 w 145"/>
                  <a:gd name="T21" fmla="*/ 99 h 167"/>
                  <a:gd name="T22" fmla="*/ 110 w 145"/>
                  <a:gd name="T23" fmla="*/ 84 h 167"/>
                  <a:gd name="T24" fmla="*/ 104 w 145"/>
                  <a:gd name="T25" fmla="*/ 78 h 167"/>
                  <a:gd name="T26" fmla="*/ 104 w 145"/>
                  <a:gd name="T27" fmla="*/ 69 h 167"/>
                  <a:gd name="T28" fmla="*/ 73 w 145"/>
                  <a:gd name="T29" fmla="*/ 52 h 167"/>
                  <a:gd name="T30" fmla="*/ 68 w 145"/>
                  <a:gd name="T31" fmla="*/ 52 h 167"/>
                  <a:gd name="T32" fmla="*/ 27 w 145"/>
                  <a:gd name="T33" fmla="*/ 7 h 167"/>
                  <a:gd name="T34" fmla="*/ 0 w 145"/>
                  <a:gd name="T35" fmla="*/ 0 h 167"/>
                  <a:gd name="T36" fmla="*/ 0 w 145"/>
                  <a:gd name="T37" fmla="*/ 0 h 167"/>
                  <a:gd name="T38" fmla="*/ 0 w 145"/>
                  <a:gd name="T39" fmla="*/ 0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45" h="167">
                    <a:moveTo>
                      <a:pt x="0" y="0"/>
                    </a:moveTo>
                    <a:lnTo>
                      <a:pt x="0" y="7"/>
                    </a:lnTo>
                    <a:lnTo>
                      <a:pt x="33" y="52"/>
                    </a:lnTo>
                    <a:lnTo>
                      <a:pt x="47" y="61"/>
                    </a:lnTo>
                    <a:lnTo>
                      <a:pt x="119" y="167"/>
                    </a:lnTo>
                    <a:lnTo>
                      <a:pt x="137" y="167"/>
                    </a:lnTo>
                    <a:lnTo>
                      <a:pt x="145" y="128"/>
                    </a:lnTo>
                    <a:lnTo>
                      <a:pt x="137" y="116"/>
                    </a:lnTo>
                    <a:lnTo>
                      <a:pt x="130" y="116"/>
                    </a:lnTo>
                    <a:lnTo>
                      <a:pt x="119" y="99"/>
                    </a:lnTo>
                    <a:lnTo>
                      <a:pt x="110" y="99"/>
                    </a:lnTo>
                    <a:lnTo>
                      <a:pt x="110" y="84"/>
                    </a:lnTo>
                    <a:lnTo>
                      <a:pt x="104" y="78"/>
                    </a:lnTo>
                    <a:lnTo>
                      <a:pt x="104" y="69"/>
                    </a:lnTo>
                    <a:lnTo>
                      <a:pt x="73" y="52"/>
                    </a:lnTo>
                    <a:lnTo>
                      <a:pt x="68" y="52"/>
                    </a:lnTo>
                    <a:lnTo>
                      <a:pt x="27" y="7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97" name="Freeform 233"/>
              <p:cNvSpPr>
                <a:spLocks/>
              </p:cNvSpPr>
              <p:nvPr/>
            </p:nvSpPr>
            <p:spPr bwMode="auto">
              <a:xfrm>
                <a:off x="6813550" y="5157788"/>
                <a:ext cx="209550" cy="63500"/>
              </a:xfrm>
              <a:custGeom>
                <a:avLst/>
                <a:gdLst>
                  <a:gd name="T0" fmla="*/ 0 w 119"/>
                  <a:gd name="T1" fmla="*/ 15 h 37"/>
                  <a:gd name="T2" fmla="*/ 37 w 119"/>
                  <a:gd name="T3" fmla="*/ 29 h 37"/>
                  <a:gd name="T4" fmla="*/ 119 w 119"/>
                  <a:gd name="T5" fmla="*/ 37 h 37"/>
                  <a:gd name="T6" fmla="*/ 119 w 119"/>
                  <a:gd name="T7" fmla="*/ 29 h 37"/>
                  <a:gd name="T8" fmla="*/ 99 w 119"/>
                  <a:gd name="T9" fmla="*/ 29 h 37"/>
                  <a:gd name="T10" fmla="*/ 94 w 119"/>
                  <a:gd name="T11" fmla="*/ 22 h 37"/>
                  <a:gd name="T12" fmla="*/ 62 w 119"/>
                  <a:gd name="T13" fmla="*/ 15 h 37"/>
                  <a:gd name="T14" fmla="*/ 62 w 119"/>
                  <a:gd name="T15" fmla="*/ 22 h 37"/>
                  <a:gd name="T16" fmla="*/ 22 w 119"/>
                  <a:gd name="T17" fmla="*/ 0 h 37"/>
                  <a:gd name="T18" fmla="*/ 8 w 119"/>
                  <a:gd name="T19" fmla="*/ 0 h 37"/>
                  <a:gd name="T20" fmla="*/ 0 w 119"/>
                  <a:gd name="T21" fmla="*/ 15 h 37"/>
                  <a:gd name="T22" fmla="*/ 0 w 119"/>
                  <a:gd name="T23" fmla="*/ 15 h 37"/>
                  <a:gd name="T24" fmla="*/ 0 w 119"/>
                  <a:gd name="T25" fmla="*/ 15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9" h="37">
                    <a:moveTo>
                      <a:pt x="0" y="15"/>
                    </a:moveTo>
                    <a:lnTo>
                      <a:pt x="37" y="29"/>
                    </a:lnTo>
                    <a:lnTo>
                      <a:pt x="119" y="37"/>
                    </a:lnTo>
                    <a:lnTo>
                      <a:pt x="119" y="29"/>
                    </a:lnTo>
                    <a:lnTo>
                      <a:pt x="99" y="29"/>
                    </a:lnTo>
                    <a:lnTo>
                      <a:pt x="94" y="22"/>
                    </a:lnTo>
                    <a:lnTo>
                      <a:pt x="62" y="15"/>
                    </a:lnTo>
                    <a:lnTo>
                      <a:pt x="62" y="22"/>
                    </a:lnTo>
                    <a:lnTo>
                      <a:pt x="22" y="0"/>
                    </a:lnTo>
                    <a:lnTo>
                      <a:pt x="8" y="0"/>
                    </a:lnTo>
                    <a:lnTo>
                      <a:pt x="0" y="15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98" name="Freeform 234"/>
              <p:cNvSpPr>
                <a:spLocks/>
              </p:cNvSpPr>
              <p:nvPr/>
            </p:nvSpPr>
            <p:spPr bwMode="auto">
              <a:xfrm>
                <a:off x="7062788" y="5221288"/>
                <a:ext cx="187325" cy="53975"/>
              </a:xfrm>
              <a:custGeom>
                <a:avLst/>
                <a:gdLst>
                  <a:gd name="T0" fmla="*/ 0 w 106"/>
                  <a:gd name="T1" fmla="*/ 31 h 31"/>
                  <a:gd name="T2" fmla="*/ 5 w 106"/>
                  <a:gd name="T3" fmla="*/ 31 h 31"/>
                  <a:gd name="T4" fmla="*/ 42 w 106"/>
                  <a:gd name="T5" fmla="*/ 0 h 31"/>
                  <a:gd name="T6" fmla="*/ 77 w 106"/>
                  <a:gd name="T7" fmla="*/ 31 h 31"/>
                  <a:gd name="T8" fmla="*/ 106 w 106"/>
                  <a:gd name="T9" fmla="*/ 0 h 31"/>
                  <a:gd name="T10" fmla="*/ 20 w 106"/>
                  <a:gd name="T11" fmla="*/ 0 h 31"/>
                  <a:gd name="T12" fmla="*/ 27 w 106"/>
                  <a:gd name="T13" fmla="*/ 0 h 31"/>
                  <a:gd name="T14" fmla="*/ 0 w 106"/>
                  <a:gd name="T15" fmla="*/ 0 h 31"/>
                  <a:gd name="T16" fmla="*/ 0 w 106"/>
                  <a:gd name="T17" fmla="*/ 31 h 31"/>
                  <a:gd name="T18" fmla="*/ 0 w 106"/>
                  <a:gd name="T19" fmla="*/ 31 h 31"/>
                  <a:gd name="T20" fmla="*/ 0 w 106"/>
                  <a:gd name="T2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6" h="31">
                    <a:moveTo>
                      <a:pt x="0" y="31"/>
                    </a:moveTo>
                    <a:lnTo>
                      <a:pt x="5" y="31"/>
                    </a:lnTo>
                    <a:lnTo>
                      <a:pt x="42" y="0"/>
                    </a:lnTo>
                    <a:lnTo>
                      <a:pt x="77" y="31"/>
                    </a:lnTo>
                    <a:lnTo>
                      <a:pt x="106" y="0"/>
                    </a:lnTo>
                    <a:lnTo>
                      <a:pt x="20" y="0"/>
                    </a:lnTo>
                    <a:lnTo>
                      <a:pt x="27" y="0"/>
                    </a:lnTo>
                    <a:lnTo>
                      <a:pt x="0" y="0"/>
                    </a:lnTo>
                    <a:lnTo>
                      <a:pt x="0" y="31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99" name="Freeform 235"/>
              <p:cNvSpPr>
                <a:spLocks/>
              </p:cNvSpPr>
              <p:nvPr/>
            </p:nvSpPr>
            <p:spPr bwMode="auto">
              <a:xfrm>
                <a:off x="7126288" y="5259388"/>
                <a:ext cx="47625" cy="47625"/>
              </a:xfrm>
              <a:custGeom>
                <a:avLst/>
                <a:gdLst>
                  <a:gd name="T0" fmla="*/ 0 w 27"/>
                  <a:gd name="T1" fmla="*/ 0 h 28"/>
                  <a:gd name="T2" fmla="*/ 14 w 27"/>
                  <a:gd name="T3" fmla="*/ 28 h 28"/>
                  <a:gd name="T4" fmla="*/ 27 w 27"/>
                  <a:gd name="T5" fmla="*/ 28 h 28"/>
                  <a:gd name="T6" fmla="*/ 14 w 27"/>
                  <a:gd name="T7" fmla="*/ 0 h 28"/>
                  <a:gd name="T8" fmla="*/ 0 w 27"/>
                  <a:gd name="T9" fmla="*/ 0 h 28"/>
                  <a:gd name="T10" fmla="*/ 0 w 27"/>
                  <a:gd name="T11" fmla="*/ 0 h 28"/>
                  <a:gd name="T12" fmla="*/ 0 w 27"/>
                  <a:gd name="T13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" h="28">
                    <a:moveTo>
                      <a:pt x="0" y="0"/>
                    </a:moveTo>
                    <a:lnTo>
                      <a:pt x="14" y="28"/>
                    </a:lnTo>
                    <a:lnTo>
                      <a:pt x="27" y="28"/>
                    </a:lnTo>
                    <a:lnTo>
                      <a:pt x="14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00" name="Freeform 236"/>
              <p:cNvSpPr>
                <a:spLocks/>
              </p:cNvSpPr>
              <p:nvPr/>
            </p:nvSpPr>
            <p:spPr bwMode="auto">
              <a:xfrm>
                <a:off x="7229475" y="5221288"/>
                <a:ext cx="95250" cy="53975"/>
              </a:xfrm>
              <a:custGeom>
                <a:avLst/>
                <a:gdLst>
                  <a:gd name="T0" fmla="*/ 0 w 55"/>
                  <a:gd name="T1" fmla="*/ 31 h 31"/>
                  <a:gd name="T2" fmla="*/ 22 w 55"/>
                  <a:gd name="T3" fmla="*/ 31 h 31"/>
                  <a:gd name="T4" fmla="*/ 55 w 55"/>
                  <a:gd name="T5" fmla="*/ 0 h 31"/>
                  <a:gd name="T6" fmla="*/ 30 w 55"/>
                  <a:gd name="T7" fmla="*/ 0 h 31"/>
                  <a:gd name="T8" fmla="*/ 15 w 55"/>
                  <a:gd name="T9" fmla="*/ 22 h 31"/>
                  <a:gd name="T10" fmla="*/ 0 w 55"/>
                  <a:gd name="T11" fmla="*/ 31 h 31"/>
                  <a:gd name="T12" fmla="*/ 0 w 55"/>
                  <a:gd name="T13" fmla="*/ 31 h 31"/>
                  <a:gd name="T14" fmla="*/ 0 w 55"/>
                  <a:gd name="T1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5" h="31">
                    <a:moveTo>
                      <a:pt x="0" y="31"/>
                    </a:moveTo>
                    <a:lnTo>
                      <a:pt x="22" y="31"/>
                    </a:lnTo>
                    <a:lnTo>
                      <a:pt x="55" y="0"/>
                    </a:lnTo>
                    <a:lnTo>
                      <a:pt x="30" y="0"/>
                    </a:lnTo>
                    <a:lnTo>
                      <a:pt x="15" y="22"/>
                    </a:lnTo>
                    <a:lnTo>
                      <a:pt x="0" y="31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01" name="Freeform 237"/>
              <p:cNvSpPr>
                <a:spLocks/>
              </p:cNvSpPr>
              <p:nvPr/>
            </p:nvSpPr>
            <p:spPr bwMode="auto">
              <a:xfrm>
                <a:off x="6813550" y="5049838"/>
                <a:ext cx="44450" cy="46037"/>
              </a:xfrm>
              <a:custGeom>
                <a:avLst/>
                <a:gdLst>
                  <a:gd name="T0" fmla="*/ 0 w 25"/>
                  <a:gd name="T1" fmla="*/ 10 h 27"/>
                  <a:gd name="T2" fmla="*/ 25 w 25"/>
                  <a:gd name="T3" fmla="*/ 27 h 27"/>
                  <a:gd name="T4" fmla="*/ 25 w 25"/>
                  <a:gd name="T5" fmla="*/ 20 h 27"/>
                  <a:gd name="T6" fmla="*/ 13 w 25"/>
                  <a:gd name="T7" fmla="*/ 0 h 27"/>
                  <a:gd name="T8" fmla="*/ 0 w 25"/>
                  <a:gd name="T9" fmla="*/ 10 h 27"/>
                  <a:gd name="T10" fmla="*/ 0 w 25"/>
                  <a:gd name="T11" fmla="*/ 10 h 27"/>
                  <a:gd name="T12" fmla="*/ 0 w 25"/>
                  <a:gd name="T13" fmla="*/ 1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" h="27">
                    <a:moveTo>
                      <a:pt x="0" y="10"/>
                    </a:moveTo>
                    <a:lnTo>
                      <a:pt x="25" y="27"/>
                    </a:lnTo>
                    <a:lnTo>
                      <a:pt x="25" y="20"/>
                    </a:lnTo>
                    <a:lnTo>
                      <a:pt x="13" y="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02" name="Freeform 238"/>
              <p:cNvSpPr>
                <a:spLocks/>
              </p:cNvSpPr>
              <p:nvPr/>
            </p:nvSpPr>
            <p:spPr bwMode="auto">
              <a:xfrm>
                <a:off x="6862763" y="5110163"/>
                <a:ext cx="28575" cy="30162"/>
              </a:xfrm>
              <a:custGeom>
                <a:avLst/>
                <a:gdLst>
                  <a:gd name="T0" fmla="*/ 0 w 15"/>
                  <a:gd name="T1" fmla="*/ 0 h 17"/>
                  <a:gd name="T2" fmla="*/ 0 w 15"/>
                  <a:gd name="T3" fmla="*/ 17 h 17"/>
                  <a:gd name="T4" fmla="*/ 15 w 15"/>
                  <a:gd name="T5" fmla="*/ 17 h 17"/>
                  <a:gd name="T6" fmla="*/ 15 w 15"/>
                  <a:gd name="T7" fmla="*/ 0 h 17"/>
                  <a:gd name="T8" fmla="*/ 0 w 15"/>
                  <a:gd name="T9" fmla="*/ 0 h 17"/>
                  <a:gd name="T10" fmla="*/ 0 w 15"/>
                  <a:gd name="T11" fmla="*/ 0 h 17"/>
                  <a:gd name="T12" fmla="*/ 0 w 15"/>
                  <a:gd name="T13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" h="17">
                    <a:moveTo>
                      <a:pt x="0" y="0"/>
                    </a:moveTo>
                    <a:lnTo>
                      <a:pt x="0" y="17"/>
                    </a:lnTo>
                    <a:lnTo>
                      <a:pt x="15" y="17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03" name="Freeform 239"/>
              <p:cNvSpPr>
                <a:spLocks/>
              </p:cNvSpPr>
              <p:nvPr/>
            </p:nvSpPr>
            <p:spPr bwMode="auto">
              <a:xfrm>
                <a:off x="6861175" y="5092700"/>
                <a:ext cx="28575" cy="25400"/>
              </a:xfrm>
              <a:custGeom>
                <a:avLst/>
                <a:gdLst>
                  <a:gd name="T0" fmla="*/ 0 w 15"/>
                  <a:gd name="T1" fmla="*/ 0 h 14"/>
                  <a:gd name="T2" fmla="*/ 0 w 15"/>
                  <a:gd name="T3" fmla="*/ 14 h 14"/>
                  <a:gd name="T4" fmla="*/ 15 w 15"/>
                  <a:gd name="T5" fmla="*/ 14 h 14"/>
                  <a:gd name="T6" fmla="*/ 15 w 15"/>
                  <a:gd name="T7" fmla="*/ 0 h 14"/>
                  <a:gd name="T8" fmla="*/ 0 w 15"/>
                  <a:gd name="T9" fmla="*/ 0 h 14"/>
                  <a:gd name="T10" fmla="*/ 0 w 15"/>
                  <a:gd name="T11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14">
                    <a:moveTo>
                      <a:pt x="0" y="0"/>
                    </a:moveTo>
                    <a:lnTo>
                      <a:pt x="0" y="14"/>
                    </a:lnTo>
                    <a:lnTo>
                      <a:pt x="15" y="14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04" name="Freeform 240"/>
              <p:cNvSpPr>
                <a:spLocks/>
              </p:cNvSpPr>
              <p:nvPr/>
            </p:nvSpPr>
            <p:spPr bwMode="auto">
              <a:xfrm>
                <a:off x="7126288" y="4970463"/>
                <a:ext cx="149225" cy="187325"/>
              </a:xfrm>
              <a:custGeom>
                <a:avLst/>
                <a:gdLst>
                  <a:gd name="T0" fmla="*/ 0 w 86"/>
                  <a:gd name="T1" fmla="*/ 62 h 107"/>
                  <a:gd name="T2" fmla="*/ 0 w 86"/>
                  <a:gd name="T3" fmla="*/ 69 h 107"/>
                  <a:gd name="T4" fmla="*/ 7 w 86"/>
                  <a:gd name="T5" fmla="*/ 69 h 107"/>
                  <a:gd name="T6" fmla="*/ 7 w 86"/>
                  <a:gd name="T7" fmla="*/ 107 h 107"/>
                  <a:gd name="T8" fmla="*/ 14 w 86"/>
                  <a:gd name="T9" fmla="*/ 101 h 107"/>
                  <a:gd name="T10" fmla="*/ 14 w 86"/>
                  <a:gd name="T11" fmla="*/ 69 h 107"/>
                  <a:gd name="T12" fmla="*/ 27 w 86"/>
                  <a:gd name="T13" fmla="*/ 62 h 107"/>
                  <a:gd name="T14" fmla="*/ 34 w 86"/>
                  <a:gd name="T15" fmla="*/ 62 h 107"/>
                  <a:gd name="T16" fmla="*/ 27 w 86"/>
                  <a:gd name="T17" fmla="*/ 69 h 107"/>
                  <a:gd name="T18" fmla="*/ 34 w 86"/>
                  <a:gd name="T19" fmla="*/ 86 h 107"/>
                  <a:gd name="T20" fmla="*/ 34 w 86"/>
                  <a:gd name="T21" fmla="*/ 92 h 107"/>
                  <a:gd name="T22" fmla="*/ 49 w 86"/>
                  <a:gd name="T23" fmla="*/ 92 h 107"/>
                  <a:gd name="T24" fmla="*/ 49 w 86"/>
                  <a:gd name="T25" fmla="*/ 107 h 107"/>
                  <a:gd name="T26" fmla="*/ 56 w 86"/>
                  <a:gd name="T27" fmla="*/ 101 h 107"/>
                  <a:gd name="T28" fmla="*/ 56 w 86"/>
                  <a:gd name="T29" fmla="*/ 92 h 107"/>
                  <a:gd name="T30" fmla="*/ 42 w 86"/>
                  <a:gd name="T31" fmla="*/ 69 h 107"/>
                  <a:gd name="T32" fmla="*/ 49 w 86"/>
                  <a:gd name="T33" fmla="*/ 69 h 107"/>
                  <a:gd name="T34" fmla="*/ 34 w 86"/>
                  <a:gd name="T35" fmla="*/ 55 h 107"/>
                  <a:gd name="T36" fmla="*/ 49 w 86"/>
                  <a:gd name="T37" fmla="*/ 38 h 107"/>
                  <a:gd name="T38" fmla="*/ 56 w 86"/>
                  <a:gd name="T39" fmla="*/ 38 h 107"/>
                  <a:gd name="T40" fmla="*/ 27 w 86"/>
                  <a:gd name="T41" fmla="*/ 47 h 107"/>
                  <a:gd name="T42" fmla="*/ 14 w 86"/>
                  <a:gd name="T43" fmla="*/ 38 h 107"/>
                  <a:gd name="T44" fmla="*/ 14 w 86"/>
                  <a:gd name="T45" fmla="*/ 25 h 107"/>
                  <a:gd name="T46" fmla="*/ 27 w 86"/>
                  <a:gd name="T47" fmla="*/ 15 h 107"/>
                  <a:gd name="T48" fmla="*/ 77 w 86"/>
                  <a:gd name="T49" fmla="*/ 15 h 107"/>
                  <a:gd name="T50" fmla="*/ 86 w 86"/>
                  <a:gd name="T51" fmla="*/ 0 h 107"/>
                  <a:gd name="T52" fmla="*/ 49 w 86"/>
                  <a:gd name="T53" fmla="*/ 15 h 107"/>
                  <a:gd name="T54" fmla="*/ 27 w 86"/>
                  <a:gd name="T55" fmla="*/ 8 h 107"/>
                  <a:gd name="T56" fmla="*/ 27 w 86"/>
                  <a:gd name="T57" fmla="*/ 15 h 107"/>
                  <a:gd name="T58" fmla="*/ 14 w 86"/>
                  <a:gd name="T59" fmla="*/ 15 h 107"/>
                  <a:gd name="T60" fmla="*/ 14 w 86"/>
                  <a:gd name="T61" fmla="*/ 38 h 107"/>
                  <a:gd name="T62" fmla="*/ 0 w 86"/>
                  <a:gd name="T63" fmla="*/ 62 h 107"/>
                  <a:gd name="T64" fmla="*/ 0 w 86"/>
                  <a:gd name="T65" fmla="*/ 62 h 107"/>
                  <a:gd name="T66" fmla="*/ 0 w 86"/>
                  <a:gd name="T67" fmla="*/ 62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6" h="107">
                    <a:moveTo>
                      <a:pt x="0" y="62"/>
                    </a:moveTo>
                    <a:lnTo>
                      <a:pt x="0" y="69"/>
                    </a:lnTo>
                    <a:lnTo>
                      <a:pt x="7" y="69"/>
                    </a:lnTo>
                    <a:lnTo>
                      <a:pt x="7" y="107"/>
                    </a:lnTo>
                    <a:lnTo>
                      <a:pt x="14" y="101"/>
                    </a:lnTo>
                    <a:lnTo>
                      <a:pt x="14" y="69"/>
                    </a:lnTo>
                    <a:lnTo>
                      <a:pt x="27" y="62"/>
                    </a:lnTo>
                    <a:lnTo>
                      <a:pt x="34" y="62"/>
                    </a:lnTo>
                    <a:lnTo>
                      <a:pt x="27" y="69"/>
                    </a:lnTo>
                    <a:lnTo>
                      <a:pt x="34" y="86"/>
                    </a:lnTo>
                    <a:lnTo>
                      <a:pt x="34" y="92"/>
                    </a:lnTo>
                    <a:lnTo>
                      <a:pt x="49" y="92"/>
                    </a:lnTo>
                    <a:lnTo>
                      <a:pt x="49" y="107"/>
                    </a:lnTo>
                    <a:lnTo>
                      <a:pt x="56" y="101"/>
                    </a:lnTo>
                    <a:lnTo>
                      <a:pt x="56" y="92"/>
                    </a:lnTo>
                    <a:lnTo>
                      <a:pt x="42" y="69"/>
                    </a:lnTo>
                    <a:lnTo>
                      <a:pt x="49" y="69"/>
                    </a:lnTo>
                    <a:lnTo>
                      <a:pt x="34" y="55"/>
                    </a:lnTo>
                    <a:lnTo>
                      <a:pt x="49" y="38"/>
                    </a:lnTo>
                    <a:lnTo>
                      <a:pt x="56" y="38"/>
                    </a:lnTo>
                    <a:lnTo>
                      <a:pt x="27" y="47"/>
                    </a:lnTo>
                    <a:lnTo>
                      <a:pt x="14" y="38"/>
                    </a:lnTo>
                    <a:lnTo>
                      <a:pt x="14" y="25"/>
                    </a:lnTo>
                    <a:lnTo>
                      <a:pt x="27" y="15"/>
                    </a:lnTo>
                    <a:lnTo>
                      <a:pt x="77" y="15"/>
                    </a:lnTo>
                    <a:lnTo>
                      <a:pt x="86" y="0"/>
                    </a:lnTo>
                    <a:lnTo>
                      <a:pt x="49" y="15"/>
                    </a:lnTo>
                    <a:lnTo>
                      <a:pt x="27" y="8"/>
                    </a:lnTo>
                    <a:lnTo>
                      <a:pt x="27" y="15"/>
                    </a:lnTo>
                    <a:lnTo>
                      <a:pt x="14" y="15"/>
                    </a:lnTo>
                    <a:lnTo>
                      <a:pt x="14" y="38"/>
                    </a:lnTo>
                    <a:lnTo>
                      <a:pt x="0" y="62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05" name="Freeform 241"/>
              <p:cNvSpPr>
                <a:spLocks/>
              </p:cNvSpPr>
              <p:nvPr/>
            </p:nvSpPr>
            <p:spPr bwMode="auto">
              <a:xfrm>
                <a:off x="7324725" y="4956175"/>
                <a:ext cx="42863" cy="80963"/>
              </a:xfrm>
              <a:custGeom>
                <a:avLst/>
                <a:gdLst>
                  <a:gd name="T0" fmla="*/ 0 w 24"/>
                  <a:gd name="T1" fmla="*/ 17 h 47"/>
                  <a:gd name="T2" fmla="*/ 9 w 24"/>
                  <a:gd name="T3" fmla="*/ 32 h 47"/>
                  <a:gd name="T4" fmla="*/ 24 w 24"/>
                  <a:gd name="T5" fmla="*/ 47 h 47"/>
                  <a:gd name="T6" fmla="*/ 9 w 24"/>
                  <a:gd name="T7" fmla="*/ 32 h 47"/>
                  <a:gd name="T8" fmla="*/ 9 w 24"/>
                  <a:gd name="T9" fmla="*/ 26 h 47"/>
                  <a:gd name="T10" fmla="*/ 24 w 24"/>
                  <a:gd name="T11" fmla="*/ 26 h 47"/>
                  <a:gd name="T12" fmla="*/ 24 w 24"/>
                  <a:gd name="T13" fmla="*/ 7 h 47"/>
                  <a:gd name="T14" fmla="*/ 24 w 24"/>
                  <a:gd name="T15" fmla="*/ 17 h 47"/>
                  <a:gd name="T16" fmla="*/ 9 w 24"/>
                  <a:gd name="T17" fmla="*/ 0 h 47"/>
                  <a:gd name="T18" fmla="*/ 0 w 24"/>
                  <a:gd name="T19" fmla="*/ 17 h 47"/>
                  <a:gd name="T20" fmla="*/ 0 w 24"/>
                  <a:gd name="T21" fmla="*/ 17 h 47"/>
                  <a:gd name="T22" fmla="*/ 0 w 24"/>
                  <a:gd name="T23" fmla="*/ 1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4" h="47">
                    <a:moveTo>
                      <a:pt x="0" y="17"/>
                    </a:moveTo>
                    <a:lnTo>
                      <a:pt x="9" y="32"/>
                    </a:lnTo>
                    <a:lnTo>
                      <a:pt x="24" y="47"/>
                    </a:lnTo>
                    <a:lnTo>
                      <a:pt x="9" y="32"/>
                    </a:lnTo>
                    <a:lnTo>
                      <a:pt x="9" y="26"/>
                    </a:lnTo>
                    <a:lnTo>
                      <a:pt x="24" y="26"/>
                    </a:lnTo>
                    <a:lnTo>
                      <a:pt x="24" y="7"/>
                    </a:lnTo>
                    <a:lnTo>
                      <a:pt x="24" y="17"/>
                    </a:lnTo>
                    <a:lnTo>
                      <a:pt x="9" y="0"/>
                    </a:lnTo>
                    <a:lnTo>
                      <a:pt x="0" y="17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06" name="Freeform 242"/>
              <p:cNvSpPr>
                <a:spLocks/>
              </p:cNvSpPr>
              <p:nvPr/>
            </p:nvSpPr>
            <p:spPr bwMode="auto">
              <a:xfrm>
                <a:off x="7289800" y="5091113"/>
                <a:ext cx="39688" cy="44450"/>
              </a:xfrm>
              <a:custGeom>
                <a:avLst/>
                <a:gdLst>
                  <a:gd name="T0" fmla="*/ 0 w 22"/>
                  <a:gd name="T1" fmla="*/ 0 h 25"/>
                  <a:gd name="T2" fmla="*/ 22 w 22"/>
                  <a:gd name="T3" fmla="*/ 25 h 25"/>
                  <a:gd name="T4" fmla="*/ 22 w 22"/>
                  <a:gd name="T5" fmla="*/ 0 h 25"/>
                  <a:gd name="T6" fmla="*/ 0 w 22"/>
                  <a:gd name="T7" fmla="*/ 0 h 25"/>
                  <a:gd name="T8" fmla="*/ 0 w 22"/>
                  <a:gd name="T9" fmla="*/ 0 h 25"/>
                  <a:gd name="T10" fmla="*/ 0 w 22"/>
                  <a:gd name="T11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25">
                    <a:moveTo>
                      <a:pt x="0" y="0"/>
                    </a:moveTo>
                    <a:lnTo>
                      <a:pt x="22" y="25"/>
                    </a:lnTo>
                    <a:lnTo>
                      <a:pt x="2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07" name="Freeform 243"/>
              <p:cNvSpPr>
                <a:spLocks/>
              </p:cNvSpPr>
              <p:nvPr/>
            </p:nvSpPr>
            <p:spPr bwMode="auto">
              <a:xfrm>
                <a:off x="7332663" y="5075238"/>
                <a:ext cx="79375" cy="50800"/>
              </a:xfrm>
              <a:custGeom>
                <a:avLst/>
                <a:gdLst>
                  <a:gd name="T0" fmla="*/ 0 w 45"/>
                  <a:gd name="T1" fmla="*/ 9 h 29"/>
                  <a:gd name="T2" fmla="*/ 45 w 45"/>
                  <a:gd name="T3" fmla="*/ 29 h 29"/>
                  <a:gd name="T4" fmla="*/ 21 w 45"/>
                  <a:gd name="T5" fmla="*/ 0 h 29"/>
                  <a:gd name="T6" fmla="*/ 8 w 45"/>
                  <a:gd name="T7" fmla="*/ 0 h 29"/>
                  <a:gd name="T8" fmla="*/ 0 w 45"/>
                  <a:gd name="T9" fmla="*/ 9 h 29"/>
                  <a:gd name="T10" fmla="*/ 0 w 45"/>
                  <a:gd name="T11" fmla="*/ 9 h 29"/>
                  <a:gd name="T12" fmla="*/ 0 w 45"/>
                  <a:gd name="T13" fmla="*/ 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5" h="29">
                    <a:moveTo>
                      <a:pt x="0" y="9"/>
                    </a:moveTo>
                    <a:lnTo>
                      <a:pt x="45" y="29"/>
                    </a:lnTo>
                    <a:lnTo>
                      <a:pt x="21" y="0"/>
                    </a:lnTo>
                    <a:lnTo>
                      <a:pt x="8" y="0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08" name="Freeform 244"/>
              <p:cNvSpPr>
                <a:spLocks/>
              </p:cNvSpPr>
              <p:nvPr/>
            </p:nvSpPr>
            <p:spPr bwMode="auto">
              <a:xfrm>
                <a:off x="7151688" y="4540250"/>
                <a:ext cx="98425" cy="130175"/>
              </a:xfrm>
              <a:custGeom>
                <a:avLst/>
                <a:gdLst>
                  <a:gd name="T0" fmla="*/ 0 w 56"/>
                  <a:gd name="T1" fmla="*/ 31 h 74"/>
                  <a:gd name="T2" fmla="*/ 0 w 56"/>
                  <a:gd name="T3" fmla="*/ 51 h 74"/>
                  <a:gd name="T4" fmla="*/ 12 w 56"/>
                  <a:gd name="T5" fmla="*/ 58 h 74"/>
                  <a:gd name="T6" fmla="*/ 12 w 56"/>
                  <a:gd name="T7" fmla="*/ 68 h 74"/>
                  <a:gd name="T8" fmla="*/ 29 w 56"/>
                  <a:gd name="T9" fmla="*/ 68 h 74"/>
                  <a:gd name="T10" fmla="*/ 34 w 56"/>
                  <a:gd name="T11" fmla="*/ 74 h 74"/>
                  <a:gd name="T12" fmla="*/ 34 w 56"/>
                  <a:gd name="T13" fmla="*/ 68 h 74"/>
                  <a:gd name="T14" fmla="*/ 41 w 56"/>
                  <a:gd name="T15" fmla="*/ 74 h 74"/>
                  <a:gd name="T16" fmla="*/ 56 w 56"/>
                  <a:gd name="T17" fmla="*/ 74 h 74"/>
                  <a:gd name="T18" fmla="*/ 41 w 56"/>
                  <a:gd name="T19" fmla="*/ 68 h 74"/>
                  <a:gd name="T20" fmla="*/ 56 w 56"/>
                  <a:gd name="T21" fmla="*/ 68 h 74"/>
                  <a:gd name="T22" fmla="*/ 34 w 56"/>
                  <a:gd name="T23" fmla="*/ 58 h 74"/>
                  <a:gd name="T24" fmla="*/ 29 w 56"/>
                  <a:gd name="T25" fmla="*/ 68 h 74"/>
                  <a:gd name="T26" fmla="*/ 19 w 56"/>
                  <a:gd name="T27" fmla="*/ 51 h 74"/>
                  <a:gd name="T28" fmla="*/ 34 w 56"/>
                  <a:gd name="T29" fmla="*/ 21 h 74"/>
                  <a:gd name="T30" fmla="*/ 29 w 56"/>
                  <a:gd name="T31" fmla="*/ 14 h 74"/>
                  <a:gd name="T32" fmla="*/ 34 w 56"/>
                  <a:gd name="T33" fmla="*/ 0 h 74"/>
                  <a:gd name="T34" fmla="*/ 29 w 56"/>
                  <a:gd name="T35" fmla="*/ 5 h 74"/>
                  <a:gd name="T36" fmla="*/ 12 w 56"/>
                  <a:gd name="T37" fmla="*/ 0 h 74"/>
                  <a:gd name="T38" fmla="*/ 0 w 56"/>
                  <a:gd name="T39" fmla="*/ 31 h 74"/>
                  <a:gd name="T40" fmla="*/ 0 w 56"/>
                  <a:gd name="T41" fmla="*/ 31 h 74"/>
                  <a:gd name="T42" fmla="*/ 0 w 56"/>
                  <a:gd name="T43" fmla="*/ 31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6" h="74">
                    <a:moveTo>
                      <a:pt x="0" y="31"/>
                    </a:moveTo>
                    <a:lnTo>
                      <a:pt x="0" y="51"/>
                    </a:lnTo>
                    <a:lnTo>
                      <a:pt x="12" y="58"/>
                    </a:lnTo>
                    <a:lnTo>
                      <a:pt x="12" y="68"/>
                    </a:lnTo>
                    <a:lnTo>
                      <a:pt x="29" y="68"/>
                    </a:lnTo>
                    <a:lnTo>
                      <a:pt x="34" y="74"/>
                    </a:lnTo>
                    <a:lnTo>
                      <a:pt x="34" y="68"/>
                    </a:lnTo>
                    <a:lnTo>
                      <a:pt x="41" y="74"/>
                    </a:lnTo>
                    <a:lnTo>
                      <a:pt x="56" y="74"/>
                    </a:lnTo>
                    <a:lnTo>
                      <a:pt x="41" y="68"/>
                    </a:lnTo>
                    <a:lnTo>
                      <a:pt x="56" y="68"/>
                    </a:lnTo>
                    <a:lnTo>
                      <a:pt x="34" y="58"/>
                    </a:lnTo>
                    <a:lnTo>
                      <a:pt x="29" y="68"/>
                    </a:lnTo>
                    <a:lnTo>
                      <a:pt x="19" y="51"/>
                    </a:lnTo>
                    <a:lnTo>
                      <a:pt x="34" y="21"/>
                    </a:lnTo>
                    <a:lnTo>
                      <a:pt x="29" y="14"/>
                    </a:lnTo>
                    <a:lnTo>
                      <a:pt x="34" y="0"/>
                    </a:lnTo>
                    <a:lnTo>
                      <a:pt x="29" y="5"/>
                    </a:lnTo>
                    <a:lnTo>
                      <a:pt x="12" y="0"/>
                    </a:lnTo>
                    <a:lnTo>
                      <a:pt x="0" y="31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09" name="Freeform 245"/>
              <p:cNvSpPr>
                <a:spLocks/>
              </p:cNvSpPr>
              <p:nvPr/>
            </p:nvSpPr>
            <p:spPr bwMode="auto">
              <a:xfrm>
                <a:off x="7075488" y="4724400"/>
                <a:ext cx="66675" cy="74613"/>
              </a:xfrm>
              <a:custGeom>
                <a:avLst/>
                <a:gdLst>
                  <a:gd name="T0" fmla="*/ 0 w 37"/>
                  <a:gd name="T1" fmla="*/ 43 h 43"/>
                  <a:gd name="T2" fmla="*/ 37 w 37"/>
                  <a:gd name="T3" fmla="*/ 13 h 43"/>
                  <a:gd name="T4" fmla="*/ 37 w 37"/>
                  <a:gd name="T5" fmla="*/ 0 h 43"/>
                  <a:gd name="T6" fmla="*/ 0 w 37"/>
                  <a:gd name="T7" fmla="*/ 43 h 43"/>
                  <a:gd name="T8" fmla="*/ 0 w 37"/>
                  <a:gd name="T9" fmla="*/ 43 h 43"/>
                  <a:gd name="T10" fmla="*/ 0 w 37"/>
                  <a:gd name="T11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43">
                    <a:moveTo>
                      <a:pt x="0" y="43"/>
                    </a:moveTo>
                    <a:lnTo>
                      <a:pt x="37" y="13"/>
                    </a:lnTo>
                    <a:lnTo>
                      <a:pt x="37" y="0"/>
                    </a:lnTo>
                    <a:lnTo>
                      <a:pt x="0" y="43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10" name="Freeform 246"/>
              <p:cNvSpPr>
                <a:spLocks/>
              </p:cNvSpPr>
              <p:nvPr/>
            </p:nvSpPr>
            <p:spPr bwMode="auto">
              <a:xfrm>
                <a:off x="7151688" y="4667250"/>
                <a:ext cx="38100" cy="47625"/>
              </a:xfrm>
              <a:custGeom>
                <a:avLst/>
                <a:gdLst>
                  <a:gd name="T0" fmla="*/ 0 w 22"/>
                  <a:gd name="T1" fmla="*/ 0 h 27"/>
                  <a:gd name="T2" fmla="*/ 22 w 22"/>
                  <a:gd name="T3" fmla="*/ 27 h 27"/>
                  <a:gd name="T4" fmla="*/ 22 w 22"/>
                  <a:gd name="T5" fmla="*/ 0 h 27"/>
                  <a:gd name="T6" fmla="*/ 0 w 22"/>
                  <a:gd name="T7" fmla="*/ 0 h 27"/>
                  <a:gd name="T8" fmla="*/ 0 w 22"/>
                  <a:gd name="T9" fmla="*/ 0 h 27"/>
                  <a:gd name="T10" fmla="*/ 0 w 22"/>
                  <a:gd name="T11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27">
                    <a:moveTo>
                      <a:pt x="0" y="0"/>
                    </a:moveTo>
                    <a:lnTo>
                      <a:pt x="22" y="27"/>
                    </a:lnTo>
                    <a:lnTo>
                      <a:pt x="2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11" name="Freeform 247"/>
              <p:cNvSpPr>
                <a:spLocks/>
              </p:cNvSpPr>
              <p:nvPr/>
            </p:nvSpPr>
            <p:spPr bwMode="auto">
              <a:xfrm>
                <a:off x="7267575" y="4694238"/>
                <a:ext cx="38100" cy="60325"/>
              </a:xfrm>
              <a:custGeom>
                <a:avLst/>
                <a:gdLst>
                  <a:gd name="T0" fmla="*/ 0 w 22"/>
                  <a:gd name="T1" fmla="*/ 0 h 35"/>
                  <a:gd name="T2" fmla="*/ 13 w 22"/>
                  <a:gd name="T3" fmla="*/ 8 h 35"/>
                  <a:gd name="T4" fmla="*/ 0 w 22"/>
                  <a:gd name="T5" fmla="*/ 17 h 35"/>
                  <a:gd name="T6" fmla="*/ 0 w 22"/>
                  <a:gd name="T7" fmla="*/ 35 h 35"/>
                  <a:gd name="T8" fmla="*/ 13 w 22"/>
                  <a:gd name="T9" fmla="*/ 35 h 35"/>
                  <a:gd name="T10" fmla="*/ 13 w 22"/>
                  <a:gd name="T11" fmla="*/ 17 h 35"/>
                  <a:gd name="T12" fmla="*/ 22 w 22"/>
                  <a:gd name="T13" fmla="*/ 17 h 35"/>
                  <a:gd name="T14" fmla="*/ 13 w 22"/>
                  <a:gd name="T15" fmla="*/ 8 h 35"/>
                  <a:gd name="T16" fmla="*/ 13 w 22"/>
                  <a:gd name="T17" fmla="*/ 0 h 35"/>
                  <a:gd name="T18" fmla="*/ 0 w 22"/>
                  <a:gd name="T19" fmla="*/ 0 h 35"/>
                  <a:gd name="T20" fmla="*/ 0 w 22"/>
                  <a:gd name="T21" fmla="*/ 0 h 35"/>
                  <a:gd name="T22" fmla="*/ 0 w 22"/>
                  <a:gd name="T23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" h="35">
                    <a:moveTo>
                      <a:pt x="0" y="0"/>
                    </a:moveTo>
                    <a:lnTo>
                      <a:pt x="13" y="8"/>
                    </a:lnTo>
                    <a:lnTo>
                      <a:pt x="0" y="17"/>
                    </a:lnTo>
                    <a:lnTo>
                      <a:pt x="0" y="35"/>
                    </a:lnTo>
                    <a:lnTo>
                      <a:pt x="13" y="35"/>
                    </a:lnTo>
                    <a:lnTo>
                      <a:pt x="13" y="17"/>
                    </a:lnTo>
                    <a:lnTo>
                      <a:pt x="22" y="17"/>
                    </a:lnTo>
                    <a:lnTo>
                      <a:pt x="13" y="8"/>
                    </a:lnTo>
                    <a:lnTo>
                      <a:pt x="13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12" name="Freeform 248"/>
              <p:cNvSpPr>
                <a:spLocks/>
              </p:cNvSpPr>
              <p:nvPr/>
            </p:nvSpPr>
            <p:spPr bwMode="auto">
              <a:xfrm>
                <a:off x="7202488" y="4708525"/>
                <a:ext cx="65087" cy="76200"/>
              </a:xfrm>
              <a:custGeom>
                <a:avLst/>
                <a:gdLst>
                  <a:gd name="T0" fmla="*/ 0 w 37"/>
                  <a:gd name="T1" fmla="*/ 20 h 44"/>
                  <a:gd name="T2" fmla="*/ 8 w 37"/>
                  <a:gd name="T3" fmla="*/ 20 h 44"/>
                  <a:gd name="T4" fmla="*/ 8 w 37"/>
                  <a:gd name="T5" fmla="*/ 29 h 44"/>
                  <a:gd name="T6" fmla="*/ 15 w 37"/>
                  <a:gd name="T7" fmla="*/ 44 h 44"/>
                  <a:gd name="T8" fmla="*/ 15 w 37"/>
                  <a:gd name="T9" fmla="*/ 29 h 44"/>
                  <a:gd name="T10" fmla="*/ 37 w 37"/>
                  <a:gd name="T11" fmla="*/ 37 h 44"/>
                  <a:gd name="T12" fmla="*/ 37 w 37"/>
                  <a:gd name="T13" fmla="*/ 29 h 44"/>
                  <a:gd name="T14" fmla="*/ 30 w 37"/>
                  <a:gd name="T15" fmla="*/ 29 h 44"/>
                  <a:gd name="T16" fmla="*/ 30 w 37"/>
                  <a:gd name="T17" fmla="*/ 7 h 44"/>
                  <a:gd name="T18" fmla="*/ 15 w 37"/>
                  <a:gd name="T19" fmla="*/ 20 h 44"/>
                  <a:gd name="T20" fmla="*/ 15 w 37"/>
                  <a:gd name="T21" fmla="*/ 7 h 44"/>
                  <a:gd name="T22" fmla="*/ 8 w 37"/>
                  <a:gd name="T23" fmla="*/ 0 h 44"/>
                  <a:gd name="T24" fmla="*/ 0 w 37"/>
                  <a:gd name="T25" fmla="*/ 0 h 44"/>
                  <a:gd name="T26" fmla="*/ 0 w 37"/>
                  <a:gd name="T27" fmla="*/ 20 h 44"/>
                  <a:gd name="T28" fmla="*/ 0 w 37"/>
                  <a:gd name="T29" fmla="*/ 20 h 44"/>
                  <a:gd name="T30" fmla="*/ 0 w 37"/>
                  <a:gd name="T31" fmla="*/ 2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7" h="44">
                    <a:moveTo>
                      <a:pt x="0" y="20"/>
                    </a:moveTo>
                    <a:lnTo>
                      <a:pt x="8" y="20"/>
                    </a:lnTo>
                    <a:lnTo>
                      <a:pt x="8" y="29"/>
                    </a:lnTo>
                    <a:lnTo>
                      <a:pt x="15" y="44"/>
                    </a:lnTo>
                    <a:lnTo>
                      <a:pt x="15" y="29"/>
                    </a:lnTo>
                    <a:lnTo>
                      <a:pt x="37" y="37"/>
                    </a:lnTo>
                    <a:lnTo>
                      <a:pt x="37" y="29"/>
                    </a:lnTo>
                    <a:lnTo>
                      <a:pt x="30" y="29"/>
                    </a:lnTo>
                    <a:lnTo>
                      <a:pt x="30" y="7"/>
                    </a:lnTo>
                    <a:lnTo>
                      <a:pt x="15" y="20"/>
                    </a:lnTo>
                    <a:lnTo>
                      <a:pt x="15" y="7"/>
                    </a:lnTo>
                    <a:lnTo>
                      <a:pt x="8" y="0"/>
                    </a:lnTo>
                    <a:lnTo>
                      <a:pt x="0" y="0"/>
                    </a:lnTo>
                    <a:lnTo>
                      <a:pt x="0" y="2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13" name="Freeform 249"/>
              <p:cNvSpPr>
                <a:spLocks/>
              </p:cNvSpPr>
              <p:nvPr/>
            </p:nvSpPr>
            <p:spPr bwMode="auto">
              <a:xfrm>
                <a:off x="7202488" y="4754563"/>
                <a:ext cx="100012" cy="117475"/>
              </a:xfrm>
              <a:custGeom>
                <a:avLst/>
                <a:gdLst>
                  <a:gd name="T0" fmla="*/ 0 w 57"/>
                  <a:gd name="T1" fmla="*/ 47 h 66"/>
                  <a:gd name="T2" fmla="*/ 7 w 57"/>
                  <a:gd name="T3" fmla="*/ 40 h 66"/>
                  <a:gd name="T4" fmla="*/ 33 w 57"/>
                  <a:gd name="T5" fmla="*/ 40 h 66"/>
                  <a:gd name="T6" fmla="*/ 28 w 57"/>
                  <a:gd name="T7" fmla="*/ 57 h 66"/>
                  <a:gd name="T8" fmla="*/ 43 w 57"/>
                  <a:gd name="T9" fmla="*/ 66 h 66"/>
                  <a:gd name="T10" fmla="*/ 48 w 57"/>
                  <a:gd name="T11" fmla="*/ 57 h 66"/>
                  <a:gd name="T12" fmla="*/ 43 w 57"/>
                  <a:gd name="T13" fmla="*/ 47 h 66"/>
                  <a:gd name="T14" fmla="*/ 48 w 57"/>
                  <a:gd name="T15" fmla="*/ 40 h 66"/>
                  <a:gd name="T16" fmla="*/ 57 w 57"/>
                  <a:gd name="T17" fmla="*/ 57 h 66"/>
                  <a:gd name="T18" fmla="*/ 57 w 57"/>
                  <a:gd name="T19" fmla="*/ 17 h 66"/>
                  <a:gd name="T20" fmla="*/ 43 w 57"/>
                  <a:gd name="T21" fmla="*/ 0 h 66"/>
                  <a:gd name="T22" fmla="*/ 43 w 57"/>
                  <a:gd name="T23" fmla="*/ 17 h 66"/>
                  <a:gd name="T24" fmla="*/ 33 w 57"/>
                  <a:gd name="T25" fmla="*/ 17 h 66"/>
                  <a:gd name="T26" fmla="*/ 28 w 57"/>
                  <a:gd name="T27" fmla="*/ 25 h 66"/>
                  <a:gd name="T28" fmla="*/ 13 w 57"/>
                  <a:gd name="T29" fmla="*/ 17 h 66"/>
                  <a:gd name="T30" fmla="*/ 0 w 57"/>
                  <a:gd name="T31" fmla="*/ 40 h 66"/>
                  <a:gd name="T32" fmla="*/ 0 w 57"/>
                  <a:gd name="T33" fmla="*/ 47 h 66"/>
                  <a:gd name="T34" fmla="*/ 0 w 57"/>
                  <a:gd name="T35" fmla="*/ 47 h 66"/>
                  <a:gd name="T36" fmla="*/ 0 w 57"/>
                  <a:gd name="T37" fmla="*/ 47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7" h="66">
                    <a:moveTo>
                      <a:pt x="0" y="47"/>
                    </a:moveTo>
                    <a:lnTo>
                      <a:pt x="7" y="40"/>
                    </a:lnTo>
                    <a:lnTo>
                      <a:pt x="33" y="40"/>
                    </a:lnTo>
                    <a:lnTo>
                      <a:pt x="28" y="57"/>
                    </a:lnTo>
                    <a:lnTo>
                      <a:pt x="43" y="66"/>
                    </a:lnTo>
                    <a:lnTo>
                      <a:pt x="48" y="57"/>
                    </a:lnTo>
                    <a:lnTo>
                      <a:pt x="43" y="47"/>
                    </a:lnTo>
                    <a:lnTo>
                      <a:pt x="48" y="40"/>
                    </a:lnTo>
                    <a:lnTo>
                      <a:pt x="57" y="57"/>
                    </a:lnTo>
                    <a:lnTo>
                      <a:pt x="57" y="17"/>
                    </a:lnTo>
                    <a:lnTo>
                      <a:pt x="43" y="0"/>
                    </a:lnTo>
                    <a:lnTo>
                      <a:pt x="43" y="17"/>
                    </a:lnTo>
                    <a:lnTo>
                      <a:pt x="33" y="17"/>
                    </a:lnTo>
                    <a:lnTo>
                      <a:pt x="28" y="25"/>
                    </a:lnTo>
                    <a:lnTo>
                      <a:pt x="13" y="17"/>
                    </a:lnTo>
                    <a:lnTo>
                      <a:pt x="0" y="40"/>
                    </a:lnTo>
                    <a:lnTo>
                      <a:pt x="0" y="47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14" name="Freeform 250"/>
              <p:cNvSpPr>
                <a:spLocks/>
              </p:cNvSpPr>
              <p:nvPr/>
            </p:nvSpPr>
            <p:spPr bwMode="auto">
              <a:xfrm>
                <a:off x="7813675" y="5113338"/>
                <a:ext cx="100013" cy="69850"/>
              </a:xfrm>
              <a:custGeom>
                <a:avLst/>
                <a:gdLst>
                  <a:gd name="T0" fmla="*/ 0 w 57"/>
                  <a:gd name="T1" fmla="*/ 19 h 40"/>
                  <a:gd name="T2" fmla="*/ 14 w 57"/>
                  <a:gd name="T3" fmla="*/ 40 h 40"/>
                  <a:gd name="T4" fmla="*/ 36 w 57"/>
                  <a:gd name="T5" fmla="*/ 40 h 40"/>
                  <a:gd name="T6" fmla="*/ 51 w 57"/>
                  <a:gd name="T7" fmla="*/ 24 h 40"/>
                  <a:gd name="T8" fmla="*/ 57 w 57"/>
                  <a:gd name="T9" fmla="*/ 10 h 40"/>
                  <a:gd name="T10" fmla="*/ 57 w 57"/>
                  <a:gd name="T11" fmla="*/ 0 h 40"/>
                  <a:gd name="T12" fmla="*/ 51 w 57"/>
                  <a:gd name="T13" fmla="*/ 0 h 40"/>
                  <a:gd name="T14" fmla="*/ 51 w 57"/>
                  <a:gd name="T15" fmla="*/ 19 h 40"/>
                  <a:gd name="T16" fmla="*/ 0 w 57"/>
                  <a:gd name="T17" fmla="*/ 19 h 40"/>
                  <a:gd name="T18" fmla="*/ 0 w 57"/>
                  <a:gd name="T19" fmla="*/ 19 h 40"/>
                  <a:gd name="T20" fmla="*/ 0 w 57"/>
                  <a:gd name="T21" fmla="*/ 19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7" h="40">
                    <a:moveTo>
                      <a:pt x="0" y="19"/>
                    </a:moveTo>
                    <a:lnTo>
                      <a:pt x="14" y="40"/>
                    </a:lnTo>
                    <a:lnTo>
                      <a:pt x="36" y="40"/>
                    </a:lnTo>
                    <a:lnTo>
                      <a:pt x="51" y="24"/>
                    </a:lnTo>
                    <a:lnTo>
                      <a:pt x="57" y="10"/>
                    </a:lnTo>
                    <a:lnTo>
                      <a:pt x="57" y="0"/>
                    </a:lnTo>
                    <a:lnTo>
                      <a:pt x="51" y="0"/>
                    </a:lnTo>
                    <a:lnTo>
                      <a:pt x="51" y="19"/>
                    </a:lnTo>
                    <a:lnTo>
                      <a:pt x="0" y="19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15" name="Freeform 251"/>
              <p:cNvSpPr>
                <a:spLocks/>
              </p:cNvSpPr>
              <p:nvPr/>
            </p:nvSpPr>
            <p:spPr bwMode="auto">
              <a:xfrm>
                <a:off x="7975600" y="5143500"/>
                <a:ext cx="42863" cy="50800"/>
              </a:xfrm>
              <a:custGeom>
                <a:avLst/>
                <a:gdLst>
                  <a:gd name="T0" fmla="*/ 0 w 23"/>
                  <a:gd name="T1" fmla="*/ 0 h 29"/>
                  <a:gd name="T2" fmla="*/ 6 w 23"/>
                  <a:gd name="T3" fmla="*/ 29 h 29"/>
                  <a:gd name="T4" fmla="*/ 23 w 23"/>
                  <a:gd name="T5" fmla="*/ 22 h 29"/>
                  <a:gd name="T6" fmla="*/ 0 w 23"/>
                  <a:gd name="T7" fmla="*/ 0 h 29"/>
                  <a:gd name="T8" fmla="*/ 0 w 23"/>
                  <a:gd name="T9" fmla="*/ 0 h 29"/>
                  <a:gd name="T10" fmla="*/ 0 w 23"/>
                  <a:gd name="T11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3" h="29">
                    <a:moveTo>
                      <a:pt x="0" y="0"/>
                    </a:moveTo>
                    <a:lnTo>
                      <a:pt x="6" y="29"/>
                    </a:lnTo>
                    <a:lnTo>
                      <a:pt x="23" y="2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16" name="Freeform 252"/>
              <p:cNvSpPr>
                <a:spLocks/>
              </p:cNvSpPr>
              <p:nvPr/>
            </p:nvSpPr>
            <p:spPr bwMode="auto">
              <a:xfrm>
                <a:off x="6065838" y="3408363"/>
                <a:ext cx="1433512" cy="1079500"/>
              </a:xfrm>
              <a:custGeom>
                <a:avLst/>
                <a:gdLst>
                  <a:gd name="T0" fmla="*/ 199 w 817"/>
                  <a:gd name="T1" fmla="*/ 126 h 618"/>
                  <a:gd name="T2" fmla="*/ 227 w 817"/>
                  <a:gd name="T3" fmla="*/ 179 h 618"/>
                  <a:gd name="T4" fmla="*/ 355 w 817"/>
                  <a:gd name="T5" fmla="*/ 225 h 618"/>
                  <a:gd name="T6" fmla="*/ 447 w 817"/>
                  <a:gd name="T7" fmla="*/ 232 h 618"/>
                  <a:gd name="T8" fmla="*/ 505 w 817"/>
                  <a:gd name="T9" fmla="*/ 201 h 618"/>
                  <a:gd name="T10" fmla="*/ 562 w 817"/>
                  <a:gd name="T11" fmla="*/ 171 h 618"/>
                  <a:gd name="T12" fmla="*/ 604 w 817"/>
                  <a:gd name="T13" fmla="*/ 132 h 618"/>
                  <a:gd name="T14" fmla="*/ 562 w 817"/>
                  <a:gd name="T15" fmla="*/ 132 h 618"/>
                  <a:gd name="T16" fmla="*/ 591 w 817"/>
                  <a:gd name="T17" fmla="*/ 89 h 618"/>
                  <a:gd name="T18" fmla="*/ 631 w 817"/>
                  <a:gd name="T19" fmla="*/ 28 h 618"/>
                  <a:gd name="T20" fmla="*/ 631 w 817"/>
                  <a:gd name="T21" fmla="*/ 8 h 618"/>
                  <a:gd name="T22" fmla="*/ 705 w 817"/>
                  <a:gd name="T23" fmla="*/ 21 h 618"/>
                  <a:gd name="T24" fmla="*/ 769 w 817"/>
                  <a:gd name="T25" fmla="*/ 104 h 618"/>
                  <a:gd name="T26" fmla="*/ 817 w 817"/>
                  <a:gd name="T27" fmla="*/ 110 h 618"/>
                  <a:gd name="T28" fmla="*/ 782 w 817"/>
                  <a:gd name="T29" fmla="*/ 179 h 618"/>
                  <a:gd name="T30" fmla="*/ 769 w 817"/>
                  <a:gd name="T31" fmla="*/ 232 h 618"/>
                  <a:gd name="T32" fmla="*/ 733 w 817"/>
                  <a:gd name="T33" fmla="*/ 247 h 618"/>
                  <a:gd name="T34" fmla="*/ 683 w 817"/>
                  <a:gd name="T35" fmla="*/ 284 h 618"/>
                  <a:gd name="T36" fmla="*/ 638 w 817"/>
                  <a:gd name="T37" fmla="*/ 307 h 618"/>
                  <a:gd name="T38" fmla="*/ 638 w 817"/>
                  <a:gd name="T39" fmla="*/ 263 h 618"/>
                  <a:gd name="T40" fmla="*/ 591 w 817"/>
                  <a:gd name="T41" fmla="*/ 307 h 618"/>
                  <a:gd name="T42" fmla="*/ 653 w 817"/>
                  <a:gd name="T43" fmla="*/ 339 h 618"/>
                  <a:gd name="T44" fmla="*/ 631 w 817"/>
                  <a:gd name="T45" fmla="*/ 346 h 618"/>
                  <a:gd name="T46" fmla="*/ 631 w 817"/>
                  <a:gd name="T47" fmla="*/ 420 h 618"/>
                  <a:gd name="T48" fmla="*/ 646 w 817"/>
                  <a:gd name="T49" fmla="*/ 452 h 618"/>
                  <a:gd name="T50" fmla="*/ 638 w 817"/>
                  <a:gd name="T51" fmla="*/ 494 h 618"/>
                  <a:gd name="T52" fmla="*/ 611 w 817"/>
                  <a:gd name="T53" fmla="*/ 532 h 618"/>
                  <a:gd name="T54" fmla="*/ 596 w 817"/>
                  <a:gd name="T55" fmla="*/ 556 h 618"/>
                  <a:gd name="T56" fmla="*/ 547 w 817"/>
                  <a:gd name="T57" fmla="*/ 586 h 618"/>
                  <a:gd name="T58" fmla="*/ 527 w 817"/>
                  <a:gd name="T59" fmla="*/ 586 h 618"/>
                  <a:gd name="T60" fmla="*/ 484 w 817"/>
                  <a:gd name="T61" fmla="*/ 595 h 618"/>
                  <a:gd name="T62" fmla="*/ 392 w 817"/>
                  <a:gd name="T63" fmla="*/ 586 h 618"/>
                  <a:gd name="T64" fmla="*/ 378 w 817"/>
                  <a:gd name="T65" fmla="*/ 586 h 618"/>
                  <a:gd name="T66" fmla="*/ 363 w 817"/>
                  <a:gd name="T67" fmla="*/ 595 h 618"/>
                  <a:gd name="T68" fmla="*/ 341 w 817"/>
                  <a:gd name="T69" fmla="*/ 573 h 618"/>
                  <a:gd name="T70" fmla="*/ 333 w 817"/>
                  <a:gd name="T71" fmla="*/ 511 h 618"/>
                  <a:gd name="T72" fmla="*/ 298 w 817"/>
                  <a:gd name="T73" fmla="*/ 474 h 618"/>
                  <a:gd name="T74" fmla="*/ 212 w 817"/>
                  <a:gd name="T75" fmla="*/ 494 h 618"/>
                  <a:gd name="T76" fmla="*/ 157 w 817"/>
                  <a:gd name="T77" fmla="*/ 494 h 618"/>
                  <a:gd name="T78" fmla="*/ 107 w 817"/>
                  <a:gd name="T79" fmla="*/ 457 h 618"/>
                  <a:gd name="T80" fmla="*/ 72 w 817"/>
                  <a:gd name="T81" fmla="*/ 420 h 618"/>
                  <a:gd name="T82" fmla="*/ 85 w 817"/>
                  <a:gd name="T83" fmla="*/ 366 h 618"/>
                  <a:gd name="T84" fmla="*/ 36 w 817"/>
                  <a:gd name="T85" fmla="*/ 353 h 618"/>
                  <a:gd name="T86" fmla="*/ 15 w 817"/>
                  <a:gd name="T87" fmla="*/ 307 h 618"/>
                  <a:gd name="T88" fmla="*/ 15 w 817"/>
                  <a:gd name="T89" fmla="*/ 270 h 618"/>
                  <a:gd name="T90" fmla="*/ 56 w 817"/>
                  <a:gd name="T91" fmla="*/ 263 h 618"/>
                  <a:gd name="T92" fmla="*/ 85 w 817"/>
                  <a:gd name="T93" fmla="*/ 188 h 618"/>
                  <a:gd name="T94" fmla="*/ 113 w 817"/>
                  <a:gd name="T95" fmla="*/ 141 h 618"/>
                  <a:gd name="T96" fmla="*/ 172 w 817"/>
                  <a:gd name="T97" fmla="*/ 104 h 6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17" h="618">
                    <a:moveTo>
                      <a:pt x="172" y="104"/>
                    </a:moveTo>
                    <a:lnTo>
                      <a:pt x="185" y="97"/>
                    </a:lnTo>
                    <a:lnTo>
                      <a:pt x="199" y="126"/>
                    </a:lnTo>
                    <a:lnTo>
                      <a:pt x="222" y="126"/>
                    </a:lnTo>
                    <a:lnTo>
                      <a:pt x="227" y="141"/>
                    </a:lnTo>
                    <a:lnTo>
                      <a:pt x="227" y="179"/>
                    </a:lnTo>
                    <a:lnTo>
                      <a:pt x="276" y="201"/>
                    </a:lnTo>
                    <a:lnTo>
                      <a:pt x="306" y="225"/>
                    </a:lnTo>
                    <a:lnTo>
                      <a:pt x="355" y="225"/>
                    </a:lnTo>
                    <a:lnTo>
                      <a:pt x="385" y="247"/>
                    </a:lnTo>
                    <a:lnTo>
                      <a:pt x="420" y="253"/>
                    </a:lnTo>
                    <a:lnTo>
                      <a:pt x="447" y="232"/>
                    </a:lnTo>
                    <a:lnTo>
                      <a:pt x="484" y="232"/>
                    </a:lnTo>
                    <a:lnTo>
                      <a:pt x="512" y="208"/>
                    </a:lnTo>
                    <a:lnTo>
                      <a:pt x="505" y="201"/>
                    </a:lnTo>
                    <a:lnTo>
                      <a:pt x="519" y="179"/>
                    </a:lnTo>
                    <a:lnTo>
                      <a:pt x="534" y="188"/>
                    </a:lnTo>
                    <a:lnTo>
                      <a:pt x="562" y="171"/>
                    </a:lnTo>
                    <a:lnTo>
                      <a:pt x="574" y="151"/>
                    </a:lnTo>
                    <a:lnTo>
                      <a:pt x="611" y="151"/>
                    </a:lnTo>
                    <a:lnTo>
                      <a:pt x="604" y="132"/>
                    </a:lnTo>
                    <a:lnTo>
                      <a:pt x="596" y="126"/>
                    </a:lnTo>
                    <a:lnTo>
                      <a:pt x="574" y="132"/>
                    </a:lnTo>
                    <a:lnTo>
                      <a:pt x="562" y="132"/>
                    </a:lnTo>
                    <a:lnTo>
                      <a:pt x="562" y="97"/>
                    </a:lnTo>
                    <a:lnTo>
                      <a:pt x="569" y="80"/>
                    </a:lnTo>
                    <a:lnTo>
                      <a:pt x="591" y="89"/>
                    </a:lnTo>
                    <a:lnTo>
                      <a:pt x="611" y="80"/>
                    </a:lnTo>
                    <a:lnTo>
                      <a:pt x="619" y="42"/>
                    </a:lnTo>
                    <a:lnTo>
                      <a:pt x="631" y="28"/>
                    </a:lnTo>
                    <a:lnTo>
                      <a:pt x="631" y="21"/>
                    </a:lnTo>
                    <a:lnTo>
                      <a:pt x="619" y="21"/>
                    </a:lnTo>
                    <a:lnTo>
                      <a:pt x="631" y="8"/>
                    </a:lnTo>
                    <a:lnTo>
                      <a:pt x="661" y="0"/>
                    </a:lnTo>
                    <a:lnTo>
                      <a:pt x="691" y="8"/>
                    </a:lnTo>
                    <a:lnTo>
                      <a:pt x="705" y="21"/>
                    </a:lnTo>
                    <a:lnTo>
                      <a:pt x="725" y="89"/>
                    </a:lnTo>
                    <a:lnTo>
                      <a:pt x="740" y="89"/>
                    </a:lnTo>
                    <a:lnTo>
                      <a:pt x="769" y="104"/>
                    </a:lnTo>
                    <a:lnTo>
                      <a:pt x="769" y="126"/>
                    </a:lnTo>
                    <a:lnTo>
                      <a:pt x="782" y="126"/>
                    </a:lnTo>
                    <a:lnTo>
                      <a:pt x="817" y="110"/>
                    </a:lnTo>
                    <a:lnTo>
                      <a:pt x="817" y="132"/>
                    </a:lnTo>
                    <a:lnTo>
                      <a:pt x="787" y="188"/>
                    </a:lnTo>
                    <a:lnTo>
                      <a:pt x="782" y="179"/>
                    </a:lnTo>
                    <a:lnTo>
                      <a:pt x="769" y="188"/>
                    </a:lnTo>
                    <a:lnTo>
                      <a:pt x="775" y="216"/>
                    </a:lnTo>
                    <a:lnTo>
                      <a:pt x="769" y="232"/>
                    </a:lnTo>
                    <a:lnTo>
                      <a:pt x="755" y="232"/>
                    </a:lnTo>
                    <a:lnTo>
                      <a:pt x="740" y="247"/>
                    </a:lnTo>
                    <a:lnTo>
                      <a:pt x="733" y="247"/>
                    </a:lnTo>
                    <a:lnTo>
                      <a:pt x="725" y="253"/>
                    </a:lnTo>
                    <a:lnTo>
                      <a:pt x="718" y="253"/>
                    </a:lnTo>
                    <a:lnTo>
                      <a:pt x="683" y="284"/>
                    </a:lnTo>
                    <a:lnTo>
                      <a:pt x="683" y="292"/>
                    </a:lnTo>
                    <a:lnTo>
                      <a:pt x="661" y="292"/>
                    </a:lnTo>
                    <a:lnTo>
                      <a:pt x="638" y="307"/>
                    </a:lnTo>
                    <a:lnTo>
                      <a:pt x="638" y="292"/>
                    </a:lnTo>
                    <a:lnTo>
                      <a:pt x="646" y="270"/>
                    </a:lnTo>
                    <a:lnTo>
                      <a:pt x="638" y="263"/>
                    </a:lnTo>
                    <a:lnTo>
                      <a:pt x="604" y="300"/>
                    </a:lnTo>
                    <a:lnTo>
                      <a:pt x="596" y="300"/>
                    </a:lnTo>
                    <a:lnTo>
                      <a:pt x="591" y="307"/>
                    </a:lnTo>
                    <a:lnTo>
                      <a:pt x="611" y="339"/>
                    </a:lnTo>
                    <a:lnTo>
                      <a:pt x="631" y="331"/>
                    </a:lnTo>
                    <a:lnTo>
                      <a:pt x="653" y="339"/>
                    </a:lnTo>
                    <a:lnTo>
                      <a:pt x="653" y="346"/>
                    </a:lnTo>
                    <a:lnTo>
                      <a:pt x="646" y="339"/>
                    </a:lnTo>
                    <a:lnTo>
                      <a:pt x="631" y="346"/>
                    </a:lnTo>
                    <a:lnTo>
                      <a:pt x="611" y="373"/>
                    </a:lnTo>
                    <a:lnTo>
                      <a:pt x="619" y="381"/>
                    </a:lnTo>
                    <a:lnTo>
                      <a:pt x="631" y="420"/>
                    </a:lnTo>
                    <a:lnTo>
                      <a:pt x="646" y="428"/>
                    </a:lnTo>
                    <a:lnTo>
                      <a:pt x="638" y="428"/>
                    </a:lnTo>
                    <a:lnTo>
                      <a:pt x="646" y="452"/>
                    </a:lnTo>
                    <a:lnTo>
                      <a:pt x="619" y="457"/>
                    </a:lnTo>
                    <a:lnTo>
                      <a:pt x="646" y="457"/>
                    </a:lnTo>
                    <a:lnTo>
                      <a:pt x="638" y="494"/>
                    </a:lnTo>
                    <a:lnTo>
                      <a:pt x="619" y="511"/>
                    </a:lnTo>
                    <a:lnTo>
                      <a:pt x="611" y="511"/>
                    </a:lnTo>
                    <a:lnTo>
                      <a:pt x="611" y="532"/>
                    </a:lnTo>
                    <a:lnTo>
                      <a:pt x="604" y="549"/>
                    </a:lnTo>
                    <a:lnTo>
                      <a:pt x="596" y="549"/>
                    </a:lnTo>
                    <a:lnTo>
                      <a:pt x="596" y="556"/>
                    </a:lnTo>
                    <a:lnTo>
                      <a:pt x="569" y="579"/>
                    </a:lnTo>
                    <a:lnTo>
                      <a:pt x="547" y="579"/>
                    </a:lnTo>
                    <a:lnTo>
                      <a:pt x="547" y="586"/>
                    </a:lnTo>
                    <a:lnTo>
                      <a:pt x="534" y="579"/>
                    </a:lnTo>
                    <a:lnTo>
                      <a:pt x="534" y="586"/>
                    </a:lnTo>
                    <a:lnTo>
                      <a:pt x="527" y="586"/>
                    </a:lnTo>
                    <a:lnTo>
                      <a:pt x="490" y="601"/>
                    </a:lnTo>
                    <a:lnTo>
                      <a:pt x="484" y="618"/>
                    </a:lnTo>
                    <a:lnTo>
                      <a:pt x="484" y="595"/>
                    </a:lnTo>
                    <a:lnTo>
                      <a:pt x="442" y="595"/>
                    </a:lnTo>
                    <a:lnTo>
                      <a:pt x="442" y="579"/>
                    </a:lnTo>
                    <a:lnTo>
                      <a:pt x="392" y="586"/>
                    </a:lnTo>
                    <a:lnTo>
                      <a:pt x="385" y="579"/>
                    </a:lnTo>
                    <a:lnTo>
                      <a:pt x="385" y="586"/>
                    </a:lnTo>
                    <a:lnTo>
                      <a:pt x="378" y="586"/>
                    </a:lnTo>
                    <a:lnTo>
                      <a:pt x="378" y="601"/>
                    </a:lnTo>
                    <a:lnTo>
                      <a:pt x="363" y="601"/>
                    </a:lnTo>
                    <a:lnTo>
                      <a:pt x="363" y="595"/>
                    </a:lnTo>
                    <a:lnTo>
                      <a:pt x="355" y="595"/>
                    </a:lnTo>
                    <a:lnTo>
                      <a:pt x="341" y="586"/>
                    </a:lnTo>
                    <a:lnTo>
                      <a:pt x="341" y="573"/>
                    </a:lnTo>
                    <a:lnTo>
                      <a:pt x="333" y="556"/>
                    </a:lnTo>
                    <a:lnTo>
                      <a:pt x="320" y="556"/>
                    </a:lnTo>
                    <a:lnTo>
                      <a:pt x="333" y="511"/>
                    </a:lnTo>
                    <a:lnTo>
                      <a:pt x="320" y="494"/>
                    </a:lnTo>
                    <a:lnTo>
                      <a:pt x="315" y="494"/>
                    </a:lnTo>
                    <a:lnTo>
                      <a:pt x="298" y="474"/>
                    </a:lnTo>
                    <a:lnTo>
                      <a:pt x="276" y="474"/>
                    </a:lnTo>
                    <a:lnTo>
                      <a:pt x="234" y="494"/>
                    </a:lnTo>
                    <a:lnTo>
                      <a:pt x="212" y="494"/>
                    </a:lnTo>
                    <a:lnTo>
                      <a:pt x="199" y="505"/>
                    </a:lnTo>
                    <a:lnTo>
                      <a:pt x="192" y="494"/>
                    </a:lnTo>
                    <a:lnTo>
                      <a:pt x="157" y="494"/>
                    </a:lnTo>
                    <a:lnTo>
                      <a:pt x="135" y="474"/>
                    </a:lnTo>
                    <a:lnTo>
                      <a:pt x="127" y="474"/>
                    </a:lnTo>
                    <a:lnTo>
                      <a:pt x="107" y="457"/>
                    </a:lnTo>
                    <a:lnTo>
                      <a:pt x="62" y="452"/>
                    </a:lnTo>
                    <a:lnTo>
                      <a:pt x="56" y="420"/>
                    </a:lnTo>
                    <a:lnTo>
                      <a:pt x="72" y="420"/>
                    </a:lnTo>
                    <a:lnTo>
                      <a:pt x="62" y="405"/>
                    </a:lnTo>
                    <a:lnTo>
                      <a:pt x="85" y="381"/>
                    </a:lnTo>
                    <a:lnTo>
                      <a:pt x="85" y="366"/>
                    </a:lnTo>
                    <a:lnTo>
                      <a:pt x="72" y="353"/>
                    </a:lnTo>
                    <a:lnTo>
                      <a:pt x="50" y="366"/>
                    </a:lnTo>
                    <a:lnTo>
                      <a:pt x="36" y="353"/>
                    </a:lnTo>
                    <a:lnTo>
                      <a:pt x="8" y="339"/>
                    </a:lnTo>
                    <a:lnTo>
                      <a:pt x="15" y="339"/>
                    </a:lnTo>
                    <a:lnTo>
                      <a:pt x="15" y="307"/>
                    </a:lnTo>
                    <a:lnTo>
                      <a:pt x="0" y="307"/>
                    </a:lnTo>
                    <a:lnTo>
                      <a:pt x="0" y="284"/>
                    </a:lnTo>
                    <a:lnTo>
                      <a:pt x="15" y="270"/>
                    </a:lnTo>
                    <a:lnTo>
                      <a:pt x="36" y="270"/>
                    </a:lnTo>
                    <a:lnTo>
                      <a:pt x="43" y="263"/>
                    </a:lnTo>
                    <a:lnTo>
                      <a:pt x="56" y="263"/>
                    </a:lnTo>
                    <a:lnTo>
                      <a:pt x="85" y="247"/>
                    </a:lnTo>
                    <a:lnTo>
                      <a:pt x="93" y="225"/>
                    </a:lnTo>
                    <a:lnTo>
                      <a:pt x="85" y="188"/>
                    </a:lnTo>
                    <a:lnTo>
                      <a:pt x="85" y="179"/>
                    </a:lnTo>
                    <a:lnTo>
                      <a:pt x="107" y="179"/>
                    </a:lnTo>
                    <a:lnTo>
                      <a:pt x="113" y="141"/>
                    </a:lnTo>
                    <a:lnTo>
                      <a:pt x="150" y="141"/>
                    </a:lnTo>
                    <a:lnTo>
                      <a:pt x="157" y="110"/>
                    </a:lnTo>
                    <a:lnTo>
                      <a:pt x="172" y="104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17" name="Freeform 253"/>
              <p:cNvSpPr>
                <a:spLocks/>
              </p:cNvSpPr>
              <p:nvPr/>
            </p:nvSpPr>
            <p:spPr bwMode="auto">
              <a:xfrm>
                <a:off x="4954588" y="1778000"/>
                <a:ext cx="3854450" cy="2079625"/>
              </a:xfrm>
              <a:custGeom>
                <a:avLst/>
                <a:gdLst>
                  <a:gd name="T0" fmla="*/ 1079 w 2195"/>
                  <a:gd name="T1" fmla="*/ 235 h 1190"/>
                  <a:gd name="T2" fmla="*/ 1067 w 2195"/>
                  <a:gd name="T3" fmla="*/ 82 h 1190"/>
                  <a:gd name="T4" fmla="*/ 995 w 2195"/>
                  <a:gd name="T5" fmla="*/ 82 h 1190"/>
                  <a:gd name="T6" fmla="*/ 725 w 2195"/>
                  <a:gd name="T7" fmla="*/ 301 h 1190"/>
                  <a:gd name="T8" fmla="*/ 642 w 2195"/>
                  <a:gd name="T9" fmla="*/ 264 h 1190"/>
                  <a:gd name="T10" fmla="*/ 642 w 2195"/>
                  <a:gd name="T11" fmla="*/ 457 h 1190"/>
                  <a:gd name="T12" fmla="*/ 610 w 2195"/>
                  <a:gd name="T13" fmla="*/ 450 h 1190"/>
                  <a:gd name="T14" fmla="*/ 598 w 2195"/>
                  <a:gd name="T15" fmla="*/ 247 h 1190"/>
                  <a:gd name="T16" fmla="*/ 434 w 2195"/>
                  <a:gd name="T17" fmla="*/ 383 h 1190"/>
                  <a:gd name="T18" fmla="*/ 377 w 2195"/>
                  <a:gd name="T19" fmla="*/ 482 h 1190"/>
                  <a:gd name="T20" fmla="*/ 241 w 2195"/>
                  <a:gd name="T21" fmla="*/ 511 h 1190"/>
                  <a:gd name="T22" fmla="*/ 241 w 2195"/>
                  <a:gd name="T23" fmla="*/ 541 h 1190"/>
                  <a:gd name="T24" fmla="*/ 129 w 2195"/>
                  <a:gd name="T25" fmla="*/ 601 h 1190"/>
                  <a:gd name="T26" fmla="*/ 65 w 2195"/>
                  <a:gd name="T27" fmla="*/ 519 h 1190"/>
                  <a:gd name="T28" fmla="*/ 85 w 2195"/>
                  <a:gd name="T29" fmla="*/ 428 h 1190"/>
                  <a:gd name="T30" fmla="*/ 43 w 2195"/>
                  <a:gd name="T31" fmla="*/ 495 h 1190"/>
                  <a:gd name="T32" fmla="*/ 57 w 2195"/>
                  <a:gd name="T33" fmla="*/ 662 h 1190"/>
                  <a:gd name="T34" fmla="*/ 13 w 2195"/>
                  <a:gd name="T35" fmla="*/ 776 h 1190"/>
                  <a:gd name="T36" fmla="*/ 50 w 2195"/>
                  <a:gd name="T37" fmla="*/ 875 h 1190"/>
                  <a:gd name="T38" fmla="*/ 57 w 2195"/>
                  <a:gd name="T39" fmla="*/ 943 h 1190"/>
                  <a:gd name="T40" fmla="*/ 116 w 2195"/>
                  <a:gd name="T41" fmla="*/ 976 h 1190"/>
                  <a:gd name="T42" fmla="*/ 164 w 2195"/>
                  <a:gd name="T43" fmla="*/ 1047 h 1190"/>
                  <a:gd name="T44" fmla="*/ 157 w 2195"/>
                  <a:gd name="T45" fmla="*/ 1091 h 1190"/>
                  <a:gd name="T46" fmla="*/ 228 w 2195"/>
                  <a:gd name="T47" fmla="*/ 1159 h 1190"/>
                  <a:gd name="T48" fmla="*/ 270 w 2195"/>
                  <a:gd name="T49" fmla="*/ 1143 h 1190"/>
                  <a:gd name="T50" fmla="*/ 291 w 2195"/>
                  <a:gd name="T51" fmla="*/ 1085 h 1190"/>
                  <a:gd name="T52" fmla="*/ 291 w 2195"/>
                  <a:gd name="T53" fmla="*/ 1017 h 1190"/>
                  <a:gd name="T54" fmla="*/ 355 w 2195"/>
                  <a:gd name="T55" fmla="*/ 976 h 1190"/>
                  <a:gd name="T56" fmla="*/ 471 w 2195"/>
                  <a:gd name="T57" fmla="*/ 976 h 1190"/>
                  <a:gd name="T58" fmla="*/ 476 w 2195"/>
                  <a:gd name="T59" fmla="*/ 919 h 1190"/>
                  <a:gd name="T60" fmla="*/ 603 w 2195"/>
                  <a:gd name="T61" fmla="*/ 909 h 1190"/>
                  <a:gd name="T62" fmla="*/ 682 w 2195"/>
                  <a:gd name="T63" fmla="*/ 934 h 1190"/>
                  <a:gd name="T64" fmla="*/ 804 w 2195"/>
                  <a:gd name="T65" fmla="*/ 1023 h 1190"/>
                  <a:gd name="T66" fmla="*/ 953 w 2195"/>
                  <a:gd name="T67" fmla="*/ 1017 h 1190"/>
                  <a:gd name="T68" fmla="*/ 1052 w 2195"/>
                  <a:gd name="T69" fmla="*/ 993 h 1190"/>
                  <a:gd name="T70" fmla="*/ 1243 w 2195"/>
                  <a:gd name="T71" fmla="*/ 1017 h 1190"/>
                  <a:gd name="T72" fmla="*/ 1293 w 2195"/>
                  <a:gd name="T73" fmla="*/ 934 h 1190"/>
                  <a:gd name="T74" fmla="*/ 1401 w 2195"/>
                  <a:gd name="T75" fmla="*/ 1060 h 1190"/>
                  <a:gd name="T76" fmla="*/ 1401 w 2195"/>
                  <a:gd name="T77" fmla="*/ 1122 h 1190"/>
                  <a:gd name="T78" fmla="*/ 1449 w 2195"/>
                  <a:gd name="T79" fmla="*/ 1151 h 1190"/>
                  <a:gd name="T80" fmla="*/ 1484 w 2195"/>
                  <a:gd name="T81" fmla="*/ 934 h 1190"/>
                  <a:gd name="T82" fmla="*/ 1556 w 2195"/>
                  <a:gd name="T83" fmla="*/ 785 h 1190"/>
                  <a:gd name="T84" fmla="*/ 1672 w 2195"/>
                  <a:gd name="T85" fmla="*/ 776 h 1190"/>
                  <a:gd name="T86" fmla="*/ 1749 w 2195"/>
                  <a:gd name="T87" fmla="*/ 709 h 1190"/>
                  <a:gd name="T88" fmla="*/ 1841 w 2195"/>
                  <a:gd name="T89" fmla="*/ 692 h 1190"/>
                  <a:gd name="T90" fmla="*/ 1749 w 2195"/>
                  <a:gd name="T91" fmla="*/ 993 h 1190"/>
                  <a:gd name="T92" fmla="*/ 1828 w 2195"/>
                  <a:gd name="T93" fmla="*/ 865 h 1190"/>
                  <a:gd name="T94" fmla="*/ 1848 w 2195"/>
                  <a:gd name="T95" fmla="*/ 759 h 1190"/>
                  <a:gd name="T96" fmla="*/ 1933 w 2195"/>
                  <a:gd name="T97" fmla="*/ 744 h 1190"/>
                  <a:gd name="T98" fmla="*/ 2025 w 2195"/>
                  <a:gd name="T99" fmla="*/ 601 h 1190"/>
                  <a:gd name="T100" fmla="*/ 2082 w 2195"/>
                  <a:gd name="T101" fmla="*/ 578 h 1190"/>
                  <a:gd name="T102" fmla="*/ 2195 w 2195"/>
                  <a:gd name="T103" fmla="*/ 556 h 1190"/>
                  <a:gd name="T104" fmla="*/ 1920 w 2195"/>
                  <a:gd name="T105" fmla="*/ 457 h 1190"/>
                  <a:gd name="T106" fmla="*/ 1883 w 2195"/>
                  <a:gd name="T107" fmla="*/ 428 h 1190"/>
                  <a:gd name="T108" fmla="*/ 1685 w 2195"/>
                  <a:gd name="T109" fmla="*/ 374 h 1190"/>
                  <a:gd name="T110" fmla="*/ 1508 w 2195"/>
                  <a:gd name="T111" fmla="*/ 309 h 1190"/>
                  <a:gd name="T112" fmla="*/ 1385 w 2195"/>
                  <a:gd name="T113" fmla="*/ 368 h 1190"/>
                  <a:gd name="T114" fmla="*/ 1287 w 2195"/>
                  <a:gd name="T115" fmla="*/ 255 h 1190"/>
                  <a:gd name="T116" fmla="*/ 1117 w 2195"/>
                  <a:gd name="T117" fmla="*/ 218 h 1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195" h="1190">
                    <a:moveTo>
                      <a:pt x="1117" y="218"/>
                    </a:moveTo>
                    <a:lnTo>
                      <a:pt x="1109" y="225"/>
                    </a:lnTo>
                    <a:lnTo>
                      <a:pt x="1117" y="247"/>
                    </a:lnTo>
                    <a:lnTo>
                      <a:pt x="1079" y="264"/>
                    </a:lnTo>
                    <a:lnTo>
                      <a:pt x="1074" y="264"/>
                    </a:lnTo>
                    <a:lnTo>
                      <a:pt x="1079" y="235"/>
                    </a:lnTo>
                    <a:lnTo>
                      <a:pt x="1166" y="151"/>
                    </a:lnTo>
                    <a:lnTo>
                      <a:pt x="1166" y="97"/>
                    </a:lnTo>
                    <a:lnTo>
                      <a:pt x="1137" y="58"/>
                    </a:lnTo>
                    <a:lnTo>
                      <a:pt x="1096" y="58"/>
                    </a:lnTo>
                    <a:lnTo>
                      <a:pt x="1096" y="82"/>
                    </a:lnTo>
                    <a:lnTo>
                      <a:pt x="1067" y="82"/>
                    </a:lnTo>
                    <a:lnTo>
                      <a:pt x="1079" y="45"/>
                    </a:lnTo>
                    <a:lnTo>
                      <a:pt x="1039" y="28"/>
                    </a:lnTo>
                    <a:lnTo>
                      <a:pt x="1067" y="13"/>
                    </a:lnTo>
                    <a:lnTo>
                      <a:pt x="1039" y="0"/>
                    </a:lnTo>
                    <a:lnTo>
                      <a:pt x="995" y="45"/>
                    </a:lnTo>
                    <a:lnTo>
                      <a:pt x="995" y="82"/>
                    </a:lnTo>
                    <a:lnTo>
                      <a:pt x="896" y="97"/>
                    </a:lnTo>
                    <a:lnTo>
                      <a:pt x="826" y="143"/>
                    </a:lnTo>
                    <a:lnTo>
                      <a:pt x="804" y="178"/>
                    </a:lnTo>
                    <a:lnTo>
                      <a:pt x="811" y="225"/>
                    </a:lnTo>
                    <a:lnTo>
                      <a:pt x="719" y="247"/>
                    </a:lnTo>
                    <a:lnTo>
                      <a:pt x="725" y="301"/>
                    </a:lnTo>
                    <a:lnTo>
                      <a:pt x="747" y="329"/>
                    </a:lnTo>
                    <a:lnTo>
                      <a:pt x="734" y="337"/>
                    </a:lnTo>
                    <a:lnTo>
                      <a:pt x="704" y="301"/>
                    </a:lnTo>
                    <a:lnTo>
                      <a:pt x="682" y="294"/>
                    </a:lnTo>
                    <a:lnTo>
                      <a:pt x="675" y="301"/>
                    </a:lnTo>
                    <a:lnTo>
                      <a:pt x="642" y="264"/>
                    </a:lnTo>
                    <a:lnTo>
                      <a:pt x="647" y="301"/>
                    </a:lnTo>
                    <a:lnTo>
                      <a:pt x="625" y="344"/>
                    </a:lnTo>
                    <a:lnTo>
                      <a:pt x="642" y="383"/>
                    </a:lnTo>
                    <a:lnTo>
                      <a:pt x="632" y="420"/>
                    </a:lnTo>
                    <a:lnTo>
                      <a:pt x="632" y="450"/>
                    </a:lnTo>
                    <a:lnTo>
                      <a:pt x="642" y="457"/>
                    </a:lnTo>
                    <a:lnTo>
                      <a:pt x="647" y="504"/>
                    </a:lnTo>
                    <a:lnTo>
                      <a:pt x="598" y="549"/>
                    </a:lnTo>
                    <a:lnTo>
                      <a:pt x="590" y="541"/>
                    </a:lnTo>
                    <a:lnTo>
                      <a:pt x="625" y="495"/>
                    </a:lnTo>
                    <a:lnTo>
                      <a:pt x="632" y="465"/>
                    </a:lnTo>
                    <a:lnTo>
                      <a:pt x="610" y="450"/>
                    </a:lnTo>
                    <a:lnTo>
                      <a:pt x="610" y="353"/>
                    </a:lnTo>
                    <a:lnTo>
                      <a:pt x="603" y="337"/>
                    </a:lnTo>
                    <a:lnTo>
                      <a:pt x="610" y="279"/>
                    </a:lnTo>
                    <a:lnTo>
                      <a:pt x="598" y="272"/>
                    </a:lnTo>
                    <a:lnTo>
                      <a:pt x="603" y="264"/>
                    </a:lnTo>
                    <a:lnTo>
                      <a:pt x="598" y="247"/>
                    </a:lnTo>
                    <a:lnTo>
                      <a:pt x="583" y="255"/>
                    </a:lnTo>
                    <a:lnTo>
                      <a:pt x="539" y="374"/>
                    </a:lnTo>
                    <a:lnTo>
                      <a:pt x="539" y="420"/>
                    </a:lnTo>
                    <a:lnTo>
                      <a:pt x="561" y="457"/>
                    </a:lnTo>
                    <a:lnTo>
                      <a:pt x="561" y="474"/>
                    </a:lnTo>
                    <a:lnTo>
                      <a:pt x="434" y="383"/>
                    </a:lnTo>
                    <a:lnTo>
                      <a:pt x="429" y="400"/>
                    </a:lnTo>
                    <a:lnTo>
                      <a:pt x="462" y="450"/>
                    </a:lnTo>
                    <a:lnTo>
                      <a:pt x="441" y="457"/>
                    </a:lnTo>
                    <a:lnTo>
                      <a:pt x="434" y="450"/>
                    </a:lnTo>
                    <a:lnTo>
                      <a:pt x="384" y="465"/>
                    </a:lnTo>
                    <a:lnTo>
                      <a:pt x="377" y="482"/>
                    </a:lnTo>
                    <a:lnTo>
                      <a:pt x="370" y="465"/>
                    </a:lnTo>
                    <a:lnTo>
                      <a:pt x="370" y="450"/>
                    </a:lnTo>
                    <a:lnTo>
                      <a:pt x="285" y="504"/>
                    </a:lnTo>
                    <a:lnTo>
                      <a:pt x="285" y="519"/>
                    </a:lnTo>
                    <a:lnTo>
                      <a:pt x="263" y="532"/>
                    </a:lnTo>
                    <a:lnTo>
                      <a:pt x="241" y="511"/>
                    </a:lnTo>
                    <a:lnTo>
                      <a:pt x="263" y="495"/>
                    </a:lnTo>
                    <a:lnTo>
                      <a:pt x="255" y="465"/>
                    </a:lnTo>
                    <a:lnTo>
                      <a:pt x="223" y="457"/>
                    </a:lnTo>
                    <a:lnTo>
                      <a:pt x="228" y="474"/>
                    </a:lnTo>
                    <a:lnTo>
                      <a:pt x="228" y="519"/>
                    </a:lnTo>
                    <a:lnTo>
                      <a:pt x="241" y="541"/>
                    </a:lnTo>
                    <a:lnTo>
                      <a:pt x="228" y="556"/>
                    </a:lnTo>
                    <a:lnTo>
                      <a:pt x="206" y="549"/>
                    </a:lnTo>
                    <a:lnTo>
                      <a:pt x="171" y="578"/>
                    </a:lnTo>
                    <a:lnTo>
                      <a:pt x="186" y="618"/>
                    </a:lnTo>
                    <a:lnTo>
                      <a:pt x="136" y="595"/>
                    </a:lnTo>
                    <a:lnTo>
                      <a:pt x="129" y="601"/>
                    </a:lnTo>
                    <a:lnTo>
                      <a:pt x="142" y="633"/>
                    </a:lnTo>
                    <a:lnTo>
                      <a:pt x="129" y="633"/>
                    </a:lnTo>
                    <a:lnTo>
                      <a:pt x="100" y="618"/>
                    </a:lnTo>
                    <a:lnTo>
                      <a:pt x="100" y="556"/>
                    </a:lnTo>
                    <a:lnTo>
                      <a:pt x="79" y="541"/>
                    </a:lnTo>
                    <a:lnTo>
                      <a:pt x="65" y="519"/>
                    </a:lnTo>
                    <a:lnTo>
                      <a:pt x="85" y="532"/>
                    </a:lnTo>
                    <a:lnTo>
                      <a:pt x="157" y="556"/>
                    </a:lnTo>
                    <a:lnTo>
                      <a:pt x="199" y="532"/>
                    </a:lnTo>
                    <a:lnTo>
                      <a:pt x="186" y="504"/>
                    </a:lnTo>
                    <a:lnTo>
                      <a:pt x="136" y="450"/>
                    </a:lnTo>
                    <a:lnTo>
                      <a:pt x="85" y="428"/>
                    </a:lnTo>
                    <a:lnTo>
                      <a:pt x="85" y="420"/>
                    </a:lnTo>
                    <a:lnTo>
                      <a:pt x="65" y="411"/>
                    </a:lnTo>
                    <a:lnTo>
                      <a:pt x="50" y="420"/>
                    </a:lnTo>
                    <a:lnTo>
                      <a:pt x="20" y="450"/>
                    </a:lnTo>
                    <a:lnTo>
                      <a:pt x="20" y="474"/>
                    </a:lnTo>
                    <a:lnTo>
                      <a:pt x="43" y="495"/>
                    </a:lnTo>
                    <a:lnTo>
                      <a:pt x="35" y="519"/>
                    </a:lnTo>
                    <a:lnTo>
                      <a:pt x="43" y="569"/>
                    </a:lnTo>
                    <a:lnTo>
                      <a:pt x="35" y="595"/>
                    </a:lnTo>
                    <a:lnTo>
                      <a:pt x="50" y="625"/>
                    </a:lnTo>
                    <a:lnTo>
                      <a:pt x="43" y="640"/>
                    </a:lnTo>
                    <a:lnTo>
                      <a:pt x="57" y="662"/>
                    </a:lnTo>
                    <a:lnTo>
                      <a:pt x="57" y="669"/>
                    </a:lnTo>
                    <a:lnTo>
                      <a:pt x="35" y="716"/>
                    </a:lnTo>
                    <a:lnTo>
                      <a:pt x="10" y="736"/>
                    </a:lnTo>
                    <a:lnTo>
                      <a:pt x="13" y="736"/>
                    </a:lnTo>
                    <a:lnTo>
                      <a:pt x="35" y="754"/>
                    </a:lnTo>
                    <a:lnTo>
                      <a:pt x="13" y="776"/>
                    </a:lnTo>
                    <a:lnTo>
                      <a:pt x="10" y="785"/>
                    </a:lnTo>
                    <a:lnTo>
                      <a:pt x="0" y="785"/>
                    </a:lnTo>
                    <a:lnTo>
                      <a:pt x="10" y="812"/>
                    </a:lnTo>
                    <a:lnTo>
                      <a:pt x="13" y="859"/>
                    </a:lnTo>
                    <a:lnTo>
                      <a:pt x="43" y="865"/>
                    </a:lnTo>
                    <a:lnTo>
                      <a:pt x="50" y="875"/>
                    </a:lnTo>
                    <a:lnTo>
                      <a:pt x="50" y="897"/>
                    </a:lnTo>
                    <a:lnTo>
                      <a:pt x="65" y="919"/>
                    </a:lnTo>
                    <a:lnTo>
                      <a:pt x="79" y="919"/>
                    </a:lnTo>
                    <a:lnTo>
                      <a:pt x="65" y="943"/>
                    </a:lnTo>
                    <a:lnTo>
                      <a:pt x="57" y="934"/>
                    </a:lnTo>
                    <a:lnTo>
                      <a:pt x="57" y="943"/>
                    </a:lnTo>
                    <a:lnTo>
                      <a:pt x="65" y="956"/>
                    </a:lnTo>
                    <a:lnTo>
                      <a:pt x="92" y="956"/>
                    </a:lnTo>
                    <a:lnTo>
                      <a:pt x="100" y="963"/>
                    </a:lnTo>
                    <a:lnTo>
                      <a:pt x="92" y="963"/>
                    </a:lnTo>
                    <a:lnTo>
                      <a:pt x="100" y="976"/>
                    </a:lnTo>
                    <a:lnTo>
                      <a:pt x="116" y="976"/>
                    </a:lnTo>
                    <a:lnTo>
                      <a:pt x="121" y="993"/>
                    </a:lnTo>
                    <a:lnTo>
                      <a:pt x="129" y="1001"/>
                    </a:lnTo>
                    <a:lnTo>
                      <a:pt x="136" y="993"/>
                    </a:lnTo>
                    <a:lnTo>
                      <a:pt x="177" y="1023"/>
                    </a:lnTo>
                    <a:lnTo>
                      <a:pt x="171" y="1060"/>
                    </a:lnTo>
                    <a:lnTo>
                      <a:pt x="164" y="1047"/>
                    </a:lnTo>
                    <a:lnTo>
                      <a:pt x="157" y="1060"/>
                    </a:lnTo>
                    <a:lnTo>
                      <a:pt x="157" y="1077"/>
                    </a:lnTo>
                    <a:lnTo>
                      <a:pt x="164" y="1067"/>
                    </a:lnTo>
                    <a:lnTo>
                      <a:pt x="171" y="1077"/>
                    </a:lnTo>
                    <a:lnTo>
                      <a:pt x="142" y="1085"/>
                    </a:lnTo>
                    <a:lnTo>
                      <a:pt x="157" y="1091"/>
                    </a:lnTo>
                    <a:lnTo>
                      <a:pt x="136" y="1114"/>
                    </a:lnTo>
                    <a:lnTo>
                      <a:pt x="129" y="1114"/>
                    </a:lnTo>
                    <a:lnTo>
                      <a:pt x="136" y="1114"/>
                    </a:lnTo>
                    <a:lnTo>
                      <a:pt x="171" y="1151"/>
                    </a:lnTo>
                    <a:lnTo>
                      <a:pt x="213" y="1151"/>
                    </a:lnTo>
                    <a:lnTo>
                      <a:pt x="228" y="1159"/>
                    </a:lnTo>
                    <a:lnTo>
                      <a:pt x="248" y="1159"/>
                    </a:lnTo>
                    <a:lnTo>
                      <a:pt x="270" y="1190"/>
                    </a:lnTo>
                    <a:lnTo>
                      <a:pt x="285" y="1190"/>
                    </a:lnTo>
                    <a:lnTo>
                      <a:pt x="291" y="1181"/>
                    </a:lnTo>
                    <a:lnTo>
                      <a:pt x="270" y="1159"/>
                    </a:lnTo>
                    <a:lnTo>
                      <a:pt x="270" y="1143"/>
                    </a:lnTo>
                    <a:lnTo>
                      <a:pt x="263" y="1122"/>
                    </a:lnTo>
                    <a:lnTo>
                      <a:pt x="285" y="1091"/>
                    </a:lnTo>
                    <a:lnTo>
                      <a:pt x="291" y="1107"/>
                    </a:lnTo>
                    <a:lnTo>
                      <a:pt x="298" y="1091"/>
                    </a:lnTo>
                    <a:lnTo>
                      <a:pt x="298" y="1085"/>
                    </a:lnTo>
                    <a:lnTo>
                      <a:pt x="291" y="1085"/>
                    </a:lnTo>
                    <a:lnTo>
                      <a:pt x="298" y="1077"/>
                    </a:lnTo>
                    <a:lnTo>
                      <a:pt x="291" y="1060"/>
                    </a:lnTo>
                    <a:lnTo>
                      <a:pt x="270" y="1060"/>
                    </a:lnTo>
                    <a:lnTo>
                      <a:pt x="263" y="1038"/>
                    </a:lnTo>
                    <a:lnTo>
                      <a:pt x="270" y="993"/>
                    </a:lnTo>
                    <a:lnTo>
                      <a:pt x="291" y="1017"/>
                    </a:lnTo>
                    <a:lnTo>
                      <a:pt x="298" y="1017"/>
                    </a:lnTo>
                    <a:lnTo>
                      <a:pt x="291" y="993"/>
                    </a:lnTo>
                    <a:lnTo>
                      <a:pt x="312" y="963"/>
                    </a:lnTo>
                    <a:lnTo>
                      <a:pt x="333" y="976"/>
                    </a:lnTo>
                    <a:lnTo>
                      <a:pt x="342" y="963"/>
                    </a:lnTo>
                    <a:lnTo>
                      <a:pt x="355" y="976"/>
                    </a:lnTo>
                    <a:lnTo>
                      <a:pt x="384" y="993"/>
                    </a:lnTo>
                    <a:lnTo>
                      <a:pt x="399" y="985"/>
                    </a:lnTo>
                    <a:lnTo>
                      <a:pt x="419" y="985"/>
                    </a:lnTo>
                    <a:lnTo>
                      <a:pt x="429" y="993"/>
                    </a:lnTo>
                    <a:lnTo>
                      <a:pt x="462" y="993"/>
                    </a:lnTo>
                    <a:lnTo>
                      <a:pt x="471" y="976"/>
                    </a:lnTo>
                    <a:lnTo>
                      <a:pt x="441" y="963"/>
                    </a:lnTo>
                    <a:lnTo>
                      <a:pt x="462" y="956"/>
                    </a:lnTo>
                    <a:lnTo>
                      <a:pt x="456" y="949"/>
                    </a:lnTo>
                    <a:lnTo>
                      <a:pt x="462" y="943"/>
                    </a:lnTo>
                    <a:lnTo>
                      <a:pt x="462" y="909"/>
                    </a:lnTo>
                    <a:lnTo>
                      <a:pt x="476" y="919"/>
                    </a:lnTo>
                    <a:lnTo>
                      <a:pt x="556" y="897"/>
                    </a:lnTo>
                    <a:lnTo>
                      <a:pt x="556" y="880"/>
                    </a:lnTo>
                    <a:lnTo>
                      <a:pt x="590" y="880"/>
                    </a:lnTo>
                    <a:lnTo>
                      <a:pt x="598" y="904"/>
                    </a:lnTo>
                    <a:lnTo>
                      <a:pt x="598" y="909"/>
                    </a:lnTo>
                    <a:lnTo>
                      <a:pt x="603" y="909"/>
                    </a:lnTo>
                    <a:lnTo>
                      <a:pt x="625" y="919"/>
                    </a:lnTo>
                    <a:lnTo>
                      <a:pt x="625" y="934"/>
                    </a:lnTo>
                    <a:lnTo>
                      <a:pt x="642" y="934"/>
                    </a:lnTo>
                    <a:lnTo>
                      <a:pt x="653" y="909"/>
                    </a:lnTo>
                    <a:lnTo>
                      <a:pt x="675" y="904"/>
                    </a:lnTo>
                    <a:lnTo>
                      <a:pt x="682" y="934"/>
                    </a:lnTo>
                    <a:lnTo>
                      <a:pt x="719" y="993"/>
                    </a:lnTo>
                    <a:lnTo>
                      <a:pt x="725" y="976"/>
                    </a:lnTo>
                    <a:lnTo>
                      <a:pt x="734" y="993"/>
                    </a:lnTo>
                    <a:lnTo>
                      <a:pt x="761" y="985"/>
                    </a:lnTo>
                    <a:lnTo>
                      <a:pt x="782" y="1017"/>
                    </a:lnTo>
                    <a:lnTo>
                      <a:pt x="804" y="1023"/>
                    </a:lnTo>
                    <a:lnTo>
                      <a:pt x="804" y="1017"/>
                    </a:lnTo>
                    <a:lnTo>
                      <a:pt x="817" y="1032"/>
                    </a:lnTo>
                    <a:lnTo>
                      <a:pt x="866" y="993"/>
                    </a:lnTo>
                    <a:lnTo>
                      <a:pt x="903" y="1001"/>
                    </a:lnTo>
                    <a:lnTo>
                      <a:pt x="918" y="1017"/>
                    </a:lnTo>
                    <a:lnTo>
                      <a:pt x="953" y="1017"/>
                    </a:lnTo>
                    <a:lnTo>
                      <a:pt x="953" y="976"/>
                    </a:lnTo>
                    <a:lnTo>
                      <a:pt x="973" y="963"/>
                    </a:lnTo>
                    <a:lnTo>
                      <a:pt x="1010" y="976"/>
                    </a:lnTo>
                    <a:lnTo>
                      <a:pt x="1024" y="1001"/>
                    </a:lnTo>
                    <a:lnTo>
                      <a:pt x="1030" y="1001"/>
                    </a:lnTo>
                    <a:lnTo>
                      <a:pt x="1052" y="993"/>
                    </a:lnTo>
                    <a:lnTo>
                      <a:pt x="1121" y="1032"/>
                    </a:lnTo>
                    <a:lnTo>
                      <a:pt x="1159" y="1023"/>
                    </a:lnTo>
                    <a:lnTo>
                      <a:pt x="1179" y="1001"/>
                    </a:lnTo>
                    <a:lnTo>
                      <a:pt x="1201" y="1017"/>
                    </a:lnTo>
                    <a:lnTo>
                      <a:pt x="1223" y="1023"/>
                    </a:lnTo>
                    <a:lnTo>
                      <a:pt x="1243" y="1017"/>
                    </a:lnTo>
                    <a:lnTo>
                      <a:pt x="1250" y="976"/>
                    </a:lnTo>
                    <a:lnTo>
                      <a:pt x="1265" y="963"/>
                    </a:lnTo>
                    <a:lnTo>
                      <a:pt x="1265" y="956"/>
                    </a:lnTo>
                    <a:lnTo>
                      <a:pt x="1250" y="956"/>
                    </a:lnTo>
                    <a:lnTo>
                      <a:pt x="1265" y="943"/>
                    </a:lnTo>
                    <a:lnTo>
                      <a:pt x="1293" y="934"/>
                    </a:lnTo>
                    <a:lnTo>
                      <a:pt x="1322" y="943"/>
                    </a:lnTo>
                    <a:lnTo>
                      <a:pt x="1337" y="956"/>
                    </a:lnTo>
                    <a:lnTo>
                      <a:pt x="1355" y="1023"/>
                    </a:lnTo>
                    <a:lnTo>
                      <a:pt x="1372" y="1023"/>
                    </a:lnTo>
                    <a:lnTo>
                      <a:pt x="1401" y="1038"/>
                    </a:lnTo>
                    <a:lnTo>
                      <a:pt x="1401" y="1060"/>
                    </a:lnTo>
                    <a:lnTo>
                      <a:pt x="1414" y="1060"/>
                    </a:lnTo>
                    <a:lnTo>
                      <a:pt x="1449" y="1047"/>
                    </a:lnTo>
                    <a:lnTo>
                      <a:pt x="1449" y="1067"/>
                    </a:lnTo>
                    <a:lnTo>
                      <a:pt x="1421" y="1122"/>
                    </a:lnTo>
                    <a:lnTo>
                      <a:pt x="1414" y="1114"/>
                    </a:lnTo>
                    <a:lnTo>
                      <a:pt x="1401" y="1122"/>
                    </a:lnTo>
                    <a:lnTo>
                      <a:pt x="1401" y="1168"/>
                    </a:lnTo>
                    <a:lnTo>
                      <a:pt x="1406" y="1151"/>
                    </a:lnTo>
                    <a:lnTo>
                      <a:pt x="1414" y="1151"/>
                    </a:lnTo>
                    <a:lnTo>
                      <a:pt x="1414" y="1159"/>
                    </a:lnTo>
                    <a:lnTo>
                      <a:pt x="1421" y="1168"/>
                    </a:lnTo>
                    <a:lnTo>
                      <a:pt x="1449" y="1151"/>
                    </a:lnTo>
                    <a:lnTo>
                      <a:pt x="1530" y="1047"/>
                    </a:lnTo>
                    <a:lnTo>
                      <a:pt x="1535" y="943"/>
                    </a:lnTo>
                    <a:lnTo>
                      <a:pt x="1513" y="909"/>
                    </a:lnTo>
                    <a:lnTo>
                      <a:pt x="1508" y="909"/>
                    </a:lnTo>
                    <a:lnTo>
                      <a:pt x="1498" y="934"/>
                    </a:lnTo>
                    <a:lnTo>
                      <a:pt x="1484" y="934"/>
                    </a:lnTo>
                    <a:lnTo>
                      <a:pt x="1493" y="909"/>
                    </a:lnTo>
                    <a:lnTo>
                      <a:pt x="1484" y="909"/>
                    </a:lnTo>
                    <a:lnTo>
                      <a:pt x="1471" y="904"/>
                    </a:lnTo>
                    <a:lnTo>
                      <a:pt x="1457" y="904"/>
                    </a:lnTo>
                    <a:lnTo>
                      <a:pt x="1457" y="897"/>
                    </a:lnTo>
                    <a:lnTo>
                      <a:pt x="1556" y="785"/>
                    </a:lnTo>
                    <a:lnTo>
                      <a:pt x="1592" y="776"/>
                    </a:lnTo>
                    <a:lnTo>
                      <a:pt x="1600" y="785"/>
                    </a:lnTo>
                    <a:lnTo>
                      <a:pt x="1615" y="776"/>
                    </a:lnTo>
                    <a:lnTo>
                      <a:pt x="1633" y="785"/>
                    </a:lnTo>
                    <a:lnTo>
                      <a:pt x="1642" y="759"/>
                    </a:lnTo>
                    <a:lnTo>
                      <a:pt x="1672" y="776"/>
                    </a:lnTo>
                    <a:lnTo>
                      <a:pt x="1679" y="776"/>
                    </a:lnTo>
                    <a:lnTo>
                      <a:pt x="1672" y="785"/>
                    </a:lnTo>
                    <a:lnTo>
                      <a:pt x="1672" y="790"/>
                    </a:lnTo>
                    <a:lnTo>
                      <a:pt x="1721" y="785"/>
                    </a:lnTo>
                    <a:lnTo>
                      <a:pt x="1712" y="776"/>
                    </a:lnTo>
                    <a:lnTo>
                      <a:pt x="1749" y="709"/>
                    </a:lnTo>
                    <a:lnTo>
                      <a:pt x="1793" y="699"/>
                    </a:lnTo>
                    <a:lnTo>
                      <a:pt x="1793" y="736"/>
                    </a:lnTo>
                    <a:lnTo>
                      <a:pt x="1834" y="709"/>
                    </a:lnTo>
                    <a:lnTo>
                      <a:pt x="1834" y="675"/>
                    </a:lnTo>
                    <a:lnTo>
                      <a:pt x="1848" y="675"/>
                    </a:lnTo>
                    <a:lnTo>
                      <a:pt x="1841" y="692"/>
                    </a:lnTo>
                    <a:lnTo>
                      <a:pt x="1834" y="736"/>
                    </a:lnTo>
                    <a:lnTo>
                      <a:pt x="1821" y="744"/>
                    </a:lnTo>
                    <a:lnTo>
                      <a:pt x="1764" y="812"/>
                    </a:lnTo>
                    <a:lnTo>
                      <a:pt x="1749" y="822"/>
                    </a:lnTo>
                    <a:lnTo>
                      <a:pt x="1727" y="880"/>
                    </a:lnTo>
                    <a:lnTo>
                      <a:pt x="1749" y="993"/>
                    </a:lnTo>
                    <a:lnTo>
                      <a:pt x="1793" y="943"/>
                    </a:lnTo>
                    <a:lnTo>
                      <a:pt x="1793" y="909"/>
                    </a:lnTo>
                    <a:lnTo>
                      <a:pt x="1798" y="909"/>
                    </a:lnTo>
                    <a:lnTo>
                      <a:pt x="1821" y="904"/>
                    </a:lnTo>
                    <a:lnTo>
                      <a:pt x="1821" y="875"/>
                    </a:lnTo>
                    <a:lnTo>
                      <a:pt x="1828" y="865"/>
                    </a:lnTo>
                    <a:lnTo>
                      <a:pt x="1834" y="865"/>
                    </a:lnTo>
                    <a:lnTo>
                      <a:pt x="1834" y="828"/>
                    </a:lnTo>
                    <a:lnTo>
                      <a:pt x="1821" y="812"/>
                    </a:lnTo>
                    <a:lnTo>
                      <a:pt x="1834" y="785"/>
                    </a:lnTo>
                    <a:lnTo>
                      <a:pt x="1834" y="759"/>
                    </a:lnTo>
                    <a:lnTo>
                      <a:pt x="1848" y="759"/>
                    </a:lnTo>
                    <a:lnTo>
                      <a:pt x="1876" y="744"/>
                    </a:lnTo>
                    <a:lnTo>
                      <a:pt x="1876" y="759"/>
                    </a:lnTo>
                    <a:lnTo>
                      <a:pt x="1883" y="754"/>
                    </a:lnTo>
                    <a:lnTo>
                      <a:pt x="1912" y="744"/>
                    </a:lnTo>
                    <a:lnTo>
                      <a:pt x="1927" y="759"/>
                    </a:lnTo>
                    <a:lnTo>
                      <a:pt x="1933" y="744"/>
                    </a:lnTo>
                    <a:lnTo>
                      <a:pt x="2020" y="675"/>
                    </a:lnTo>
                    <a:lnTo>
                      <a:pt x="2047" y="692"/>
                    </a:lnTo>
                    <a:lnTo>
                      <a:pt x="2056" y="675"/>
                    </a:lnTo>
                    <a:lnTo>
                      <a:pt x="2042" y="625"/>
                    </a:lnTo>
                    <a:lnTo>
                      <a:pt x="2025" y="625"/>
                    </a:lnTo>
                    <a:lnTo>
                      <a:pt x="2025" y="601"/>
                    </a:lnTo>
                    <a:lnTo>
                      <a:pt x="2042" y="601"/>
                    </a:lnTo>
                    <a:lnTo>
                      <a:pt x="2056" y="595"/>
                    </a:lnTo>
                    <a:lnTo>
                      <a:pt x="2069" y="578"/>
                    </a:lnTo>
                    <a:lnTo>
                      <a:pt x="2062" y="556"/>
                    </a:lnTo>
                    <a:lnTo>
                      <a:pt x="2069" y="549"/>
                    </a:lnTo>
                    <a:lnTo>
                      <a:pt x="2082" y="578"/>
                    </a:lnTo>
                    <a:lnTo>
                      <a:pt x="2096" y="578"/>
                    </a:lnTo>
                    <a:lnTo>
                      <a:pt x="2151" y="625"/>
                    </a:lnTo>
                    <a:lnTo>
                      <a:pt x="2168" y="595"/>
                    </a:lnTo>
                    <a:lnTo>
                      <a:pt x="2168" y="578"/>
                    </a:lnTo>
                    <a:lnTo>
                      <a:pt x="2180" y="578"/>
                    </a:lnTo>
                    <a:lnTo>
                      <a:pt x="2195" y="556"/>
                    </a:lnTo>
                    <a:lnTo>
                      <a:pt x="2173" y="532"/>
                    </a:lnTo>
                    <a:lnTo>
                      <a:pt x="2131" y="519"/>
                    </a:lnTo>
                    <a:lnTo>
                      <a:pt x="2007" y="411"/>
                    </a:lnTo>
                    <a:lnTo>
                      <a:pt x="1933" y="400"/>
                    </a:lnTo>
                    <a:lnTo>
                      <a:pt x="1933" y="450"/>
                    </a:lnTo>
                    <a:lnTo>
                      <a:pt x="1920" y="457"/>
                    </a:lnTo>
                    <a:lnTo>
                      <a:pt x="1903" y="435"/>
                    </a:lnTo>
                    <a:lnTo>
                      <a:pt x="1903" y="420"/>
                    </a:lnTo>
                    <a:lnTo>
                      <a:pt x="1912" y="420"/>
                    </a:lnTo>
                    <a:lnTo>
                      <a:pt x="1920" y="411"/>
                    </a:lnTo>
                    <a:lnTo>
                      <a:pt x="1903" y="411"/>
                    </a:lnTo>
                    <a:lnTo>
                      <a:pt x="1883" y="428"/>
                    </a:lnTo>
                    <a:lnTo>
                      <a:pt x="1798" y="420"/>
                    </a:lnTo>
                    <a:lnTo>
                      <a:pt x="1784" y="411"/>
                    </a:lnTo>
                    <a:lnTo>
                      <a:pt x="1793" y="391"/>
                    </a:lnTo>
                    <a:lnTo>
                      <a:pt x="1776" y="368"/>
                    </a:lnTo>
                    <a:lnTo>
                      <a:pt x="1742" y="353"/>
                    </a:lnTo>
                    <a:lnTo>
                      <a:pt x="1685" y="374"/>
                    </a:lnTo>
                    <a:lnTo>
                      <a:pt x="1679" y="344"/>
                    </a:lnTo>
                    <a:lnTo>
                      <a:pt x="1664" y="344"/>
                    </a:lnTo>
                    <a:lnTo>
                      <a:pt x="1657" y="337"/>
                    </a:lnTo>
                    <a:lnTo>
                      <a:pt x="1657" y="309"/>
                    </a:lnTo>
                    <a:lnTo>
                      <a:pt x="1530" y="272"/>
                    </a:lnTo>
                    <a:lnTo>
                      <a:pt x="1508" y="309"/>
                    </a:lnTo>
                    <a:lnTo>
                      <a:pt x="1530" y="337"/>
                    </a:lnTo>
                    <a:lnTo>
                      <a:pt x="1463" y="337"/>
                    </a:lnTo>
                    <a:lnTo>
                      <a:pt x="1449" y="344"/>
                    </a:lnTo>
                    <a:lnTo>
                      <a:pt x="1421" y="326"/>
                    </a:lnTo>
                    <a:lnTo>
                      <a:pt x="1406" y="374"/>
                    </a:lnTo>
                    <a:lnTo>
                      <a:pt x="1385" y="368"/>
                    </a:lnTo>
                    <a:lnTo>
                      <a:pt x="1372" y="329"/>
                    </a:lnTo>
                    <a:lnTo>
                      <a:pt x="1379" y="279"/>
                    </a:lnTo>
                    <a:lnTo>
                      <a:pt x="1364" y="255"/>
                    </a:lnTo>
                    <a:lnTo>
                      <a:pt x="1315" y="235"/>
                    </a:lnTo>
                    <a:lnTo>
                      <a:pt x="1293" y="235"/>
                    </a:lnTo>
                    <a:lnTo>
                      <a:pt x="1287" y="255"/>
                    </a:lnTo>
                    <a:lnTo>
                      <a:pt x="1293" y="272"/>
                    </a:lnTo>
                    <a:lnTo>
                      <a:pt x="1228" y="264"/>
                    </a:lnTo>
                    <a:lnTo>
                      <a:pt x="1236" y="235"/>
                    </a:lnTo>
                    <a:lnTo>
                      <a:pt x="1193" y="225"/>
                    </a:lnTo>
                    <a:lnTo>
                      <a:pt x="1166" y="247"/>
                    </a:lnTo>
                    <a:lnTo>
                      <a:pt x="1117" y="218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18" name="Freeform 254"/>
              <p:cNvSpPr>
                <a:spLocks/>
              </p:cNvSpPr>
              <p:nvPr/>
            </p:nvSpPr>
            <p:spPr bwMode="auto">
              <a:xfrm>
                <a:off x="6257925" y="4322763"/>
                <a:ext cx="419100" cy="285750"/>
              </a:xfrm>
              <a:custGeom>
                <a:avLst/>
                <a:gdLst>
                  <a:gd name="T0" fmla="*/ 146 w 238"/>
                  <a:gd name="T1" fmla="*/ 163 h 163"/>
                  <a:gd name="T2" fmla="*/ 158 w 238"/>
                  <a:gd name="T3" fmla="*/ 163 h 163"/>
                  <a:gd name="T4" fmla="*/ 166 w 238"/>
                  <a:gd name="T5" fmla="*/ 150 h 163"/>
                  <a:gd name="T6" fmla="*/ 166 w 238"/>
                  <a:gd name="T7" fmla="*/ 126 h 163"/>
                  <a:gd name="T8" fmla="*/ 158 w 238"/>
                  <a:gd name="T9" fmla="*/ 119 h 163"/>
                  <a:gd name="T10" fmla="*/ 174 w 238"/>
                  <a:gd name="T11" fmla="*/ 119 h 163"/>
                  <a:gd name="T12" fmla="*/ 181 w 238"/>
                  <a:gd name="T13" fmla="*/ 96 h 163"/>
                  <a:gd name="T14" fmla="*/ 181 w 238"/>
                  <a:gd name="T15" fmla="*/ 89 h 163"/>
                  <a:gd name="T16" fmla="*/ 201 w 238"/>
                  <a:gd name="T17" fmla="*/ 89 h 163"/>
                  <a:gd name="T18" fmla="*/ 201 w 238"/>
                  <a:gd name="T19" fmla="*/ 96 h 163"/>
                  <a:gd name="T20" fmla="*/ 216 w 238"/>
                  <a:gd name="T21" fmla="*/ 96 h 163"/>
                  <a:gd name="T22" fmla="*/ 238 w 238"/>
                  <a:gd name="T23" fmla="*/ 89 h 163"/>
                  <a:gd name="T24" fmla="*/ 216 w 238"/>
                  <a:gd name="T25" fmla="*/ 82 h 163"/>
                  <a:gd name="T26" fmla="*/ 194 w 238"/>
                  <a:gd name="T27" fmla="*/ 82 h 163"/>
                  <a:gd name="T28" fmla="*/ 210 w 238"/>
                  <a:gd name="T29" fmla="*/ 60 h 163"/>
                  <a:gd name="T30" fmla="*/ 201 w 238"/>
                  <a:gd name="T31" fmla="*/ 60 h 163"/>
                  <a:gd name="T32" fmla="*/ 174 w 238"/>
                  <a:gd name="T33" fmla="*/ 89 h 163"/>
                  <a:gd name="T34" fmla="*/ 166 w 238"/>
                  <a:gd name="T35" fmla="*/ 82 h 163"/>
                  <a:gd name="T36" fmla="*/ 153 w 238"/>
                  <a:gd name="T37" fmla="*/ 82 h 163"/>
                  <a:gd name="T38" fmla="*/ 153 w 238"/>
                  <a:gd name="T39" fmla="*/ 76 h 163"/>
                  <a:gd name="T40" fmla="*/ 146 w 238"/>
                  <a:gd name="T41" fmla="*/ 76 h 163"/>
                  <a:gd name="T42" fmla="*/ 146 w 238"/>
                  <a:gd name="T43" fmla="*/ 52 h 163"/>
                  <a:gd name="T44" fmla="*/ 122 w 238"/>
                  <a:gd name="T45" fmla="*/ 35 h 163"/>
                  <a:gd name="T46" fmla="*/ 81 w 238"/>
                  <a:gd name="T47" fmla="*/ 35 h 163"/>
                  <a:gd name="T48" fmla="*/ 50 w 238"/>
                  <a:gd name="T49" fmla="*/ 7 h 163"/>
                  <a:gd name="T50" fmla="*/ 37 w 238"/>
                  <a:gd name="T51" fmla="*/ 0 h 163"/>
                  <a:gd name="T52" fmla="*/ 0 w 238"/>
                  <a:gd name="T53" fmla="*/ 7 h 163"/>
                  <a:gd name="T54" fmla="*/ 0 w 238"/>
                  <a:gd name="T55" fmla="*/ 82 h 163"/>
                  <a:gd name="T56" fmla="*/ 8 w 238"/>
                  <a:gd name="T57" fmla="*/ 82 h 163"/>
                  <a:gd name="T58" fmla="*/ 8 w 238"/>
                  <a:gd name="T59" fmla="*/ 76 h 163"/>
                  <a:gd name="T60" fmla="*/ 29 w 238"/>
                  <a:gd name="T61" fmla="*/ 60 h 163"/>
                  <a:gd name="T62" fmla="*/ 37 w 238"/>
                  <a:gd name="T63" fmla="*/ 60 h 163"/>
                  <a:gd name="T64" fmla="*/ 29 w 238"/>
                  <a:gd name="T65" fmla="*/ 52 h 163"/>
                  <a:gd name="T66" fmla="*/ 37 w 238"/>
                  <a:gd name="T67" fmla="*/ 52 h 163"/>
                  <a:gd name="T68" fmla="*/ 50 w 238"/>
                  <a:gd name="T69" fmla="*/ 60 h 163"/>
                  <a:gd name="T70" fmla="*/ 50 w 238"/>
                  <a:gd name="T71" fmla="*/ 82 h 163"/>
                  <a:gd name="T72" fmla="*/ 81 w 238"/>
                  <a:gd name="T73" fmla="*/ 82 h 163"/>
                  <a:gd name="T74" fmla="*/ 89 w 238"/>
                  <a:gd name="T75" fmla="*/ 114 h 163"/>
                  <a:gd name="T76" fmla="*/ 131 w 238"/>
                  <a:gd name="T77" fmla="*/ 131 h 163"/>
                  <a:gd name="T78" fmla="*/ 153 w 238"/>
                  <a:gd name="T79" fmla="*/ 150 h 163"/>
                  <a:gd name="T80" fmla="*/ 146 w 238"/>
                  <a:gd name="T81" fmla="*/ 163 h 163"/>
                  <a:gd name="T82" fmla="*/ 146 w 238"/>
                  <a:gd name="T83" fmla="*/ 163 h 163"/>
                  <a:gd name="T84" fmla="*/ 146 w 238"/>
                  <a:gd name="T85" fmla="*/ 163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38" h="163">
                    <a:moveTo>
                      <a:pt x="146" y="163"/>
                    </a:moveTo>
                    <a:lnTo>
                      <a:pt x="158" y="163"/>
                    </a:lnTo>
                    <a:lnTo>
                      <a:pt x="166" y="150"/>
                    </a:lnTo>
                    <a:lnTo>
                      <a:pt x="166" y="126"/>
                    </a:lnTo>
                    <a:lnTo>
                      <a:pt x="158" y="119"/>
                    </a:lnTo>
                    <a:lnTo>
                      <a:pt x="174" y="119"/>
                    </a:lnTo>
                    <a:lnTo>
                      <a:pt x="181" y="96"/>
                    </a:lnTo>
                    <a:lnTo>
                      <a:pt x="181" y="89"/>
                    </a:lnTo>
                    <a:lnTo>
                      <a:pt x="201" y="89"/>
                    </a:lnTo>
                    <a:lnTo>
                      <a:pt x="201" y="96"/>
                    </a:lnTo>
                    <a:lnTo>
                      <a:pt x="216" y="96"/>
                    </a:lnTo>
                    <a:lnTo>
                      <a:pt x="238" y="89"/>
                    </a:lnTo>
                    <a:lnTo>
                      <a:pt x="216" y="82"/>
                    </a:lnTo>
                    <a:lnTo>
                      <a:pt x="194" y="82"/>
                    </a:lnTo>
                    <a:lnTo>
                      <a:pt x="210" y="60"/>
                    </a:lnTo>
                    <a:lnTo>
                      <a:pt x="201" y="60"/>
                    </a:lnTo>
                    <a:lnTo>
                      <a:pt x="174" y="89"/>
                    </a:lnTo>
                    <a:lnTo>
                      <a:pt x="166" y="82"/>
                    </a:lnTo>
                    <a:lnTo>
                      <a:pt x="153" y="82"/>
                    </a:lnTo>
                    <a:lnTo>
                      <a:pt x="153" y="76"/>
                    </a:lnTo>
                    <a:lnTo>
                      <a:pt x="146" y="76"/>
                    </a:lnTo>
                    <a:lnTo>
                      <a:pt x="146" y="52"/>
                    </a:lnTo>
                    <a:lnTo>
                      <a:pt x="122" y="35"/>
                    </a:lnTo>
                    <a:lnTo>
                      <a:pt x="81" y="35"/>
                    </a:lnTo>
                    <a:lnTo>
                      <a:pt x="50" y="7"/>
                    </a:lnTo>
                    <a:lnTo>
                      <a:pt x="37" y="0"/>
                    </a:lnTo>
                    <a:lnTo>
                      <a:pt x="0" y="7"/>
                    </a:lnTo>
                    <a:lnTo>
                      <a:pt x="0" y="82"/>
                    </a:lnTo>
                    <a:lnTo>
                      <a:pt x="8" y="82"/>
                    </a:lnTo>
                    <a:lnTo>
                      <a:pt x="8" y="76"/>
                    </a:lnTo>
                    <a:lnTo>
                      <a:pt x="29" y="60"/>
                    </a:lnTo>
                    <a:lnTo>
                      <a:pt x="37" y="60"/>
                    </a:lnTo>
                    <a:lnTo>
                      <a:pt x="29" y="52"/>
                    </a:lnTo>
                    <a:lnTo>
                      <a:pt x="37" y="52"/>
                    </a:lnTo>
                    <a:lnTo>
                      <a:pt x="50" y="60"/>
                    </a:lnTo>
                    <a:lnTo>
                      <a:pt x="50" y="82"/>
                    </a:lnTo>
                    <a:lnTo>
                      <a:pt x="81" y="82"/>
                    </a:lnTo>
                    <a:lnTo>
                      <a:pt x="89" y="114"/>
                    </a:lnTo>
                    <a:lnTo>
                      <a:pt x="131" y="131"/>
                    </a:lnTo>
                    <a:lnTo>
                      <a:pt x="153" y="150"/>
                    </a:lnTo>
                    <a:lnTo>
                      <a:pt x="146" y="163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19" name="Freeform 255"/>
              <p:cNvSpPr>
                <a:spLocks/>
              </p:cNvSpPr>
              <p:nvPr/>
            </p:nvSpPr>
            <p:spPr bwMode="auto">
              <a:xfrm>
                <a:off x="5416550" y="3316288"/>
                <a:ext cx="973138" cy="552450"/>
              </a:xfrm>
              <a:custGeom>
                <a:avLst/>
                <a:gdLst>
                  <a:gd name="T0" fmla="*/ 528 w 554"/>
                  <a:gd name="T1" fmla="*/ 166 h 319"/>
                  <a:gd name="T2" fmla="*/ 484 w 554"/>
                  <a:gd name="T3" fmla="*/ 197 h 319"/>
                  <a:gd name="T4" fmla="*/ 457 w 554"/>
                  <a:gd name="T5" fmla="*/ 235 h 319"/>
                  <a:gd name="T6" fmla="*/ 457 w 554"/>
                  <a:gd name="T7" fmla="*/ 289 h 319"/>
                  <a:gd name="T8" fmla="*/ 385 w 554"/>
                  <a:gd name="T9" fmla="*/ 281 h 319"/>
                  <a:gd name="T10" fmla="*/ 362 w 554"/>
                  <a:gd name="T11" fmla="*/ 281 h 319"/>
                  <a:gd name="T12" fmla="*/ 335 w 554"/>
                  <a:gd name="T13" fmla="*/ 281 h 319"/>
                  <a:gd name="T14" fmla="*/ 293 w 554"/>
                  <a:gd name="T15" fmla="*/ 311 h 319"/>
                  <a:gd name="T16" fmla="*/ 276 w 554"/>
                  <a:gd name="T17" fmla="*/ 304 h 319"/>
                  <a:gd name="T18" fmla="*/ 271 w 554"/>
                  <a:gd name="T19" fmla="*/ 281 h 319"/>
                  <a:gd name="T20" fmla="*/ 208 w 554"/>
                  <a:gd name="T21" fmla="*/ 264 h 319"/>
                  <a:gd name="T22" fmla="*/ 166 w 554"/>
                  <a:gd name="T23" fmla="*/ 229 h 319"/>
                  <a:gd name="T24" fmla="*/ 129 w 554"/>
                  <a:gd name="T25" fmla="*/ 311 h 319"/>
                  <a:gd name="T26" fmla="*/ 107 w 554"/>
                  <a:gd name="T27" fmla="*/ 289 h 319"/>
                  <a:gd name="T28" fmla="*/ 79 w 554"/>
                  <a:gd name="T29" fmla="*/ 281 h 319"/>
                  <a:gd name="T30" fmla="*/ 64 w 554"/>
                  <a:gd name="T31" fmla="*/ 257 h 319"/>
                  <a:gd name="T32" fmla="*/ 70 w 554"/>
                  <a:gd name="T33" fmla="*/ 257 h 319"/>
                  <a:gd name="T34" fmla="*/ 70 w 554"/>
                  <a:gd name="T35" fmla="*/ 235 h 319"/>
                  <a:gd name="T36" fmla="*/ 92 w 554"/>
                  <a:gd name="T37" fmla="*/ 205 h 319"/>
                  <a:gd name="T38" fmla="*/ 35 w 554"/>
                  <a:gd name="T39" fmla="*/ 205 h 319"/>
                  <a:gd name="T40" fmla="*/ 35 w 554"/>
                  <a:gd name="T41" fmla="*/ 197 h 319"/>
                  <a:gd name="T42" fmla="*/ 8 w 554"/>
                  <a:gd name="T43" fmla="*/ 182 h 319"/>
                  <a:gd name="T44" fmla="*/ 8 w 554"/>
                  <a:gd name="T45" fmla="*/ 113 h 319"/>
                  <a:gd name="T46" fmla="*/ 35 w 554"/>
                  <a:gd name="T47" fmla="*/ 136 h 319"/>
                  <a:gd name="T48" fmla="*/ 49 w 554"/>
                  <a:gd name="T49" fmla="*/ 82 h 319"/>
                  <a:gd name="T50" fmla="*/ 79 w 554"/>
                  <a:gd name="T51" fmla="*/ 82 h 319"/>
                  <a:gd name="T52" fmla="*/ 121 w 554"/>
                  <a:gd name="T53" fmla="*/ 113 h 319"/>
                  <a:gd name="T54" fmla="*/ 156 w 554"/>
                  <a:gd name="T55" fmla="*/ 106 h 319"/>
                  <a:gd name="T56" fmla="*/ 201 w 554"/>
                  <a:gd name="T57" fmla="*/ 113 h 319"/>
                  <a:gd name="T58" fmla="*/ 178 w 554"/>
                  <a:gd name="T59" fmla="*/ 82 h 319"/>
                  <a:gd name="T60" fmla="*/ 193 w 554"/>
                  <a:gd name="T61" fmla="*/ 71 h 319"/>
                  <a:gd name="T62" fmla="*/ 201 w 554"/>
                  <a:gd name="T63" fmla="*/ 30 h 319"/>
                  <a:gd name="T64" fmla="*/ 293 w 554"/>
                  <a:gd name="T65" fmla="*/ 15 h 319"/>
                  <a:gd name="T66" fmla="*/ 328 w 554"/>
                  <a:gd name="T67" fmla="*/ 0 h 319"/>
                  <a:gd name="T68" fmla="*/ 335 w 554"/>
                  <a:gd name="T69" fmla="*/ 30 h 319"/>
                  <a:gd name="T70" fmla="*/ 362 w 554"/>
                  <a:gd name="T71" fmla="*/ 39 h 319"/>
                  <a:gd name="T72" fmla="*/ 379 w 554"/>
                  <a:gd name="T73" fmla="*/ 54 h 319"/>
                  <a:gd name="T74" fmla="*/ 414 w 554"/>
                  <a:gd name="T75" fmla="*/ 24 h 319"/>
                  <a:gd name="T76" fmla="*/ 457 w 554"/>
                  <a:gd name="T77" fmla="*/ 113 h 319"/>
                  <a:gd name="T78" fmla="*/ 471 w 554"/>
                  <a:gd name="T79" fmla="*/ 113 h 319"/>
                  <a:gd name="T80" fmla="*/ 519 w 554"/>
                  <a:gd name="T81" fmla="*/ 136 h 319"/>
                  <a:gd name="T82" fmla="*/ 541 w 554"/>
                  <a:gd name="T83" fmla="*/ 136 h 319"/>
                  <a:gd name="T84" fmla="*/ 541 w 554"/>
                  <a:gd name="T85" fmla="*/ 160 h 319"/>
                  <a:gd name="T86" fmla="*/ 541 w 554"/>
                  <a:gd name="T87" fmla="*/ 160 h 3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554" h="319">
                    <a:moveTo>
                      <a:pt x="541" y="160"/>
                    </a:moveTo>
                    <a:lnTo>
                      <a:pt x="528" y="166"/>
                    </a:lnTo>
                    <a:lnTo>
                      <a:pt x="519" y="197"/>
                    </a:lnTo>
                    <a:lnTo>
                      <a:pt x="484" y="197"/>
                    </a:lnTo>
                    <a:lnTo>
                      <a:pt x="477" y="235"/>
                    </a:lnTo>
                    <a:lnTo>
                      <a:pt x="457" y="235"/>
                    </a:lnTo>
                    <a:lnTo>
                      <a:pt x="464" y="281"/>
                    </a:lnTo>
                    <a:lnTo>
                      <a:pt x="457" y="289"/>
                    </a:lnTo>
                    <a:lnTo>
                      <a:pt x="434" y="281"/>
                    </a:lnTo>
                    <a:lnTo>
                      <a:pt x="385" y="281"/>
                    </a:lnTo>
                    <a:lnTo>
                      <a:pt x="369" y="274"/>
                    </a:lnTo>
                    <a:lnTo>
                      <a:pt x="362" y="281"/>
                    </a:lnTo>
                    <a:lnTo>
                      <a:pt x="362" y="289"/>
                    </a:lnTo>
                    <a:lnTo>
                      <a:pt x="335" y="281"/>
                    </a:lnTo>
                    <a:lnTo>
                      <a:pt x="298" y="319"/>
                    </a:lnTo>
                    <a:lnTo>
                      <a:pt x="293" y="311"/>
                    </a:lnTo>
                    <a:lnTo>
                      <a:pt x="276" y="311"/>
                    </a:lnTo>
                    <a:lnTo>
                      <a:pt x="276" y="304"/>
                    </a:lnTo>
                    <a:lnTo>
                      <a:pt x="271" y="304"/>
                    </a:lnTo>
                    <a:lnTo>
                      <a:pt x="271" y="281"/>
                    </a:lnTo>
                    <a:lnTo>
                      <a:pt x="250" y="264"/>
                    </a:lnTo>
                    <a:lnTo>
                      <a:pt x="208" y="264"/>
                    </a:lnTo>
                    <a:lnTo>
                      <a:pt x="178" y="235"/>
                    </a:lnTo>
                    <a:lnTo>
                      <a:pt x="166" y="229"/>
                    </a:lnTo>
                    <a:lnTo>
                      <a:pt x="129" y="235"/>
                    </a:lnTo>
                    <a:lnTo>
                      <a:pt x="129" y="311"/>
                    </a:lnTo>
                    <a:lnTo>
                      <a:pt x="121" y="311"/>
                    </a:lnTo>
                    <a:lnTo>
                      <a:pt x="107" y="289"/>
                    </a:lnTo>
                    <a:lnTo>
                      <a:pt x="79" y="304"/>
                    </a:lnTo>
                    <a:lnTo>
                      <a:pt x="79" y="281"/>
                    </a:lnTo>
                    <a:lnTo>
                      <a:pt x="70" y="281"/>
                    </a:lnTo>
                    <a:lnTo>
                      <a:pt x="64" y="257"/>
                    </a:lnTo>
                    <a:lnTo>
                      <a:pt x="49" y="257"/>
                    </a:lnTo>
                    <a:lnTo>
                      <a:pt x="70" y="257"/>
                    </a:lnTo>
                    <a:lnTo>
                      <a:pt x="64" y="244"/>
                    </a:lnTo>
                    <a:lnTo>
                      <a:pt x="70" y="235"/>
                    </a:lnTo>
                    <a:lnTo>
                      <a:pt x="107" y="235"/>
                    </a:lnTo>
                    <a:lnTo>
                      <a:pt x="92" y="205"/>
                    </a:lnTo>
                    <a:lnTo>
                      <a:pt x="64" y="188"/>
                    </a:lnTo>
                    <a:lnTo>
                      <a:pt x="35" y="205"/>
                    </a:lnTo>
                    <a:lnTo>
                      <a:pt x="28" y="205"/>
                    </a:lnTo>
                    <a:lnTo>
                      <a:pt x="35" y="197"/>
                    </a:lnTo>
                    <a:lnTo>
                      <a:pt x="28" y="182"/>
                    </a:lnTo>
                    <a:lnTo>
                      <a:pt x="8" y="182"/>
                    </a:lnTo>
                    <a:lnTo>
                      <a:pt x="0" y="160"/>
                    </a:lnTo>
                    <a:lnTo>
                      <a:pt x="8" y="113"/>
                    </a:lnTo>
                    <a:lnTo>
                      <a:pt x="28" y="136"/>
                    </a:lnTo>
                    <a:lnTo>
                      <a:pt x="35" y="136"/>
                    </a:lnTo>
                    <a:lnTo>
                      <a:pt x="28" y="113"/>
                    </a:lnTo>
                    <a:lnTo>
                      <a:pt x="49" y="82"/>
                    </a:lnTo>
                    <a:lnTo>
                      <a:pt x="70" y="96"/>
                    </a:lnTo>
                    <a:lnTo>
                      <a:pt x="79" y="82"/>
                    </a:lnTo>
                    <a:lnTo>
                      <a:pt x="92" y="96"/>
                    </a:lnTo>
                    <a:lnTo>
                      <a:pt x="121" y="113"/>
                    </a:lnTo>
                    <a:lnTo>
                      <a:pt x="136" y="106"/>
                    </a:lnTo>
                    <a:lnTo>
                      <a:pt x="156" y="106"/>
                    </a:lnTo>
                    <a:lnTo>
                      <a:pt x="166" y="113"/>
                    </a:lnTo>
                    <a:lnTo>
                      <a:pt x="201" y="113"/>
                    </a:lnTo>
                    <a:lnTo>
                      <a:pt x="208" y="96"/>
                    </a:lnTo>
                    <a:lnTo>
                      <a:pt x="178" y="82"/>
                    </a:lnTo>
                    <a:lnTo>
                      <a:pt x="201" y="77"/>
                    </a:lnTo>
                    <a:lnTo>
                      <a:pt x="193" y="71"/>
                    </a:lnTo>
                    <a:lnTo>
                      <a:pt x="201" y="62"/>
                    </a:lnTo>
                    <a:lnTo>
                      <a:pt x="201" y="30"/>
                    </a:lnTo>
                    <a:lnTo>
                      <a:pt x="214" y="39"/>
                    </a:lnTo>
                    <a:lnTo>
                      <a:pt x="293" y="15"/>
                    </a:lnTo>
                    <a:lnTo>
                      <a:pt x="293" y="0"/>
                    </a:lnTo>
                    <a:lnTo>
                      <a:pt x="328" y="0"/>
                    </a:lnTo>
                    <a:lnTo>
                      <a:pt x="335" y="24"/>
                    </a:lnTo>
                    <a:lnTo>
                      <a:pt x="335" y="30"/>
                    </a:lnTo>
                    <a:lnTo>
                      <a:pt x="340" y="30"/>
                    </a:lnTo>
                    <a:lnTo>
                      <a:pt x="362" y="39"/>
                    </a:lnTo>
                    <a:lnTo>
                      <a:pt x="362" y="54"/>
                    </a:lnTo>
                    <a:lnTo>
                      <a:pt x="379" y="54"/>
                    </a:lnTo>
                    <a:lnTo>
                      <a:pt x="392" y="30"/>
                    </a:lnTo>
                    <a:lnTo>
                      <a:pt x="414" y="24"/>
                    </a:lnTo>
                    <a:lnTo>
                      <a:pt x="420" y="54"/>
                    </a:lnTo>
                    <a:lnTo>
                      <a:pt x="457" y="113"/>
                    </a:lnTo>
                    <a:lnTo>
                      <a:pt x="464" y="96"/>
                    </a:lnTo>
                    <a:lnTo>
                      <a:pt x="471" y="113"/>
                    </a:lnTo>
                    <a:lnTo>
                      <a:pt x="498" y="106"/>
                    </a:lnTo>
                    <a:lnTo>
                      <a:pt x="519" y="136"/>
                    </a:lnTo>
                    <a:lnTo>
                      <a:pt x="541" y="143"/>
                    </a:lnTo>
                    <a:lnTo>
                      <a:pt x="541" y="136"/>
                    </a:lnTo>
                    <a:lnTo>
                      <a:pt x="554" y="151"/>
                    </a:lnTo>
                    <a:lnTo>
                      <a:pt x="541" y="160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20" name="Freeform 256"/>
              <p:cNvSpPr>
                <a:spLocks/>
              </p:cNvSpPr>
              <p:nvPr/>
            </p:nvSpPr>
            <p:spPr bwMode="auto">
              <a:xfrm>
                <a:off x="6767513" y="3305175"/>
                <a:ext cx="152400" cy="190500"/>
              </a:xfrm>
              <a:custGeom>
                <a:avLst/>
                <a:gdLst>
                  <a:gd name="T0" fmla="*/ 0 w 87"/>
                  <a:gd name="T1" fmla="*/ 101 h 109"/>
                  <a:gd name="T2" fmla="*/ 7 w 87"/>
                  <a:gd name="T3" fmla="*/ 109 h 109"/>
                  <a:gd name="T4" fmla="*/ 37 w 87"/>
                  <a:gd name="T5" fmla="*/ 101 h 109"/>
                  <a:gd name="T6" fmla="*/ 37 w 87"/>
                  <a:gd name="T7" fmla="*/ 87 h 109"/>
                  <a:gd name="T8" fmla="*/ 65 w 87"/>
                  <a:gd name="T9" fmla="*/ 74 h 109"/>
                  <a:gd name="T10" fmla="*/ 79 w 87"/>
                  <a:gd name="T11" fmla="*/ 45 h 109"/>
                  <a:gd name="T12" fmla="*/ 87 w 87"/>
                  <a:gd name="T13" fmla="*/ 0 h 109"/>
                  <a:gd name="T14" fmla="*/ 79 w 87"/>
                  <a:gd name="T15" fmla="*/ 0 h 109"/>
                  <a:gd name="T16" fmla="*/ 65 w 87"/>
                  <a:gd name="T17" fmla="*/ 45 h 109"/>
                  <a:gd name="T18" fmla="*/ 28 w 87"/>
                  <a:gd name="T19" fmla="*/ 87 h 109"/>
                  <a:gd name="T20" fmla="*/ 0 w 87"/>
                  <a:gd name="T21" fmla="*/ 101 h 109"/>
                  <a:gd name="T22" fmla="*/ 0 w 87"/>
                  <a:gd name="T23" fmla="*/ 101 h 109"/>
                  <a:gd name="T24" fmla="*/ 0 w 87"/>
                  <a:gd name="T25" fmla="*/ 10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7" h="109">
                    <a:moveTo>
                      <a:pt x="0" y="101"/>
                    </a:moveTo>
                    <a:lnTo>
                      <a:pt x="7" y="109"/>
                    </a:lnTo>
                    <a:lnTo>
                      <a:pt x="37" y="101"/>
                    </a:lnTo>
                    <a:lnTo>
                      <a:pt x="37" y="87"/>
                    </a:lnTo>
                    <a:lnTo>
                      <a:pt x="65" y="74"/>
                    </a:lnTo>
                    <a:lnTo>
                      <a:pt x="79" y="45"/>
                    </a:lnTo>
                    <a:lnTo>
                      <a:pt x="87" y="0"/>
                    </a:lnTo>
                    <a:lnTo>
                      <a:pt x="79" y="0"/>
                    </a:lnTo>
                    <a:lnTo>
                      <a:pt x="65" y="45"/>
                    </a:lnTo>
                    <a:lnTo>
                      <a:pt x="28" y="87"/>
                    </a:lnTo>
                    <a:lnTo>
                      <a:pt x="0" y="101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21" name="Freeform 257"/>
              <p:cNvSpPr>
                <a:spLocks/>
              </p:cNvSpPr>
              <p:nvPr/>
            </p:nvSpPr>
            <p:spPr bwMode="auto">
              <a:xfrm>
                <a:off x="6389688" y="3457575"/>
                <a:ext cx="754062" cy="400050"/>
              </a:xfrm>
              <a:custGeom>
                <a:avLst/>
                <a:gdLst>
                  <a:gd name="T0" fmla="*/ 287 w 429"/>
                  <a:gd name="T1" fmla="*/ 61 h 229"/>
                  <a:gd name="T2" fmla="*/ 235 w 429"/>
                  <a:gd name="T3" fmla="*/ 30 h 229"/>
                  <a:gd name="T4" fmla="*/ 217 w 429"/>
                  <a:gd name="T5" fmla="*/ 39 h 229"/>
                  <a:gd name="T6" fmla="*/ 208 w 429"/>
                  <a:gd name="T7" fmla="*/ 39 h 229"/>
                  <a:gd name="T8" fmla="*/ 195 w 429"/>
                  <a:gd name="T9" fmla="*/ 14 h 229"/>
                  <a:gd name="T10" fmla="*/ 158 w 429"/>
                  <a:gd name="T11" fmla="*/ 0 h 229"/>
                  <a:gd name="T12" fmla="*/ 136 w 429"/>
                  <a:gd name="T13" fmla="*/ 14 h 229"/>
                  <a:gd name="T14" fmla="*/ 136 w 429"/>
                  <a:gd name="T15" fmla="*/ 52 h 229"/>
                  <a:gd name="T16" fmla="*/ 103 w 429"/>
                  <a:gd name="T17" fmla="*/ 52 h 229"/>
                  <a:gd name="T18" fmla="*/ 86 w 429"/>
                  <a:gd name="T19" fmla="*/ 39 h 229"/>
                  <a:gd name="T20" fmla="*/ 51 w 429"/>
                  <a:gd name="T21" fmla="*/ 30 h 229"/>
                  <a:gd name="T22" fmla="*/ 0 w 429"/>
                  <a:gd name="T23" fmla="*/ 69 h 229"/>
                  <a:gd name="T24" fmla="*/ 16 w 429"/>
                  <a:gd name="T25" fmla="*/ 98 h 229"/>
                  <a:gd name="T26" fmla="*/ 37 w 429"/>
                  <a:gd name="T27" fmla="*/ 98 h 229"/>
                  <a:gd name="T28" fmla="*/ 44 w 429"/>
                  <a:gd name="T29" fmla="*/ 114 h 229"/>
                  <a:gd name="T30" fmla="*/ 44 w 429"/>
                  <a:gd name="T31" fmla="*/ 153 h 229"/>
                  <a:gd name="T32" fmla="*/ 93 w 429"/>
                  <a:gd name="T33" fmla="*/ 175 h 229"/>
                  <a:gd name="T34" fmla="*/ 123 w 429"/>
                  <a:gd name="T35" fmla="*/ 198 h 229"/>
                  <a:gd name="T36" fmla="*/ 173 w 429"/>
                  <a:gd name="T37" fmla="*/ 198 h 229"/>
                  <a:gd name="T38" fmla="*/ 200 w 429"/>
                  <a:gd name="T39" fmla="*/ 220 h 229"/>
                  <a:gd name="T40" fmla="*/ 235 w 429"/>
                  <a:gd name="T41" fmla="*/ 229 h 229"/>
                  <a:gd name="T42" fmla="*/ 264 w 429"/>
                  <a:gd name="T43" fmla="*/ 205 h 229"/>
                  <a:gd name="T44" fmla="*/ 300 w 429"/>
                  <a:gd name="T45" fmla="*/ 205 h 229"/>
                  <a:gd name="T46" fmla="*/ 329 w 429"/>
                  <a:gd name="T47" fmla="*/ 182 h 229"/>
                  <a:gd name="T48" fmla="*/ 322 w 429"/>
                  <a:gd name="T49" fmla="*/ 175 h 229"/>
                  <a:gd name="T50" fmla="*/ 337 w 429"/>
                  <a:gd name="T51" fmla="*/ 153 h 229"/>
                  <a:gd name="T52" fmla="*/ 351 w 429"/>
                  <a:gd name="T53" fmla="*/ 160 h 229"/>
                  <a:gd name="T54" fmla="*/ 379 w 429"/>
                  <a:gd name="T55" fmla="*/ 146 h 229"/>
                  <a:gd name="T56" fmla="*/ 393 w 429"/>
                  <a:gd name="T57" fmla="*/ 123 h 229"/>
                  <a:gd name="T58" fmla="*/ 429 w 429"/>
                  <a:gd name="T59" fmla="*/ 123 h 229"/>
                  <a:gd name="T60" fmla="*/ 414 w 429"/>
                  <a:gd name="T61" fmla="*/ 98 h 229"/>
                  <a:gd name="T62" fmla="*/ 393 w 429"/>
                  <a:gd name="T63" fmla="*/ 106 h 229"/>
                  <a:gd name="T64" fmla="*/ 379 w 429"/>
                  <a:gd name="T65" fmla="*/ 106 h 229"/>
                  <a:gd name="T66" fmla="*/ 379 w 429"/>
                  <a:gd name="T67" fmla="*/ 69 h 229"/>
                  <a:gd name="T68" fmla="*/ 384 w 429"/>
                  <a:gd name="T69" fmla="*/ 52 h 229"/>
                  <a:gd name="T70" fmla="*/ 364 w 429"/>
                  <a:gd name="T71" fmla="*/ 39 h 229"/>
                  <a:gd name="T72" fmla="*/ 344 w 429"/>
                  <a:gd name="T73" fmla="*/ 61 h 229"/>
                  <a:gd name="T74" fmla="*/ 307 w 429"/>
                  <a:gd name="T75" fmla="*/ 69 h 229"/>
                  <a:gd name="T76" fmla="*/ 287 w 429"/>
                  <a:gd name="T77" fmla="*/ 61 h 229"/>
                  <a:gd name="T78" fmla="*/ 287 w 429"/>
                  <a:gd name="T79" fmla="*/ 61 h 229"/>
                  <a:gd name="T80" fmla="*/ 287 w 429"/>
                  <a:gd name="T81" fmla="*/ 61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429" h="229">
                    <a:moveTo>
                      <a:pt x="287" y="61"/>
                    </a:moveTo>
                    <a:lnTo>
                      <a:pt x="235" y="30"/>
                    </a:lnTo>
                    <a:lnTo>
                      <a:pt x="217" y="39"/>
                    </a:lnTo>
                    <a:lnTo>
                      <a:pt x="208" y="39"/>
                    </a:lnTo>
                    <a:lnTo>
                      <a:pt x="195" y="14"/>
                    </a:lnTo>
                    <a:lnTo>
                      <a:pt x="158" y="0"/>
                    </a:lnTo>
                    <a:lnTo>
                      <a:pt x="136" y="14"/>
                    </a:lnTo>
                    <a:lnTo>
                      <a:pt x="136" y="52"/>
                    </a:lnTo>
                    <a:lnTo>
                      <a:pt x="103" y="52"/>
                    </a:lnTo>
                    <a:lnTo>
                      <a:pt x="86" y="39"/>
                    </a:lnTo>
                    <a:lnTo>
                      <a:pt x="51" y="30"/>
                    </a:lnTo>
                    <a:lnTo>
                      <a:pt x="0" y="69"/>
                    </a:lnTo>
                    <a:lnTo>
                      <a:pt x="16" y="98"/>
                    </a:lnTo>
                    <a:lnTo>
                      <a:pt x="37" y="98"/>
                    </a:lnTo>
                    <a:lnTo>
                      <a:pt x="44" y="114"/>
                    </a:lnTo>
                    <a:lnTo>
                      <a:pt x="44" y="153"/>
                    </a:lnTo>
                    <a:lnTo>
                      <a:pt x="93" y="175"/>
                    </a:lnTo>
                    <a:lnTo>
                      <a:pt x="123" y="198"/>
                    </a:lnTo>
                    <a:lnTo>
                      <a:pt x="173" y="198"/>
                    </a:lnTo>
                    <a:lnTo>
                      <a:pt x="200" y="220"/>
                    </a:lnTo>
                    <a:lnTo>
                      <a:pt x="235" y="229"/>
                    </a:lnTo>
                    <a:lnTo>
                      <a:pt x="264" y="205"/>
                    </a:lnTo>
                    <a:lnTo>
                      <a:pt x="300" y="205"/>
                    </a:lnTo>
                    <a:lnTo>
                      <a:pt x="329" y="182"/>
                    </a:lnTo>
                    <a:lnTo>
                      <a:pt x="322" y="175"/>
                    </a:lnTo>
                    <a:lnTo>
                      <a:pt x="337" y="153"/>
                    </a:lnTo>
                    <a:lnTo>
                      <a:pt x="351" y="160"/>
                    </a:lnTo>
                    <a:lnTo>
                      <a:pt x="379" y="146"/>
                    </a:lnTo>
                    <a:lnTo>
                      <a:pt x="393" y="123"/>
                    </a:lnTo>
                    <a:lnTo>
                      <a:pt x="429" y="123"/>
                    </a:lnTo>
                    <a:lnTo>
                      <a:pt x="414" y="98"/>
                    </a:lnTo>
                    <a:lnTo>
                      <a:pt x="393" y="106"/>
                    </a:lnTo>
                    <a:lnTo>
                      <a:pt x="379" y="106"/>
                    </a:lnTo>
                    <a:lnTo>
                      <a:pt x="379" y="69"/>
                    </a:lnTo>
                    <a:lnTo>
                      <a:pt x="384" y="52"/>
                    </a:lnTo>
                    <a:lnTo>
                      <a:pt x="364" y="39"/>
                    </a:lnTo>
                    <a:lnTo>
                      <a:pt x="344" y="61"/>
                    </a:lnTo>
                    <a:lnTo>
                      <a:pt x="307" y="69"/>
                    </a:lnTo>
                    <a:lnTo>
                      <a:pt x="287" y="61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22" name="Freeform 258"/>
              <p:cNvSpPr>
                <a:spLocks/>
              </p:cNvSpPr>
              <p:nvPr/>
            </p:nvSpPr>
            <p:spPr bwMode="auto">
              <a:xfrm>
                <a:off x="6389688" y="4322763"/>
                <a:ext cx="128587" cy="136525"/>
              </a:xfrm>
              <a:custGeom>
                <a:avLst/>
                <a:gdLst>
                  <a:gd name="T0" fmla="*/ 73 w 73"/>
                  <a:gd name="T1" fmla="*/ 72 h 77"/>
                  <a:gd name="T2" fmla="*/ 59 w 73"/>
                  <a:gd name="T3" fmla="*/ 47 h 77"/>
                  <a:gd name="T4" fmla="*/ 59 w 73"/>
                  <a:gd name="T5" fmla="*/ 32 h 77"/>
                  <a:gd name="T6" fmla="*/ 51 w 73"/>
                  <a:gd name="T7" fmla="*/ 47 h 77"/>
                  <a:gd name="T8" fmla="*/ 44 w 73"/>
                  <a:gd name="T9" fmla="*/ 47 h 77"/>
                  <a:gd name="T10" fmla="*/ 44 w 73"/>
                  <a:gd name="T11" fmla="*/ 32 h 77"/>
                  <a:gd name="T12" fmla="*/ 59 w 73"/>
                  <a:gd name="T13" fmla="*/ 15 h 77"/>
                  <a:gd name="T14" fmla="*/ 29 w 73"/>
                  <a:gd name="T15" fmla="*/ 15 h 77"/>
                  <a:gd name="T16" fmla="*/ 29 w 73"/>
                  <a:gd name="T17" fmla="*/ 0 h 77"/>
                  <a:gd name="T18" fmla="*/ 9 w 73"/>
                  <a:gd name="T19" fmla="*/ 0 h 77"/>
                  <a:gd name="T20" fmla="*/ 9 w 73"/>
                  <a:gd name="T21" fmla="*/ 7 h 77"/>
                  <a:gd name="T22" fmla="*/ 0 w 73"/>
                  <a:gd name="T23" fmla="*/ 25 h 77"/>
                  <a:gd name="T24" fmla="*/ 9 w 73"/>
                  <a:gd name="T25" fmla="*/ 25 h 77"/>
                  <a:gd name="T26" fmla="*/ 16 w 73"/>
                  <a:gd name="T27" fmla="*/ 72 h 77"/>
                  <a:gd name="T28" fmla="*/ 37 w 73"/>
                  <a:gd name="T29" fmla="*/ 72 h 77"/>
                  <a:gd name="T30" fmla="*/ 51 w 73"/>
                  <a:gd name="T31" fmla="*/ 55 h 77"/>
                  <a:gd name="T32" fmla="*/ 59 w 73"/>
                  <a:gd name="T33" fmla="*/ 77 h 77"/>
                  <a:gd name="T34" fmla="*/ 73 w 73"/>
                  <a:gd name="T35" fmla="*/ 72 h 77"/>
                  <a:gd name="T36" fmla="*/ 73 w 73"/>
                  <a:gd name="T37" fmla="*/ 72 h 77"/>
                  <a:gd name="T38" fmla="*/ 73 w 73"/>
                  <a:gd name="T39" fmla="*/ 72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3" h="77">
                    <a:moveTo>
                      <a:pt x="73" y="72"/>
                    </a:moveTo>
                    <a:lnTo>
                      <a:pt x="59" y="47"/>
                    </a:lnTo>
                    <a:lnTo>
                      <a:pt x="59" y="32"/>
                    </a:lnTo>
                    <a:lnTo>
                      <a:pt x="51" y="47"/>
                    </a:lnTo>
                    <a:lnTo>
                      <a:pt x="44" y="47"/>
                    </a:lnTo>
                    <a:lnTo>
                      <a:pt x="44" y="32"/>
                    </a:lnTo>
                    <a:lnTo>
                      <a:pt x="59" y="15"/>
                    </a:lnTo>
                    <a:lnTo>
                      <a:pt x="29" y="15"/>
                    </a:lnTo>
                    <a:lnTo>
                      <a:pt x="29" y="0"/>
                    </a:lnTo>
                    <a:lnTo>
                      <a:pt x="9" y="0"/>
                    </a:lnTo>
                    <a:lnTo>
                      <a:pt x="9" y="7"/>
                    </a:lnTo>
                    <a:lnTo>
                      <a:pt x="0" y="25"/>
                    </a:lnTo>
                    <a:lnTo>
                      <a:pt x="9" y="25"/>
                    </a:lnTo>
                    <a:lnTo>
                      <a:pt x="16" y="72"/>
                    </a:lnTo>
                    <a:lnTo>
                      <a:pt x="37" y="72"/>
                    </a:lnTo>
                    <a:lnTo>
                      <a:pt x="51" y="55"/>
                    </a:lnTo>
                    <a:lnTo>
                      <a:pt x="59" y="77"/>
                    </a:lnTo>
                    <a:lnTo>
                      <a:pt x="73" y="72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23" name="Freeform 259"/>
              <p:cNvSpPr>
                <a:spLocks/>
              </p:cNvSpPr>
              <p:nvPr/>
            </p:nvSpPr>
            <p:spPr bwMode="auto">
              <a:xfrm>
                <a:off x="6494463" y="4270375"/>
                <a:ext cx="207962" cy="498475"/>
              </a:xfrm>
              <a:custGeom>
                <a:avLst/>
                <a:gdLst>
                  <a:gd name="T0" fmla="*/ 91 w 119"/>
                  <a:gd name="T1" fmla="*/ 285 h 285"/>
                  <a:gd name="T2" fmla="*/ 106 w 119"/>
                  <a:gd name="T3" fmla="*/ 249 h 285"/>
                  <a:gd name="T4" fmla="*/ 91 w 119"/>
                  <a:gd name="T5" fmla="*/ 203 h 285"/>
                  <a:gd name="T6" fmla="*/ 91 w 119"/>
                  <a:gd name="T7" fmla="*/ 183 h 285"/>
                  <a:gd name="T8" fmla="*/ 77 w 119"/>
                  <a:gd name="T9" fmla="*/ 158 h 285"/>
                  <a:gd name="T10" fmla="*/ 77 w 119"/>
                  <a:gd name="T11" fmla="*/ 136 h 285"/>
                  <a:gd name="T12" fmla="*/ 111 w 119"/>
                  <a:gd name="T13" fmla="*/ 122 h 285"/>
                  <a:gd name="T14" fmla="*/ 119 w 119"/>
                  <a:gd name="T15" fmla="*/ 101 h 285"/>
                  <a:gd name="T16" fmla="*/ 111 w 119"/>
                  <a:gd name="T17" fmla="*/ 101 h 285"/>
                  <a:gd name="T18" fmla="*/ 97 w 119"/>
                  <a:gd name="T19" fmla="*/ 92 h 285"/>
                  <a:gd name="T20" fmla="*/ 97 w 119"/>
                  <a:gd name="T21" fmla="*/ 77 h 285"/>
                  <a:gd name="T22" fmla="*/ 91 w 119"/>
                  <a:gd name="T23" fmla="*/ 62 h 285"/>
                  <a:gd name="T24" fmla="*/ 77 w 119"/>
                  <a:gd name="T25" fmla="*/ 62 h 285"/>
                  <a:gd name="T26" fmla="*/ 91 w 119"/>
                  <a:gd name="T27" fmla="*/ 17 h 285"/>
                  <a:gd name="T28" fmla="*/ 77 w 119"/>
                  <a:gd name="T29" fmla="*/ 0 h 285"/>
                  <a:gd name="T30" fmla="*/ 71 w 119"/>
                  <a:gd name="T31" fmla="*/ 0 h 285"/>
                  <a:gd name="T32" fmla="*/ 71 w 119"/>
                  <a:gd name="T33" fmla="*/ 17 h 285"/>
                  <a:gd name="T34" fmla="*/ 55 w 119"/>
                  <a:gd name="T35" fmla="*/ 17 h 285"/>
                  <a:gd name="T36" fmla="*/ 14 w 119"/>
                  <a:gd name="T37" fmla="*/ 92 h 285"/>
                  <a:gd name="T38" fmla="*/ 14 w 119"/>
                  <a:gd name="T39" fmla="*/ 101 h 285"/>
                  <a:gd name="T40" fmla="*/ 0 w 119"/>
                  <a:gd name="T41" fmla="*/ 106 h 285"/>
                  <a:gd name="T42" fmla="*/ 22 w 119"/>
                  <a:gd name="T43" fmla="*/ 129 h 285"/>
                  <a:gd name="T44" fmla="*/ 34 w 119"/>
                  <a:gd name="T45" fmla="*/ 173 h 285"/>
                  <a:gd name="T46" fmla="*/ 27 w 119"/>
                  <a:gd name="T47" fmla="*/ 183 h 285"/>
                  <a:gd name="T48" fmla="*/ 44 w 119"/>
                  <a:gd name="T49" fmla="*/ 195 h 285"/>
                  <a:gd name="T50" fmla="*/ 64 w 119"/>
                  <a:gd name="T51" fmla="*/ 173 h 285"/>
                  <a:gd name="T52" fmla="*/ 71 w 119"/>
                  <a:gd name="T53" fmla="*/ 183 h 285"/>
                  <a:gd name="T54" fmla="*/ 91 w 119"/>
                  <a:gd name="T55" fmla="*/ 242 h 285"/>
                  <a:gd name="T56" fmla="*/ 91 w 119"/>
                  <a:gd name="T57" fmla="*/ 285 h 285"/>
                  <a:gd name="T58" fmla="*/ 91 w 119"/>
                  <a:gd name="T59" fmla="*/ 285 h 285"/>
                  <a:gd name="T60" fmla="*/ 91 w 119"/>
                  <a:gd name="T61" fmla="*/ 285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19" h="285">
                    <a:moveTo>
                      <a:pt x="91" y="285"/>
                    </a:moveTo>
                    <a:lnTo>
                      <a:pt x="106" y="249"/>
                    </a:lnTo>
                    <a:lnTo>
                      <a:pt x="91" y="203"/>
                    </a:lnTo>
                    <a:lnTo>
                      <a:pt x="91" y="183"/>
                    </a:lnTo>
                    <a:lnTo>
                      <a:pt x="77" y="158"/>
                    </a:lnTo>
                    <a:lnTo>
                      <a:pt x="77" y="136"/>
                    </a:lnTo>
                    <a:lnTo>
                      <a:pt x="111" y="122"/>
                    </a:lnTo>
                    <a:lnTo>
                      <a:pt x="119" y="101"/>
                    </a:lnTo>
                    <a:lnTo>
                      <a:pt x="111" y="101"/>
                    </a:lnTo>
                    <a:lnTo>
                      <a:pt x="97" y="92"/>
                    </a:lnTo>
                    <a:lnTo>
                      <a:pt x="97" y="77"/>
                    </a:lnTo>
                    <a:lnTo>
                      <a:pt x="91" y="62"/>
                    </a:lnTo>
                    <a:lnTo>
                      <a:pt x="77" y="62"/>
                    </a:lnTo>
                    <a:lnTo>
                      <a:pt x="91" y="17"/>
                    </a:lnTo>
                    <a:lnTo>
                      <a:pt x="77" y="0"/>
                    </a:lnTo>
                    <a:lnTo>
                      <a:pt x="71" y="0"/>
                    </a:lnTo>
                    <a:lnTo>
                      <a:pt x="71" y="17"/>
                    </a:lnTo>
                    <a:lnTo>
                      <a:pt x="55" y="17"/>
                    </a:lnTo>
                    <a:lnTo>
                      <a:pt x="14" y="92"/>
                    </a:lnTo>
                    <a:lnTo>
                      <a:pt x="14" y="101"/>
                    </a:lnTo>
                    <a:lnTo>
                      <a:pt x="0" y="106"/>
                    </a:lnTo>
                    <a:lnTo>
                      <a:pt x="22" y="129"/>
                    </a:lnTo>
                    <a:lnTo>
                      <a:pt x="34" y="173"/>
                    </a:lnTo>
                    <a:lnTo>
                      <a:pt x="27" y="183"/>
                    </a:lnTo>
                    <a:lnTo>
                      <a:pt x="44" y="195"/>
                    </a:lnTo>
                    <a:lnTo>
                      <a:pt x="64" y="173"/>
                    </a:lnTo>
                    <a:lnTo>
                      <a:pt x="71" y="183"/>
                    </a:lnTo>
                    <a:lnTo>
                      <a:pt x="91" y="242"/>
                    </a:lnTo>
                    <a:lnTo>
                      <a:pt x="91" y="285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24" name="Freeform 260"/>
              <p:cNvSpPr>
                <a:spLocks/>
              </p:cNvSpPr>
              <p:nvPr/>
            </p:nvSpPr>
            <p:spPr bwMode="auto">
              <a:xfrm>
                <a:off x="6691313" y="4429125"/>
                <a:ext cx="163512" cy="223838"/>
              </a:xfrm>
              <a:custGeom>
                <a:avLst/>
                <a:gdLst>
                  <a:gd name="T0" fmla="*/ 94 w 94"/>
                  <a:gd name="T1" fmla="*/ 120 h 128"/>
                  <a:gd name="T2" fmla="*/ 94 w 94"/>
                  <a:gd name="T3" fmla="*/ 105 h 128"/>
                  <a:gd name="T4" fmla="*/ 81 w 94"/>
                  <a:gd name="T5" fmla="*/ 83 h 128"/>
                  <a:gd name="T6" fmla="*/ 81 w 94"/>
                  <a:gd name="T7" fmla="*/ 76 h 128"/>
                  <a:gd name="T8" fmla="*/ 46 w 94"/>
                  <a:gd name="T9" fmla="*/ 46 h 128"/>
                  <a:gd name="T10" fmla="*/ 66 w 94"/>
                  <a:gd name="T11" fmla="*/ 39 h 128"/>
                  <a:gd name="T12" fmla="*/ 52 w 94"/>
                  <a:gd name="T13" fmla="*/ 32 h 128"/>
                  <a:gd name="T14" fmla="*/ 37 w 94"/>
                  <a:gd name="T15" fmla="*/ 16 h 128"/>
                  <a:gd name="T16" fmla="*/ 29 w 94"/>
                  <a:gd name="T17" fmla="*/ 0 h 128"/>
                  <a:gd name="T18" fmla="*/ 24 w 94"/>
                  <a:gd name="T19" fmla="*/ 0 h 128"/>
                  <a:gd name="T20" fmla="*/ 24 w 94"/>
                  <a:gd name="T21" fmla="*/ 16 h 128"/>
                  <a:gd name="T22" fmla="*/ 9 w 94"/>
                  <a:gd name="T23" fmla="*/ 16 h 128"/>
                  <a:gd name="T24" fmla="*/ 9 w 94"/>
                  <a:gd name="T25" fmla="*/ 9 h 128"/>
                  <a:gd name="T26" fmla="*/ 0 w 94"/>
                  <a:gd name="T27" fmla="*/ 32 h 128"/>
                  <a:gd name="T28" fmla="*/ 0 w 94"/>
                  <a:gd name="T29" fmla="*/ 39 h 128"/>
                  <a:gd name="T30" fmla="*/ 9 w 94"/>
                  <a:gd name="T31" fmla="*/ 46 h 128"/>
                  <a:gd name="T32" fmla="*/ 9 w 94"/>
                  <a:gd name="T33" fmla="*/ 76 h 128"/>
                  <a:gd name="T34" fmla="*/ 46 w 94"/>
                  <a:gd name="T35" fmla="*/ 63 h 128"/>
                  <a:gd name="T36" fmla="*/ 52 w 94"/>
                  <a:gd name="T37" fmla="*/ 76 h 128"/>
                  <a:gd name="T38" fmla="*/ 66 w 94"/>
                  <a:gd name="T39" fmla="*/ 91 h 128"/>
                  <a:gd name="T40" fmla="*/ 71 w 94"/>
                  <a:gd name="T41" fmla="*/ 105 h 128"/>
                  <a:gd name="T42" fmla="*/ 71 w 94"/>
                  <a:gd name="T43" fmla="*/ 120 h 128"/>
                  <a:gd name="T44" fmla="*/ 81 w 94"/>
                  <a:gd name="T45" fmla="*/ 128 h 128"/>
                  <a:gd name="T46" fmla="*/ 81 w 94"/>
                  <a:gd name="T47" fmla="*/ 120 h 128"/>
                  <a:gd name="T48" fmla="*/ 94 w 94"/>
                  <a:gd name="T49" fmla="*/ 120 h 128"/>
                  <a:gd name="T50" fmla="*/ 94 w 94"/>
                  <a:gd name="T51" fmla="*/ 120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94" h="128">
                    <a:moveTo>
                      <a:pt x="94" y="120"/>
                    </a:moveTo>
                    <a:lnTo>
                      <a:pt x="94" y="105"/>
                    </a:lnTo>
                    <a:lnTo>
                      <a:pt x="81" y="83"/>
                    </a:lnTo>
                    <a:lnTo>
                      <a:pt x="81" y="76"/>
                    </a:lnTo>
                    <a:lnTo>
                      <a:pt x="46" y="46"/>
                    </a:lnTo>
                    <a:lnTo>
                      <a:pt x="66" y="39"/>
                    </a:lnTo>
                    <a:lnTo>
                      <a:pt x="52" y="32"/>
                    </a:lnTo>
                    <a:lnTo>
                      <a:pt x="37" y="16"/>
                    </a:lnTo>
                    <a:lnTo>
                      <a:pt x="29" y="0"/>
                    </a:lnTo>
                    <a:lnTo>
                      <a:pt x="24" y="0"/>
                    </a:lnTo>
                    <a:lnTo>
                      <a:pt x="24" y="16"/>
                    </a:lnTo>
                    <a:lnTo>
                      <a:pt x="9" y="16"/>
                    </a:lnTo>
                    <a:lnTo>
                      <a:pt x="9" y="9"/>
                    </a:lnTo>
                    <a:lnTo>
                      <a:pt x="0" y="32"/>
                    </a:lnTo>
                    <a:lnTo>
                      <a:pt x="0" y="39"/>
                    </a:lnTo>
                    <a:lnTo>
                      <a:pt x="9" y="46"/>
                    </a:lnTo>
                    <a:lnTo>
                      <a:pt x="9" y="76"/>
                    </a:lnTo>
                    <a:lnTo>
                      <a:pt x="46" y="63"/>
                    </a:lnTo>
                    <a:lnTo>
                      <a:pt x="52" y="76"/>
                    </a:lnTo>
                    <a:lnTo>
                      <a:pt x="66" y="91"/>
                    </a:lnTo>
                    <a:lnTo>
                      <a:pt x="71" y="105"/>
                    </a:lnTo>
                    <a:lnTo>
                      <a:pt x="71" y="120"/>
                    </a:lnTo>
                    <a:lnTo>
                      <a:pt x="81" y="128"/>
                    </a:lnTo>
                    <a:lnTo>
                      <a:pt x="81" y="120"/>
                    </a:lnTo>
                    <a:lnTo>
                      <a:pt x="94" y="12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25" name="Freeform 261"/>
              <p:cNvSpPr>
                <a:spLocks/>
              </p:cNvSpPr>
              <p:nvPr/>
            </p:nvSpPr>
            <p:spPr bwMode="auto">
              <a:xfrm>
                <a:off x="5930900" y="4003675"/>
                <a:ext cx="685800" cy="795338"/>
              </a:xfrm>
              <a:custGeom>
                <a:avLst/>
                <a:gdLst>
                  <a:gd name="T0" fmla="*/ 312 w 391"/>
                  <a:gd name="T1" fmla="*/ 156 h 455"/>
                  <a:gd name="T2" fmla="*/ 277 w 391"/>
                  <a:gd name="T3" fmla="*/ 171 h 455"/>
                  <a:gd name="T4" fmla="*/ 270 w 391"/>
                  <a:gd name="T5" fmla="*/ 156 h 455"/>
                  <a:gd name="T6" fmla="*/ 261 w 391"/>
                  <a:gd name="T7" fmla="*/ 186 h 455"/>
                  <a:gd name="T8" fmla="*/ 178 w 391"/>
                  <a:gd name="T9" fmla="*/ 156 h 455"/>
                  <a:gd name="T10" fmla="*/ 171 w 391"/>
                  <a:gd name="T11" fmla="*/ 117 h 455"/>
                  <a:gd name="T12" fmla="*/ 134 w 391"/>
                  <a:gd name="T13" fmla="*/ 80 h 455"/>
                  <a:gd name="T14" fmla="*/ 141 w 391"/>
                  <a:gd name="T15" fmla="*/ 67 h 455"/>
                  <a:gd name="T16" fmla="*/ 164 w 391"/>
                  <a:gd name="T17" fmla="*/ 27 h 455"/>
                  <a:gd name="T18" fmla="*/ 129 w 391"/>
                  <a:gd name="T19" fmla="*/ 27 h 455"/>
                  <a:gd name="T20" fmla="*/ 92 w 391"/>
                  <a:gd name="T21" fmla="*/ 0 h 455"/>
                  <a:gd name="T22" fmla="*/ 71 w 391"/>
                  <a:gd name="T23" fmla="*/ 20 h 455"/>
                  <a:gd name="T24" fmla="*/ 86 w 391"/>
                  <a:gd name="T25" fmla="*/ 27 h 455"/>
                  <a:gd name="T26" fmla="*/ 77 w 391"/>
                  <a:gd name="T27" fmla="*/ 43 h 455"/>
                  <a:gd name="T28" fmla="*/ 77 w 391"/>
                  <a:gd name="T29" fmla="*/ 74 h 455"/>
                  <a:gd name="T30" fmla="*/ 92 w 391"/>
                  <a:gd name="T31" fmla="*/ 89 h 455"/>
                  <a:gd name="T32" fmla="*/ 92 w 391"/>
                  <a:gd name="T33" fmla="*/ 104 h 455"/>
                  <a:gd name="T34" fmla="*/ 35 w 391"/>
                  <a:gd name="T35" fmla="*/ 166 h 455"/>
                  <a:gd name="T36" fmla="*/ 14 w 391"/>
                  <a:gd name="T37" fmla="*/ 166 h 455"/>
                  <a:gd name="T38" fmla="*/ 29 w 391"/>
                  <a:gd name="T39" fmla="*/ 186 h 455"/>
                  <a:gd name="T40" fmla="*/ 35 w 391"/>
                  <a:gd name="T41" fmla="*/ 193 h 455"/>
                  <a:gd name="T42" fmla="*/ 7 w 391"/>
                  <a:gd name="T43" fmla="*/ 217 h 455"/>
                  <a:gd name="T44" fmla="*/ 14 w 391"/>
                  <a:gd name="T45" fmla="*/ 240 h 455"/>
                  <a:gd name="T46" fmla="*/ 29 w 391"/>
                  <a:gd name="T47" fmla="*/ 247 h 455"/>
                  <a:gd name="T48" fmla="*/ 35 w 391"/>
                  <a:gd name="T49" fmla="*/ 277 h 455"/>
                  <a:gd name="T50" fmla="*/ 57 w 391"/>
                  <a:gd name="T51" fmla="*/ 284 h 455"/>
                  <a:gd name="T52" fmla="*/ 129 w 391"/>
                  <a:gd name="T53" fmla="*/ 455 h 455"/>
                  <a:gd name="T54" fmla="*/ 151 w 391"/>
                  <a:gd name="T55" fmla="*/ 403 h 455"/>
                  <a:gd name="T56" fmla="*/ 164 w 391"/>
                  <a:gd name="T57" fmla="*/ 349 h 455"/>
                  <a:gd name="T58" fmla="*/ 178 w 391"/>
                  <a:gd name="T59" fmla="*/ 336 h 455"/>
                  <a:gd name="T60" fmla="*/ 186 w 391"/>
                  <a:gd name="T61" fmla="*/ 328 h 455"/>
                  <a:gd name="T62" fmla="*/ 248 w 391"/>
                  <a:gd name="T63" fmla="*/ 284 h 455"/>
                  <a:gd name="T64" fmla="*/ 270 w 391"/>
                  <a:gd name="T65" fmla="*/ 247 h 455"/>
                  <a:gd name="T66" fmla="*/ 277 w 391"/>
                  <a:gd name="T67" fmla="*/ 255 h 455"/>
                  <a:gd name="T68" fmla="*/ 261 w 391"/>
                  <a:gd name="T69" fmla="*/ 210 h 455"/>
                  <a:gd name="T70" fmla="*/ 270 w 391"/>
                  <a:gd name="T71" fmla="*/ 186 h 455"/>
                  <a:gd name="T72" fmla="*/ 290 w 391"/>
                  <a:gd name="T73" fmla="*/ 200 h 455"/>
                  <a:gd name="T74" fmla="*/ 305 w 391"/>
                  <a:gd name="T75" fmla="*/ 217 h 455"/>
                  <a:gd name="T76" fmla="*/ 312 w 391"/>
                  <a:gd name="T77" fmla="*/ 232 h 455"/>
                  <a:gd name="T78" fmla="*/ 320 w 391"/>
                  <a:gd name="T79" fmla="*/ 232 h 455"/>
                  <a:gd name="T80" fmla="*/ 334 w 391"/>
                  <a:gd name="T81" fmla="*/ 247 h 455"/>
                  <a:gd name="T82" fmla="*/ 375 w 391"/>
                  <a:gd name="T83" fmla="*/ 171 h 455"/>
                  <a:gd name="T84" fmla="*/ 391 w 391"/>
                  <a:gd name="T85" fmla="*/ 156 h 455"/>
                  <a:gd name="T86" fmla="*/ 354 w 391"/>
                  <a:gd name="T87" fmla="*/ 136 h 455"/>
                  <a:gd name="T88" fmla="*/ 354 w 391"/>
                  <a:gd name="T89" fmla="*/ 136 h 4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91" h="455">
                    <a:moveTo>
                      <a:pt x="354" y="136"/>
                    </a:moveTo>
                    <a:lnTo>
                      <a:pt x="312" y="156"/>
                    </a:lnTo>
                    <a:lnTo>
                      <a:pt x="320" y="171"/>
                    </a:lnTo>
                    <a:lnTo>
                      <a:pt x="277" y="171"/>
                    </a:lnTo>
                    <a:lnTo>
                      <a:pt x="277" y="166"/>
                    </a:lnTo>
                    <a:lnTo>
                      <a:pt x="270" y="156"/>
                    </a:lnTo>
                    <a:lnTo>
                      <a:pt x="261" y="156"/>
                    </a:lnTo>
                    <a:lnTo>
                      <a:pt x="261" y="186"/>
                    </a:lnTo>
                    <a:lnTo>
                      <a:pt x="256" y="186"/>
                    </a:lnTo>
                    <a:lnTo>
                      <a:pt x="178" y="156"/>
                    </a:lnTo>
                    <a:lnTo>
                      <a:pt x="164" y="139"/>
                    </a:lnTo>
                    <a:lnTo>
                      <a:pt x="171" y="117"/>
                    </a:lnTo>
                    <a:lnTo>
                      <a:pt x="141" y="112"/>
                    </a:lnTo>
                    <a:lnTo>
                      <a:pt x="134" y="80"/>
                    </a:lnTo>
                    <a:lnTo>
                      <a:pt x="151" y="80"/>
                    </a:lnTo>
                    <a:lnTo>
                      <a:pt x="141" y="67"/>
                    </a:lnTo>
                    <a:lnTo>
                      <a:pt x="164" y="43"/>
                    </a:lnTo>
                    <a:lnTo>
                      <a:pt x="164" y="27"/>
                    </a:lnTo>
                    <a:lnTo>
                      <a:pt x="151" y="15"/>
                    </a:lnTo>
                    <a:lnTo>
                      <a:pt x="129" y="27"/>
                    </a:lnTo>
                    <a:lnTo>
                      <a:pt x="99" y="6"/>
                    </a:lnTo>
                    <a:lnTo>
                      <a:pt x="92" y="0"/>
                    </a:lnTo>
                    <a:lnTo>
                      <a:pt x="71" y="0"/>
                    </a:lnTo>
                    <a:lnTo>
                      <a:pt x="71" y="20"/>
                    </a:lnTo>
                    <a:lnTo>
                      <a:pt x="77" y="20"/>
                    </a:lnTo>
                    <a:lnTo>
                      <a:pt x="86" y="27"/>
                    </a:lnTo>
                    <a:lnTo>
                      <a:pt x="86" y="35"/>
                    </a:lnTo>
                    <a:lnTo>
                      <a:pt x="77" y="43"/>
                    </a:lnTo>
                    <a:lnTo>
                      <a:pt x="86" y="52"/>
                    </a:lnTo>
                    <a:lnTo>
                      <a:pt x="77" y="74"/>
                    </a:lnTo>
                    <a:lnTo>
                      <a:pt x="92" y="80"/>
                    </a:lnTo>
                    <a:lnTo>
                      <a:pt x="92" y="89"/>
                    </a:lnTo>
                    <a:lnTo>
                      <a:pt x="86" y="89"/>
                    </a:lnTo>
                    <a:lnTo>
                      <a:pt x="92" y="104"/>
                    </a:lnTo>
                    <a:lnTo>
                      <a:pt x="49" y="156"/>
                    </a:lnTo>
                    <a:lnTo>
                      <a:pt x="35" y="166"/>
                    </a:lnTo>
                    <a:lnTo>
                      <a:pt x="29" y="156"/>
                    </a:lnTo>
                    <a:lnTo>
                      <a:pt x="14" y="166"/>
                    </a:lnTo>
                    <a:lnTo>
                      <a:pt x="14" y="186"/>
                    </a:lnTo>
                    <a:lnTo>
                      <a:pt x="29" y="186"/>
                    </a:lnTo>
                    <a:lnTo>
                      <a:pt x="29" y="193"/>
                    </a:lnTo>
                    <a:lnTo>
                      <a:pt x="35" y="193"/>
                    </a:lnTo>
                    <a:lnTo>
                      <a:pt x="35" y="217"/>
                    </a:lnTo>
                    <a:lnTo>
                      <a:pt x="7" y="217"/>
                    </a:lnTo>
                    <a:lnTo>
                      <a:pt x="0" y="232"/>
                    </a:lnTo>
                    <a:lnTo>
                      <a:pt x="14" y="240"/>
                    </a:lnTo>
                    <a:lnTo>
                      <a:pt x="29" y="240"/>
                    </a:lnTo>
                    <a:lnTo>
                      <a:pt x="29" y="247"/>
                    </a:lnTo>
                    <a:lnTo>
                      <a:pt x="7" y="247"/>
                    </a:lnTo>
                    <a:lnTo>
                      <a:pt x="35" y="277"/>
                    </a:lnTo>
                    <a:lnTo>
                      <a:pt x="57" y="247"/>
                    </a:lnTo>
                    <a:lnTo>
                      <a:pt x="57" y="284"/>
                    </a:lnTo>
                    <a:lnTo>
                      <a:pt x="114" y="447"/>
                    </a:lnTo>
                    <a:lnTo>
                      <a:pt x="129" y="455"/>
                    </a:lnTo>
                    <a:lnTo>
                      <a:pt x="151" y="432"/>
                    </a:lnTo>
                    <a:lnTo>
                      <a:pt x="151" y="403"/>
                    </a:lnTo>
                    <a:lnTo>
                      <a:pt x="164" y="378"/>
                    </a:lnTo>
                    <a:lnTo>
                      <a:pt x="164" y="349"/>
                    </a:lnTo>
                    <a:lnTo>
                      <a:pt x="171" y="349"/>
                    </a:lnTo>
                    <a:lnTo>
                      <a:pt x="178" y="336"/>
                    </a:lnTo>
                    <a:lnTo>
                      <a:pt x="186" y="336"/>
                    </a:lnTo>
                    <a:lnTo>
                      <a:pt x="186" y="328"/>
                    </a:lnTo>
                    <a:lnTo>
                      <a:pt x="226" y="291"/>
                    </a:lnTo>
                    <a:lnTo>
                      <a:pt x="248" y="284"/>
                    </a:lnTo>
                    <a:lnTo>
                      <a:pt x="256" y="255"/>
                    </a:lnTo>
                    <a:lnTo>
                      <a:pt x="270" y="247"/>
                    </a:lnTo>
                    <a:lnTo>
                      <a:pt x="270" y="255"/>
                    </a:lnTo>
                    <a:lnTo>
                      <a:pt x="277" y="255"/>
                    </a:lnTo>
                    <a:lnTo>
                      <a:pt x="270" y="210"/>
                    </a:lnTo>
                    <a:lnTo>
                      <a:pt x="261" y="210"/>
                    </a:lnTo>
                    <a:lnTo>
                      <a:pt x="270" y="193"/>
                    </a:lnTo>
                    <a:lnTo>
                      <a:pt x="270" y="186"/>
                    </a:lnTo>
                    <a:lnTo>
                      <a:pt x="290" y="186"/>
                    </a:lnTo>
                    <a:lnTo>
                      <a:pt x="290" y="200"/>
                    </a:lnTo>
                    <a:lnTo>
                      <a:pt x="320" y="200"/>
                    </a:lnTo>
                    <a:lnTo>
                      <a:pt x="305" y="217"/>
                    </a:lnTo>
                    <a:lnTo>
                      <a:pt x="305" y="232"/>
                    </a:lnTo>
                    <a:lnTo>
                      <a:pt x="312" y="232"/>
                    </a:lnTo>
                    <a:lnTo>
                      <a:pt x="320" y="217"/>
                    </a:lnTo>
                    <a:lnTo>
                      <a:pt x="320" y="232"/>
                    </a:lnTo>
                    <a:lnTo>
                      <a:pt x="334" y="255"/>
                    </a:lnTo>
                    <a:lnTo>
                      <a:pt x="334" y="247"/>
                    </a:lnTo>
                    <a:lnTo>
                      <a:pt x="364" y="186"/>
                    </a:lnTo>
                    <a:lnTo>
                      <a:pt x="375" y="171"/>
                    </a:lnTo>
                    <a:lnTo>
                      <a:pt x="391" y="171"/>
                    </a:lnTo>
                    <a:lnTo>
                      <a:pt x="391" y="156"/>
                    </a:lnTo>
                    <a:lnTo>
                      <a:pt x="375" y="136"/>
                    </a:lnTo>
                    <a:lnTo>
                      <a:pt x="354" y="136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26" name="Freeform 262"/>
              <p:cNvSpPr>
                <a:spLocks/>
              </p:cNvSpPr>
              <p:nvPr/>
            </p:nvSpPr>
            <p:spPr bwMode="auto">
              <a:xfrm>
                <a:off x="7302500" y="3941763"/>
                <a:ext cx="71438" cy="131762"/>
              </a:xfrm>
              <a:custGeom>
                <a:avLst/>
                <a:gdLst>
                  <a:gd name="T0" fmla="*/ 0 w 40"/>
                  <a:gd name="T1" fmla="*/ 24 h 76"/>
                  <a:gd name="T2" fmla="*/ 27 w 40"/>
                  <a:gd name="T3" fmla="*/ 0 h 76"/>
                  <a:gd name="T4" fmla="*/ 40 w 40"/>
                  <a:gd name="T5" fmla="*/ 48 h 76"/>
                  <a:gd name="T6" fmla="*/ 35 w 40"/>
                  <a:gd name="T7" fmla="*/ 68 h 76"/>
                  <a:gd name="T8" fmla="*/ 0 w 40"/>
                  <a:gd name="T9" fmla="*/ 76 h 76"/>
                  <a:gd name="T10" fmla="*/ 0 w 40"/>
                  <a:gd name="T11" fmla="*/ 24 h 76"/>
                  <a:gd name="T12" fmla="*/ 0 w 40"/>
                  <a:gd name="T13" fmla="*/ 24 h 76"/>
                  <a:gd name="T14" fmla="*/ 0 w 40"/>
                  <a:gd name="T15" fmla="*/ 24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0" h="76">
                    <a:moveTo>
                      <a:pt x="0" y="24"/>
                    </a:moveTo>
                    <a:lnTo>
                      <a:pt x="27" y="0"/>
                    </a:lnTo>
                    <a:lnTo>
                      <a:pt x="40" y="48"/>
                    </a:lnTo>
                    <a:lnTo>
                      <a:pt x="35" y="68"/>
                    </a:lnTo>
                    <a:lnTo>
                      <a:pt x="0" y="76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27" name="Freeform 263"/>
              <p:cNvSpPr>
                <a:spLocks/>
              </p:cNvSpPr>
              <p:nvPr/>
            </p:nvSpPr>
            <p:spPr bwMode="auto">
              <a:xfrm>
                <a:off x="7267575" y="3816350"/>
                <a:ext cx="144463" cy="163513"/>
              </a:xfrm>
              <a:custGeom>
                <a:avLst/>
                <a:gdLst>
                  <a:gd name="T0" fmla="*/ 82 w 82"/>
                  <a:gd name="T1" fmla="*/ 0 h 94"/>
                  <a:gd name="T2" fmla="*/ 68 w 82"/>
                  <a:gd name="T3" fmla="*/ 0 h 94"/>
                  <a:gd name="T4" fmla="*/ 55 w 82"/>
                  <a:gd name="T5" fmla="*/ 17 h 94"/>
                  <a:gd name="T6" fmla="*/ 48 w 82"/>
                  <a:gd name="T7" fmla="*/ 17 h 94"/>
                  <a:gd name="T8" fmla="*/ 38 w 82"/>
                  <a:gd name="T9" fmla="*/ 24 h 94"/>
                  <a:gd name="T10" fmla="*/ 33 w 82"/>
                  <a:gd name="T11" fmla="*/ 24 h 94"/>
                  <a:gd name="T12" fmla="*/ 0 w 82"/>
                  <a:gd name="T13" fmla="*/ 52 h 94"/>
                  <a:gd name="T14" fmla="*/ 0 w 82"/>
                  <a:gd name="T15" fmla="*/ 59 h 94"/>
                  <a:gd name="T16" fmla="*/ 8 w 82"/>
                  <a:gd name="T17" fmla="*/ 59 h 94"/>
                  <a:gd name="T18" fmla="*/ 0 w 82"/>
                  <a:gd name="T19" fmla="*/ 88 h 94"/>
                  <a:gd name="T20" fmla="*/ 8 w 82"/>
                  <a:gd name="T21" fmla="*/ 94 h 94"/>
                  <a:gd name="T22" fmla="*/ 20 w 82"/>
                  <a:gd name="T23" fmla="*/ 94 h 94"/>
                  <a:gd name="T24" fmla="*/ 48 w 82"/>
                  <a:gd name="T25" fmla="*/ 74 h 94"/>
                  <a:gd name="T26" fmla="*/ 33 w 82"/>
                  <a:gd name="T27" fmla="*/ 66 h 94"/>
                  <a:gd name="T28" fmla="*/ 33 w 82"/>
                  <a:gd name="T29" fmla="*/ 59 h 94"/>
                  <a:gd name="T30" fmla="*/ 60 w 82"/>
                  <a:gd name="T31" fmla="*/ 37 h 94"/>
                  <a:gd name="T32" fmla="*/ 60 w 82"/>
                  <a:gd name="T33" fmla="*/ 24 h 94"/>
                  <a:gd name="T34" fmla="*/ 82 w 82"/>
                  <a:gd name="T35" fmla="*/ 0 h 94"/>
                  <a:gd name="T36" fmla="*/ 82 w 82"/>
                  <a:gd name="T37" fmla="*/ 0 h 94"/>
                  <a:gd name="T38" fmla="*/ 82 w 82"/>
                  <a:gd name="T3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82" h="94">
                    <a:moveTo>
                      <a:pt x="82" y="0"/>
                    </a:moveTo>
                    <a:lnTo>
                      <a:pt x="68" y="0"/>
                    </a:lnTo>
                    <a:lnTo>
                      <a:pt x="55" y="17"/>
                    </a:lnTo>
                    <a:lnTo>
                      <a:pt x="48" y="17"/>
                    </a:lnTo>
                    <a:lnTo>
                      <a:pt x="38" y="24"/>
                    </a:lnTo>
                    <a:lnTo>
                      <a:pt x="33" y="24"/>
                    </a:lnTo>
                    <a:lnTo>
                      <a:pt x="0" y="52"/>
                    </a:lnTo>
                    <a:lnTo>
                      <a:pt x="0" y="59"/>
                    </a:lnTo>
                    <a:lnTo>
                      <a:pt x="8" y="59"/>
                    </a:lnTo>
                    <a:lnTo>
                      <a:pt x="0" y="88"/>
                    </a:lnTo>
                    <a:lnTo>
                      <a:pt x="8" y="94"/>
                    </a:lnTo>
                    <a:lnTo>
                      <a:pt x="20" y="94"/>
                    </a:lnTo>
                    <a:lnTo>
                      <a:pt x="48" y="74"/>
                    </a:lnTo>
                    <a:lnTo>
                      <a:pt x="33" y="66"/>
                    </a:lnTo>
                    <a:lnTo>
                      <a:pt x="33" y="59"/>
                    </a:lnTo>
                    <a:lnTo>
                      <a:pt x="60" y="37"/>
                    </a:lnTo>
                    <a:lnTo>
                      <a:pt x="60" y="24"/>
                    </a:lnTo>
                    <a:lnTo>
                      <a:pt x="82" y="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28" name="Freeform 264"/>
              <p:cNvSpPr>
                <a:spLocks/>
              </p:cNvSpPr>
              <p:nvPr/>
            </p:nvSpPr>
            <p:spPr bwMode="auto">
              <a:xfrm>
                <a:off x="7373938" y="4089400"/>
                <a:ext cx="63500" cy="107950"/>
              </a:xfrm>
              <a:custGeom>
                <a:avLst/>
                <a:gdLst>
                  <a:gd name="T0" fmla="*/ 0 w 37"/>
                  <a:gd name="T1" fmla="*/ 16 h 62"/>
                  <a:gd name="T2" fmla="*/ 0 w 37"/>
                  <a:gd name="T3" fmla="*/ 23 h 62"/>
                  <a:gd name="T4" fmla="*/ 10 w 37"/>
                  <a:gd name="T5" fmla="*/ 23 h 62"/>
                  <a:gd name="T6" fmla="*/ 10 w 37"/>
                  <a:gd name="T7" fmla="*/ 53 h 62"/>
                  <a:gd name="T8" fmla="*/ 24 w 37"/>
                  <a:gd name="T9" fmla="*/ 62 h 62"/>
                  <a:gd name="T10" fmla="*/ 30 w 37"/>
                  <a:gd name="T11" fmla="*/ 53 h 62"/>
                  <a:gd name="T12" fmla="*/ 37 w 37"/>
                  <a:gd name="T13" fmla="*/ 23 h 62"/>
                  <a:gd name="T14" fmla="*/ 10 w 37"/>
                  <a:gd name="T15" fmla="*/ 0 h 62"/>
                  <a:gd name="T16" fmla="*/ 0 w 37"/>
                  <a:gd name="T17" fmla="*/ 16 h 62"/>
                  <a:gd name="T18" fmla="*/ 0 w 37"/>
                  <a:gd name="T19" fmla="*/ 16 h 62"/>
                  <a:gd name="T20" fmla="*/ 0 w 37"/>
                  <a:gd name="T21" fmla="*/ 16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7" h="62">
                    <a:moveTo>
                      <a:pt x="0" y="16"/>
                    </a:moveTo>
                    <a:lnTo>
                      <a:pt x="0" y="23"/>
                    </a:lnTo>
                    <a:lnTo>
                      <a:pt x="10" y="23"/>
                    </a:lnTo>
                    <a:lnTo>
                      <a:pt x="10" y="53"/>
                    </a:lnTo>
                    <a:lnTo>
                      <a:pt x="24" y="62"/>
                    </a:lnTo>
                    <a:lnTo>
                      <a:pt x="30" y="53"/>
                    </a:lnTo>
                    <a:lnTo>
                      <a:pt x="37" y="23"/>
                    </a:lnTo>
                    <a:lnTo>
                      <a:pt x="10" y="0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29" name="Freeform 265"/>
              <p:cNvSpPr>
                <a:spLocks/>
              </p:cNvSpPr>
              <p:nvPr/>
            </p:nvSpPr>
            <p:spPr bwMode="auto">
              <a:xfrm>
                <a:off x="7437438" y="4086225"/>
                <a:ext cx="61912" cy="49213"/>
              </a:xfrm>
              <a:custGeom>
                <a:avLst/>
                <a:gdLst>
                  <a:gd name="T0" fmla="*/ 0 w 35"/>
                  <a:gd name="T1" fmla="*/ 18 h 28"/>
                  <a:gd name="T2" fmla="*/ 0 w 35"/>
                  <a:gd name="T3" fmla="*/ 28 h 28"/>
                  <a:gd name="T4" fmla="*/ 7 w 35"/>
                  <a:gd name="T5" fmla="*/ 28 h 28"/>
                  <a:gd name="T6" fmla="*/ 15 w 35"/>
                  <a:gd name="T7" fmla="*/ 18 h 28"/>
                  <a:gd name="T8" fmla="*/ 28 w 35"/>
                  <a:gd name="T9" fmla="*/ 18 h 28"/>
                  <a:gd name="T10" fmla="*/ 35 w 35"/>
                  <a:gd name="T11" fmla="*/ 0 h 28"/>
                  <a:gd name="T12" fmla="*/ 15 w 35"/>
                  <a:gd name="T13" fmla="*/ 0 h 28"/>
                  <a:gd name="T14" fmla="*/ 0 w 35"/>
                  <a:gd name="T15" fmla="*/ 18 h 28"/>
                  <a:gd name="T16" fmla="*/ 0 w 35"/>
                  <a:gd name="T17" fmla="*/ 18 h 28"/>
                  <a:gd name="T18" fmla="*/ 0 w 35"/>
                  <a:gd name="T19" fmla="*/ 1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5" h="28">
                    <a:moveTo>
                      <a:pt x="0" y="18"/>
                    </a:moveTo>
                    <a:lnTo>
                      <a:pt x="0" y="28"/>
                    </a:lnTo>
                    <a:lnTo>
                      <a:pt x="7" y="28"/>
                    </a:lnTo>
                    <a:lnTo>
                      <a:pt x="15" y="18"/>
                    </a:lnTo>
                    <a:lnTo>
                      <a:pt x="28" y="18"/>
                    </a:lnTo>
                    <a:lnTo>
                      <a:pt x="35" y="0"/>
                    </a:lnTo>
                    <a:lnTo>
                      <a:pt x="15" y="0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30" name="Freeform 266"/>
              <p:cNvSpPr>
                <a:spLocks/>
              </p:cNvSpPr>
              <p:nvPr/>
            </p:nvSpPr>
            <p:spPr bwMode="auto">
              <a:xfrm>
                <a:off x="7412038" y="3851275"/>
                <a:ext cx="249237" cy="260350"/>
              </a:xfrm>
              <a:custGeom>
                <a:avLst/>
                <a:gdLst>
                  <a:gd name="T0" fmla="*/ 0 w 142"/>
                  <a:gd name="T1" fmla="*/ 130 h 150"/>
                  <a:gd name="T2" fmla="*/ 0 w 142"/>
                  <a:gd name="T3" fmla="*/ 137 h 150"/>
                  <a:gd name="T4" fmla="*/ 13 w 142"/>
                  <a:gd name="T5" fmla="*/ 137 h 150"/>
                  <a:gd name="T6" fmla="*/ 50 w 142"/>
                  <a:gd name="T7" fmla="*/ 120 h 150"/>
                  <a:gd name="T8" fmla="*/ 58 w 142"/>
                  <a:gd name="T9" fmla="*/ 130 h 150"/>
                  <a:gd name="T10" fmla="*/ 58 w 142"/>
                  <a:gd name="T11" fmla="*/ 137 h 150"/>
                  <a:gd name="T12" fmla="*/ 64 w 142"/>
                  <a:gd name="T13" fmla="*/ 150 h 150"/>
                  <a:gd name="T14" fmla="*/ 72 w 142"/>
                  <a:gd name="T15" fmla="*/ 130 h 150"/>
                  <a:gd name="T16" fmla="*/ 72 w 142"/>
                  <a:gd name="T17" fmla="*/ 120 h 150"/>
                  <a:gd name="T18" fmla="*/ 85 w 142"/>
                  <a:gd name="T19" fmla="*/ 130 h 150"/>
                  <a:gd name="T20" fmla="*/ 94 w 142"/>
                  <a:gd name="T21" fmla="*/ 130 h 150"/>
                  <a:gd name="T22" fmla="*/ 99 w 142"/>
                  <a:gd name="T23" fmla="*/ 120 h 150"/>
                  <a:gd name="T24" fmla="*/ 109 w 142"/>
                  <a:gd name="T25" fmla="*/ 130 h 150"/>
                  <a:gd name="T26" fmla="*/ 109 w 142"/>
                  <a:gd name="T27" fmla="*/ 120 h 150"/>
                  <a:gd name="T28" fmla="*/ 114 w 142"/>
                  <a:gd name="T29" fmla="*/ 113 h 150"/>
                  <a:gd name="T30" fmla="*/ 114 w 142"/>
                  <a:gd name="T31" fmla="*/ 120 h 150"/>
                  <a:gd name="T32" fmla="*/ 131 w 142"/>
                  <a:gd name="T33" fmla="*/ 120 h 150"/>
                  <a:gd name="T34" fmla="*/ 136 w 142"/>
                  <a:gd name="T35" fmla="*/ 113 h 150"/>
                  <a:gd name="T36" fmla="*/ 136 w 142"/>
                  <a:gd name="T37" fmla="*/ 69 h 150"/>
                  <a:gd name="T38" fmla="*/ 142 w 142"/>
                  <a:gd name="T39" fmla="*/ 69 h 150"/>
                  <a:gd name="T40" fmla="*/ 142 w 142"/>
                  <a:gd name="T41" fmla="*/ 10 h 150"/>
                  <a:gd name="T42" fmla="*/ 136 w 142"/>
                  <a:gd name="T43" fmla="*/ 0 h 150"/>
                  <a:gd name="T44" fmla="*/ 136 w 142"/>
                  <a:gd name="T45" fmla="*/ 10 h 150"/>
                  <a:gd name="T46" fmla="*/ 131 w 142"/>
                  <a:gd name="T47" fmla="*/ 10 h 150"/>
                  <a:gd name="T48" fmla="*/ 99 w 142"/>
                  <a:gd name="T49" fmla="*/ 78 h 150"/>
                  <a:gd name="T50" fmla="*/ 85 w 142"/>
                  <a:gd name="T51" fmla="*/ 93 h 150"/>
                  <a:gd name="T52" fmla="*/ 85 w 142"/>
                  <a:gd name="T53" fmla="*/ 78 h 150"/>
                  <a:gd name="T54" fmla="*/ 72 w 142"/>
                  <a:gd name="T55" fmla="*/ 86 h 150"/>
                  <a:gd name="T56" fmla="*/ 64 w 142"/>
                  <a:gd name="T57" fmla="*/ 113 h 150"/>
                  <a:gd name="T58" fmla="*/ 22 w 142"/>
                  <a:gd name="T59" fmla="*/ 113 h 150"/>
                  <a:gd name="T60" fmla="*/ 0 w 142"/>
                  <a:gd name="T61" fmla="*/ 130 h 150"/>
                  <a:gd name="T62" fmla="*/ 0 w 142"/>
                  <a:gd name="T63" fmla="*/ 130 h 150"/>
                  <a:gd name="T64" fmla="*/ 0 w 142"/>
                  <a:gd name="T65" fmla="*/ 13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42" h="150">
                    <a:moveTo>
                      <a:pt x="0" y="130"/>
                    </a:moveTo>
                    <a:lnTo>
                      <a:pt x="0" y="137"/>
                    </a:lnTo>
                    <a:lnTo>
                      <a:pt x="13" y="137"/>
                    </a:lnTo>
                    <a:lnTo>
                      <a:pt x="50" y="120"/>
                    </a:lnTo>
                    <a:lnTo>
                      <a:pt x="58" y="130"/>
                    </a:lnTo>
                    <a:lnTo>
                      <a:pt x="58" y="137"/>
                    </a:lnTo>
                    <a:lnTo>
                      <a:pt x="64" y="150"/>
                    </a:lnTo>
                    <a:lnTo>
                      <a:pt x="72" y="130"/>
                    </a:lnTo>
                    <a:lnTo>
                      <a:pt x="72" y="120"/>
                    </a:lnTo>
                    <a:lnTo>
                      <a:pt x="85" y="130"/>
                    </a:lnTo>
                    <a:lnTo>
                      <a:pt x="94" y="130"/>
                    </a:lnTo>
                    <a:lnTo>
                      <a:pt x="99" y="120"/>
                    </a:lnTo>
                    <a:lnTo>
                      <a:pt x="109" y="130"/>
                    </a:lnTo>
                    <a:lnTo>
                      <a:pt x="109" y="120"/>
                    </a:lnTo>
                    <a:lnTo>
                      <a:pt x="114" y="113"/>
                    </a:lnTo>
                    <a:lnTo>
                      <a:pt x="114" y="120"/>
                    </a:lnTo>
                    <a:lnTo>
                      <a:pt x="131" y="120"/>
                    </a:lnTo>
                    <a:lnTo>
                      <a:pt x="136" y="113"/>
                    </a:lnTo>
                    <a:lnTo>
                      <a:pt x="136" y="69"/>
                    </a:lnTo>
                    <a:lnTo>
                      <a:pt x="142" y="69"/>
                    </a:lnTo>
                    <a:lnTo>
                      <a:pt x="142" y="10"/>
                    </a:lnTo>
                    <a:lnTo>
                      <a:pt x="136" y="0"/>
                    </a:lnTo>
                    <a:lnTo>
                      <a:pt x="136" y="10"/>
                    </a:lnTo>
                    <a:lnTo>
                      <a:pt x="131" y="10"/>
                    </a:lnTo>
                    <a:lnTo>
                      <a:pt x="99" y="78"/>
                    </a:lnTo>
                    <a:lnTo>
                      <a:pt x="85" y="93"/>
                    </a:lnTo>
                    <a:lnTo>
                      <a:pt x="85" y="78"/>
                    </a:lnTo>
                    <a:lnTo>
                      <a:pt x="72" y="86"/>
                    </a:lnTo>
                    <a:lnTo>
                      <a:pt x="64" y="113"/>
                    </a:lnTo>
                    <a:lnTo>
                      <a:pt x="22" y="113"/>
                    </a:lnTo>
                    <a:lnTo>
                      <a:pt x="0" y="13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31" name="Freeform 267"/>
              <p:cNvSpPr>
                <a:spLocks/>
              </p:cNvSpPr>
              <p:nvPr/>
            </p:nvSpPr>
            <p:spPr bwMode="auto">
              <a:xfrm>
                <a:off x="7613650" y="3709988"/>
                <a:ext cx="150813" cy="147637"/>
              </a:xfrm>
              <a:custGeom>
                <a:avLst/>
                <a:gdLst>
                  <a:gd name="T0" fmla="*/ 0 w 86"/>
                  <a:gd name="T1" fmla="*/ 62 h 84"/>
                  <a:gd name="T2" fmla="*/ 0 w 86"/>
                  <a:gd name="T3" fmla="*/ 84 h 84"/>
                  <a:gd name="T4" fmla="*/ 22 w 86"/>
                  <a:gd name="T5" fmla="*/ 75 h 84"/>
                  <a:gd name="T6" fmla="*/ 17 w 86"/>
                  <a:gd name="T7" fmla="*/ 75 h 84"/>
                  <a:gd name="T8" fmla="*/ 17 w 86"/>
                  <a:gd name="T9" fmla="*/ 62 h 84"/>
                  <a:gd name="T10" fmla="*/ 29 w 86"/>
                  <a:gd name="T11" fmla="*/ 62 h 84"/>
                  <a:gd name="T12" fmla="*/ 59 w 86"/>
                  <a:gd name="T13" fmla="*/ 75 h 84"/>
                  <a:gd name="T14" fmla="*/ 66 w 86"/>
                  <a:gd name="T15" fmla="*/ 53 h 84"/>
                  <a:gd name="T16" fmla="*/ 71 w 86"/>
                  <a:gd name="T17" fmla="*/ 53 h 84"/>
                  <a:gd name="T18" fmla="*/ 86 w 86"/>
                  <a:gd name="T19" fmla="*/ 45 h 84"/>
                  <a:gd name="T20" fmla="*/ 79 w 86"/>
                  <a:gd name="T21" fmla="*/ 45 h 84"/>
                  <a:gd name="T22" fmla="*/ 71 w 86"/>
                  <a:gd name="T23" fmla="*/ 37 h 84"/>
                  <a:gd name="T24" fmla="*/ 79 w 86"/>
                  <a:gd name="T25" fmla="*/ 30 h 84"/>
                  <a:gd name="T26" fmla="*/ 71 w 86"/>
                  <a:gd name="T27" fmla="*/ 37 h 84"/>
                  <a:gd name="T28" fmla="*/ 59 w 86"/>
                  <a:gd name="T29" fmla="*/ 30 h 84"/>
                  <a:gd name="T30" fmla="*/ 29 w 86"/>
                  <a:gd name="T31" fmla="*/ 0 h 84"/>
                  <a:gd name="T32" fmla="*/ 22 w 86"/>
                  <a:gd name="T33" fmla="*/ 53 h 84"/>
                  <a:gd name="T34" fmla="*/ 17 w 86"/>
                  <a:gd name="T35" fmla="*/ 45 h 84"/>
                  <a:gd name="T36" fmla="*/ 17 w 86"/>
                  <a:gd name="T37" fmla="*/ 53 h 84"/>
                  <a:gd name="T38" fmla="*/ 0 w 86"/>
                  <a:gd name="T39" fmla="*/ 62 h 84"/>
                  <a:gd name="T40" fmla="*/ 0 w 86"/>
                  <a:gd name="T41" fmla="*/ 62 h 84"/>
                  <a:gd name="T42" fmla="*/ 0 w 86"/>
                  <a:gd name="T43" fmla="*/ 62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6" h="84">
                    <a:moveTo>
                      <a:pt x="0" y="62"/>
                    </a:moveTo>
                    <a:lnTo>
                      <a:pt x="0" y="84"/>
                    </a:lnTo>
                    <a:lnTo>
                      <a:pt x="22" y="75"/>
                    </a:lnTo>
                    <a:lnTo>
                      <a:pt x="17" y="75"/>
                    </a:lnTo>
                    <a:lnTo>
                      <a:pt x="17" y="62"/>
                    </a:lnTo>
                    <a:lnTo>
                      <a:pt x="29" y="62"/>
                    </a:lnTo>
                    <a:lnTo>
                      <a:pt x="59" y="75"/>
                    </a:lnTo>
                    <a:lnTo>
                      <a:pt x="66" y="53"/>
                    </a:lnTo>
                    <a:lnTo>
                      <a:pt x="71" y="53"/>
                    </a:lnTo>
                    <a:lnTo>
                      <a:pt x="86" y="45"/>
                    </a:lnTo>
                    <a:lnTo>
                      <a:pt x="79" y="45"/>
                    </a:lnTo>
                    <a:lnTo>
                      <a:pt x="71" y="37"/>
                    </a:lnTo>
                    <a:lnTo>
                      <a:pt x="79" y="30"/>
                    </a:lnTo>
                    <a:lnTo>
                      <a:pt x="71" y="37"/>
                    </a:lnTo>
                    <a:lnTo>
                      <a:pt x="59" y="30"/>
                    </a:lnTo>
                    <a:lnTo>
                      <a:pt x="29" y="0"/>
                    </a:lnTo>
                    <a:lnTo>
                      <a:pt x="22" y="53"/>
                    </a:lnTo>
                    <a:lnTo>
                      <a:pt x="17" y="45"/>
                    </a:lnTo>
                    <a:lnTo>
                      <a:pt x="17" y="53"/>
                    </a:lnTo>
                    <a:lnTo>
                      <a:pt x="0" y="62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32" name="Freeform 268"/>
              <p:cNvSpPr>
                <a:spLocks/>
              </p:cNvSpPr>
              <p:nvPr/>
            </p:nvSpPr>
            <p:spPr bwMode="auto">
              <a:xfrm>
                <a:off x="5753100" y="3941763"/>
                <a:ext cx="338138" cy="295275"/>
              </a:xfrm>
              <a:custGeom>
                <a:avLst/>
                <a:gdLst>
                  <a:gd name="T0" fmla="*/ 188 w 193"/>
                  <a:gd name="T1" fmla="*/ 32 h 170"/>
                  <a:gd name="T2" fmla="*/ 178 w 193"/>
                  <a:gd name="T3" fmla="*/ 32 h 170"/>
                  <a:gd name="T4" fmla="*/ 157 w 193"/>
                  <a:gd name="T5" fmla="*/ 39 h 170"/>
                  <a:gd name="T6" fmla="*/ 144 w 193"/>
                  <a:gd name="T7" fmla="*/ 48 h 170"/>
                  <a:gd name="T8" fmla="*/ 144 w 193"/>
                  <a:gd name="T9" fmla="*/ 68 h 170"/>
                  <a:gd name="T10" fmla="*/ 136 w 193"/>
                  <a:gd name="T11" fmla="*/ 85 h 170"/>
                  <a:gd name="T12" fmla="*/ 129 w 193"/>
                  <a:gd name="T13" fmla="*/ 85 h 170"/>
                  <a:gd name="T14" fmla="*/ 129 w 193"/>
                  <a:gd name="T15" fmla="*/ 100 h 170"/>
                  <a:gd name="T16" fmla="*/ 114 w 193"/>
                  <a:gd name="T17" fmla="*/ 108 h 170"/>
                  <a:gd name="T18" fmla="*/ 114 w 193"/>
                  <a:gd name="T19" fmla="*/ 123 h 170"/>
                  <a:gd name="T20" fmla="*/ 85 w 193"/>
                  <a:gd name="T21" fmla="*/ 138 h 170"/>
                  <a:gd name="T22" fmla="*/ 79 w 193"/>
                  <a:gd name="T23" fmla="*/ 147 h 170"/>
                  <a:gd name="T24" fmla="*/ 79 w 193"/>
                  <a:gd name="T25" fmla="*/ 162 h 170"/>
                  <a:gd name="T26" fmla="*/ 22 w 193"/>
                  <a:gd name="T27" fmla="*/ 170 h 170"/>
                  <a:gd name="T28" fmla="*/ 8 w 193"/>
                  <a:gd name="T29" fmla="*/ 162 h 170"/>
                  <a:gd name="T30" fmla="*/ 15 w 193"/>
                  <a:gd name="T31" fmla="*/ 147 h 170"/>
                  <a:gd name="T32" fmla="*/ 15 w 193"/>
                  <a:gd name="T33" fmla="*/ 138 h 170"/>
                  <a:gd name="T34" fmla="*/ 0 w 193"/>
                  <a:gd name="T35" fmla="*/ 123 h 170"/>
                  <a:gd name="T36" fmla="*/ 0 w 193"/>
                  <a:gd name="T37" fmla="*/ 85 h 170"/>
                  <a:gd name="T38" fmla="*/ 8 w 193"/>
                  <a:gd name="T39" fmla="*/ 68 h 170"/>
                  <a:gd name="T40" fmla="*/ 8 w 193"/>
                  <a:gd name="T41" fmla="*/ 61 h 170"/>
                  <a:gd name="T42" fmla="*/ 28 w 193"/>
                  <a:gd name="T43" fmla="*/ 61 h 170"/>
                  <a:gd name="T44" fmla="*/ 28 w 193"/>
                  <a:gd name="T45" fmla="*/ 48 h 170"/>
                  <a:gd name="T46" fmla="*/ 50 w 193"/>
                  <a:gd name="T47" fmla="*/ 48 h 170"/>
                  <a:gd name="T48" fmla="*/ 59 w 193"/>
                  <a:gd name="T49" fmla="*/ 32 h 170"/>
                  <a:gd name="T50" fmla="*/ 67 w 193"/>
                  <a:gd name="T51" fmla="*/ 32 h 170"/>
                  <a:gd name="T52" fmla="*/ 67 w 193"/>
                  <a:gd name="T53" fmla="*/ 24 h 170"/>
                  <a:gd name="T54" fmla="*/ 100 w 193"/>
                  <a:gd name="T55" fmla="*/ 32 h 170"/>
                  <a:gd name="T56" fmla="*/ 114 w 193"/>
                  <a:gd name="T57" fmla="*/ 32 h 170"/>
                  <a:gd name="T58" fmla="*/ 114 w 193"/>
                  <a:gd name="T59" fmla="*/ 24 h 170"/>
                  <a:gd name="T60" fmla="*/ 129 w 193"/>
                  <a:gd name="T61" fmla="*/ 24 h 170"/>
                  <a:gd name="T62" fmla="*/ 136 w 193"/>
                  <a:gd name="T63" fmla="*/ 0 h 170"/>
                  <a:gd name="T64" fmla="*/ 144 w 193"/>
                  <a:gd name="T65" fmla="*/ 17 h 170"/>
                  <a:gd name="T66" fmla="*/ 149 w 193"/>
                  <a:gd name="T67" fmla="*/ 39 h 170"/>
                  <a:gd name="T68" fmla="*/ 171 w 193"/>
                  <a:gd name="T69" fmla="*/ 24 h 170"/>
                  <a:gd name="T70" fmla="*/ 193 w 193"/>
                  <a:gd name="T71" fmla="*/ 32 h 170"/>
                  <a:gd name="T72" fmla="*/ 188 w 193"/>
                  <a:gd name="T73" fmla="*/ 32 h 170"/>
                  <a:gd name="T74" fmla="*/ 188 w 193"/>
                  <a:gd name="T75" fmla="*/ 32 h 170"/>
                  <a:gd name="T76" fmla="*/ 188 w 193"/>
                  <a:gd name="T77" fmla="*/ 32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93" h="170">
                    <a:moveTo>
                      <a:pt x="188" y="32"/>
                    </a:moveTo>
                    <a:lnTo>
                      <a:pt x="178" y="32"/>
                    </a:lnTo>
                    <a:lnTo>
                      <a:pt x="157" y="39"/>
                    </a:lnTo>
                    <a:lnTo>
                      <a:pt x="144" y="48"/>
                    </a:lnTo>
                    <a:lnTo>
                      <a:pt x="144" y="68"/>
                    </a:lnTo>
                    <a:lnTo>
                      <a:pt x="136" y="85"/>
                    </a:lnTo>
                    <a:lnTo>
                      <a:pt x="129" y="85"/>
                    </a:lnTo>
                    <a:lnTo>
                      <a:pt x="129" y="100"/>
                    </a:lnTo>
                    <a:lnTo>
                      <a:pt x="114" y="108"/>
                    </a:lnTo>
                    <a:lnTo>
                      <a:pt x="114" y="123"/>
                    </a:lnTo>
                    <a:lnTo>
                      <a:pt x="85" y="138"/>
                    </a:lnTo>
                    <a:lnTo>
                      <a:pt x="79" y="147"/>
                    </a:lnTo>
                    <a:lnTo>
                      <a:pt x="79" y="162"/>
                    </a:lnTo>
                    <a:lnTo>
                      <a:pt x="22" y="170"/>
                    </a:lnTo>
                    <a:lnTo>
                      <a:pt x="8" y="162"/>
                    </a:lnTo>
                    <a:lnTo>
                      <a:pt x="15" y="147"/>
                    </a:lnTo>
                    <a:lnTo>
                      <a:pt x="15" y="138"/>
                    </a:lnTo>
                    <a:lnTo>
                      <a:pt x="0" y="123"/>
                    </a:lnTo>
                    <a:lnTo>
                      <a:pt x="0" y="85"/>
                    </a:lnTo>
                    <a:lnTo>
                      <a:pt x="8" y="68"/>
                    </a:lnTo>
                    <a:lnTo>
                      <a:pt x="8" y="61"/>
                    </a:lnTo>
                    <a:lnTo>
                      <a:pt x="28" y="61"/>
                    </a:lnTo>
                    <a:lnTo>
                      <a:pt x="28" y="48"/>
                    </a:lnTo>
                    <a:lnTo>
                      <a:pt x="50" y="48"/>
                    </a:lnTo>
                    <a:lnTo>
                      <a:pt x="59" y="32"/>
                    </a:lnTo>
                    <a:lnTo>
                      <a:pt x="67" y="32"/>
                    </a:lnTo>
                    <a:lnTo>
                      <a:pt x="67" y="24"/>
                    </a:lnTo>
                    <a:lnTo>
                      <a:pt x="100" y="32"/>
                    </a:lnTo>
                    <a:lnTo>
                      <a:pt x="114" y="32"/>
                    </a:lnTo>
                    <a:lnTo>
                      <a:pt x="114" y="24"/>
                    </a:lnTo>
                    <a:lnTo>
                      <a:pt x="129" y="24"/>
                    </a:lnTo>
                    <a:lnTo>
                      <a:pt x="136" y="0"/>
                    </a:lnTo>
                    <a:lnTo>
                      <a:pt x="144" y="17"/>
                    </a:lnTo>
                    <a:lnTo>
                      <a:pt x="149" y="39"/>
                    </a:lnTo>
                    <a:lnTo>
                      <a:pt x="171" y="24"/>
                    </a:lnTo>
                    <a:lnTo>
                      <a:pt x="193" y="32"/>
                    </a:lnTo>
                    <a:lnTo>
                      <a:pt x="188" y="32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33" name="Freeform 269"/>
              <p:cNvSpPr>
                <a:spLocks/>
              </p:cNvSpPr>
              <p:nvPr/>
            </p:nvSpPr>
            <p:spPr bwMode="auto">
              <a:xfrm>
                <a:off x="5357813" y="3906838"/>
                <a:ext cx="444500" cy="444500"/>
              </a:xfrm>
              <a:custGeom>
                <a:avLst/>
                <a:gdLst>
                  <a:gd name="T0" fmla="*/ 240 w 253"/>
                  <a:gd name="T1" fmla="*/ 254 h 254"/>
                  <a:gd name="T2" fmla="*/ 181 w 253"/>
                  <a:gd name="T3" fmla="*/ 246 h 254"/>
                  <a:gd name="T4" fmla="*/ 166 w 253"/>
                  <a:gd name="T5" fmla="*/ 226 h 254"/>
                  <a:gd name="T6" fmla="*/ 148 w 253"/>
                  <a:gd name="T7" fmla="*/ 239 h 254"/>
                  <a:gd name="T8" fmla="*/ 126 w 253"/>
                  <a:gd name="T9" fmla="*/ 239 h 254"/>
                  <a:gd name="T10" fmla="*/ 83 w 253"/>
                  <a:gd name="T11" fmla="*/ 178 h 254"/>
                  <a:gd name="T12" fmla="*/ 69 w 253"/>
                  <a:gd name="T13" fmla="*/ 172 h 254"/>
                  <a:gd name="T14" fmla="*/ 62 w 253"/>
                  <a:gd name="T15" fmla="*/ 172 h 254"/>
                  <a:gd name="T16" fmla="*/ 56 w 253"/>
                  <a:gd name="T17" fmla="*/ 165 h 254"/>
                  <a:gd name="T18" fmla="*/ 41 w 253"/>
                  <a:gd name="T19" fmla="*/ 135 h 254"/>
                  <a:gd name="T20" fmla="*/ 26 w 253"/>
                  <a:gd name="T21" fmla="*/ 126 h 254"/>
                  <a:gd name="T22" fmla="*/ 19 w 253"/>
                  <a:gd name="T23" fmla="*/ 105 h 254"/>
                  <a:gd name="T24" fmla="*/ 26 w 253"/>
                  <a:gd name="T25" fmla="*/ 88 h 254"/>
                  <a:gd name="T26" fmla="*/ 26 w 253"/>
                  <a:gd name="T27" fmla="*/ 68 h 254"/>
                  <a:gd name="T28" fmla="*/ 19 w 253"/>
                  <a:gd name="T29" fmla="*/ 68 h 254"/>
                  <a:gd name="T30" fmla="*/ 0 w 253"/>
                  <a:gd name="T31" fmla="*/ 7 h 254"/>
                  <a:gd name="T32" fmla="*/ 12 w 253"/>
                  <a:gd name="T33" fmla="*/ 0 h 254"/>
                  <a:gd name="T34" fmla="*/ 19 w 253"/>
                  <a:gd name="T35" fmla="*/ 15 h 254"/>
                  <a:gd name="T36" fmla="*/ 34 w 253"/>
                  <a:gd name="T37" fmla="*/ 15 h 254"/>
                  <a:gd name="T38" fmla="*/ 56 w 253"/>
                  <a:gd name="T39" fmla="*/ 7 h 254"/>
                  <a:gd name="T40" fmla="*/ 62 w 253"/>
                  <a:gd name="T41" fmla="*/ 7 h 254"/>
                  <a:gd name="T42" fmla="*/ 56 w 253"/>
                  <a:gd name="T43" fmla="*/ 15 h 254"/>
                  <a:gd name="T44" fmla="*/ 69 w 253"/>
                  <a:gd name="T45" fmla="*/ 24 h 254"/>
                  <a:gd name="T46" fmla="*/ 69 w 253"/>
                  <a:gd name="T47" fmla="*/ 46 h 254"/>
                  <a:gd name="T48" fmla="*/ 104 w 253"/>
                  <a:gd name="T49" fmla="*/ 61 h 254"/>
                  <a:gd name="T50" fmla="*/ 141 w 253"/>
                  <a:gd name="T51" fmla="*/ 61 h 254"/>
                  <a:gd name="T52" fmla="*/ 141 w 253"/>
                  <a:gd name="T53" fmla="*/ 46 h 254"/>
                  <a:gd name="T54" fmla="*/ 153 w 253"/>
                  <a:gd name="T55" fmla="*/ 37 h 254"/>
                  <a:gd name="T56" fmla="*/ 181 w 253"/>
                  <a:gd name="T57" fmla="*/ 37 h 254"/>
                  <a:gd name="T58" fmla="*/ 233 w 253"/>
                  <a:gd name="T59" fmla="*/ 61 h 254"/>
                  <a:gd name="T60" fmla="*/ 233 w 253"/>
                  <a:gd name="T61" fmla="*/ 88 h 254"/>
                  <a:gd name="T62" fmla="*/ 225 w 253"/>
                  <a:gd name="T63" fmla="*/ 105 h 254"/>
                  <a:gd name="T64" fmla="*/ 225 w 253"/>
                  <a:gd name="T65" fmla="*/ 143 h 254"/>
                  <a:gd name="T66" fmla="*/ 240 w 253"/>
                  <a:gd name="T67" fmla="*/ 157 h 254"/>
                  <a:gd name="T68" fmla="*/ 240 w 253"/>
                  <a:gd name="T69" fmla="*/ 165 h 254"/>
                  <a:gd name="T70" fmla="*/ 233 w 253"/>
                  <a:gd name="T71" fmla="*/ 178 h 254"/>
                  <a:gd name="T72" fmla="*/ 253 w 253"/>
                  <a:gd name="T73" fmla="*/ 226 h 254"/>
                  <a:gd name="T74" fmla="*/ 240 w 253"/>
                  <a:gd name="T75" fmla="*/ 239 h 254"/>
                  <a:gd name="T76" fmla="*/ 240 w 253"/>
                  <a:gd name="T77" fmla="*/ 254 h 254"/>
                  <a:gd name="T78" fmla="*/ 240 w 253"/>
                  <a:gd name="T79" fmla="*/ 254 h 254"/>
                  <a:gd name="T80" fmla="*/ 240 w 253"/>
                  <a:gd name="T81" fmla="*/ 254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53" h="254">
                    <a:moveTo>
                      <a:pt x="240" y="254"/>
                    </a:moveTo>
                    <a:lnTo>
                      <a:pt x="181" y="246"/>
                    </a:lnTo>
                    <a:lnTo>
                      <a:pt x="166" y="226"/>
                    </a:lnTo>
                    <a:lnTo>
                      <a:pt x="148" y="239"/>
                    </a:lnTo>
                    <a:lnTo>
                      <a:pt x="126" y="239"/>
                    </a:lnTo>
                    <a:lnTo>
                      <a:pt x="83" y="178"/>
                    </a:lnTo>
                    <a:lnTo>
                      <a:pt x="69" y="172"/>
                    </a:lnTo>
                    <a:lnTo>
                      <a:pt x="62" y="172"/>
                    </a:lnTo>
                    <a:lnTo>
                      <a:pt x="56" y="165"/>
                    </a:lnTo>
                    <a:lnTo>
                      <a:pt x="41" y="135"/>
                    </a:lnTo>
                    <a:lnTo>
                      <a:pt x="26" y="126"/>
                    </a:lnTo>
                    <a:lnTo>
                      <a:pt x="19" y="105"/>
                    </a:lnTo>
                    <a:lnTo>
                      <a:pt x="26" y="88"/>
                    </a:lnTo>
                    <a:lnTo>
                      <a:pt x="26" y="68"/>
                    </a:lnTo>
                    <a:lnTo>
                      <a:pt x="19" y="68"/>
                    </a:lnTo>
                    <a:lnTo>
                      <a:pt x="0" y="7"/>
                    </a:lnTo>
                    <a:lnTo>
                      <a:pt x="12" y="0"/>
                    </a:lnTo>
                    <a:lnTo>
                      <a:pt x="19" y="15"/>
                    </a:lnTo>
                    <a:lnTo>
                      <a:pt x="34" y="15"/>
                    </a:lnTo>
                    <a:lnTo>
                      <a:pt x="56" y="7"/>
                    </a:lnTo>
                    <a:lnTo>
                      <a:pt x="62" y="7"/>
                    </a:lnTo>
                    <a:lnTo>
                      <a:pt x="56" y="15"/>
                    </a:lnTo>
                    <a:lnTo>
                      <a:pt x="69" y="24"/>
                    </a:lnTo>
                    <a:lnTo>
                      <a:pt x="69" y="46"/>
                    </a:lnTo>
                    <a:lnTo>
                      <a:pt x="104" y="61"/>
                    </a:lnTo>
                    <a:lnTo>
                      <a:pt x="141" y="61"/>
                    </a:lnTo>
                    <a:lnTo>
                      <a:pt x="141" y="46"/>
                    </a:lnTo>
                    <a:lnTo>
                      <a:pt x="153" y="37"/>
                    </a:lnTo>
                    <a:lnTo>
                      <a:pt x="181" y="37"/>
                    </a:lnTo>
                    <a:lnTo>
                      <a:pt x="233" y="61"/>
                    </a:lnTo>
                    <a:lnTo>
                      <a:pt x="233" y="88"/>
                    </a:lnTo>
                    <a:lnTo>
                      <a:pt x="225" y="105"/>
                    </a:lnTo>
                    <a:lnTo>
                      <a:pt x="225" y="143"/>
                    </a:lnTo>
                    <a:lnTo>
                      <a:pt x="240" y="157"/>
                    </a:lnTo>
                    <a:lnTo>
                      <a:pt x="240" y="165"/>
                    </a:lnTo>
                    <a:lnTo>
                      <a:pt x="233" y="178"/>
                    </a:lnTo>
                    <a:lnTo>
                      <a:pt x="253" y="226"/>
                    </a:lnTo>
                    <a:lnTo>
                      <a:pt x="240" y="239"/>
                    </a:lnTo>
                    <a:lnTo>
                      <a:pt x="240" y="254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34" name="Freeform 270"/>
              <p:cNvSpPr>
                <a:spLocks/>
              </p:cNvSpPr>
              <p:nvPr/>
            </p:nvSpPr>
            <p:spPr bwMode="auto">
              <a:xfrm>
                <a:off x="5916613" y="3868738"/>
                <a:ext cx="174625" cy="146050"/>
              </a:xfrm>
              <a:custGeom>
                <a:avLst/>
                <a:gdLst>
                  <a:gd name="T0" fmla="*/ 85 w 99"/>
                  <a:gd name="T1" fmla="*/ 32 h 84"/>
                  <a:gd name="T2" fmla="*/ 85 w 99"/>
                  <a:gd name="T3" fmla="*/ 46 h 84"/>
                  <a:gd name="T4" fmla="*/ 99 w 99"/>
                  <a:gd name="T5" fmla="*/ 46 h 84"/>
                  <a:gd name="T6" fmla="*/ 99 w 99"/>
                  <a:gd name="T7" fmla="*/ 78 h 84"/>
                  <a:gd name="T8" fmla="*/ 77 w 99"/>
                  <a:gd name="T9" fmla="*/ 69 h 84"/>
                  <a:gd name="T10" fmla="*/ 55 w 99"/>
                  <a:gd name="T11" fmla="*/ 84 h 84"/>
                  <a:gd name="T12" fmla="*/ 43 w 99"/>
                  <a:gd name="T13" fmla="*/ 46 h 84"/>
                  <a:gd name="T14" fmla="*/ 37 w 99"/>
                  <a:gd name="T15" fmla="*/ 69 h 84"/>
                  <a:gd name="T16" fmla="*/ 22 w 99"/>
                  <a:gd name="T17" fmla="*/ 69 h 84"/>
                  <a:gd name="T18" fmla="*/ 22 w 99"/>
                  <a:gd name="T19" fmla="*/ 78 h 84"/>
                  <a:gd name="T20" fmla="*/ 0 w 99"/>
                  <a:gd name="T21" fmla="*/ 78 h 84"/>
                  <a:gd name="T22" fmla="*/ 8 w 99"/>
                  <a:gd name="T23" fmla="*/ 63 h 84"/>
                  <a:gd name="T24" fmla="*/ 8 w 99"/>
                  <a:gd name="T25" fmla="*/ 39 h 84"/>
                  <a:gd name="T26" fmla="*/ 0 w 99"/>
                  <a:gd name="T27" fmla="*/ 32 h 84"/>
                  <a:gd name="T28" fmla="*/ 15 w 99"/>
                  <a:gd name="T29" fmla="*/ 32 h 84"/>
                  <a:gd name="T30" fmla="*/ 22 w 99"/>
                  <a:gd name="T31" fmla="*/ 9 h 84"/>
                  <a:gd name="T32" fmla="*/ 22 w 99"/>
                  <a:gd name="T33" fmla="*/ 0 h 84"/>
                  <a:gd name="T34" fmla="*/ 43 w 99"/>
                  <a:gd name="T35" fmla="*/ 0 h 84"/>
                  <a:gd name="T36" fmla="*/ 43 w 99"/>
                  <a:gd name="T37" fmla="*/ 24 h 84"/>
                  <a:gd name="T38" fmla="*/ 22 w 99"/>
                  <a:gd name="T39" fmla="*/ 24 h 84"/>
                  <a:gd name="T40" fmla="*/ 22 w 99"/>
                  <a:gd name="T41" fmla="*/ 32 h 84"/>
                  <a:gd name="T42" fmla="*/ 85 w 99"/>
                  <a:gd name="T43" fmla="*/ 32 h 84"/>
                  <a:gd name="T44" fmla="*/ 85 w 99"/>
                  <a:gd name="T45" fmla="*/ 32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99" h="84">
                    <a:moveTo>
                      <a:pt x="85" y="32"/>
                    </a:moveTo>
                    <a:lnTo>
                      <a:pt x="85" y="46"/>
                    </a:lnTo>
                    <a:lnTo>
                      <a:pt x="99" y="46"/>
                    </a:lnTo>
                    <a:lnTo>
                      <a:pt x="99" y="78"/>
                    </a:lnTo>
                    <a:lnTo>
                      <a:pt x="77" y="69"/>
                    </a:lnTo>
                    <a:lnTo>
                      <a:pt x="55" y="84"/>
                    </a:lnTo>
                    <a:lnTo>
                      <a:pt x="43" y="46"/>
                    </a:lnTo>
                    <a:lnTo>
                      <a:pt x="37" y="69"/>
                    </a:lnTo>
                    <a:lnTo>
                      <a:pt x="22" y="69"/>
                    </a:lnTo>
                    <a:lnTo>
                      <a:pt x="22" y="78"/>
                    </a:lnTo>
                    <a:lnTo>
                      <a:pt x="0" y="78"/>
                    </a:lnTo>
                    <a:lnTo>
                      <a:pt x="8" y="63"/>
                    </a:lnTo>
                    <a:lnTo>
                      <a:pt x="8" y="39"/>
                    </a:lnTo>
                    <a:lnTo>
                      <a:pt x="0" y="32"/>
                    </a:lnTo>
                    <a:lnTo>
                      <a:pt x="15" y="32"/>
                    </a:lnTo>
                    <a:lnTo>
                      <a:pt x="22" y="9"/>
                    </a:lnTo>
                    <a:lnTo>
                      <a:pt x="22" y="0"/>
                    </a:lnTo>
                    <a:lnTo>
                      <a:pt x="43" y="0"/>
                    </a:lnTo>
                    <a:lnTo>
                      <a:pt x="43" y="24"/>
                    </a:lnTo>
                    <a:lnTo>
                      <a:pt x="22" y="24"/>
                    </a:lnTo>
                    <a:lnTo>
                      <a:pt x="22" y="32"/>
                    </a:lnTo>
                    <a:lnTo>
                      <a:pt x="85" y="32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35" name="Freeform 271"/>
              <p:cNvSpPr>
                <a:spLocks/>
              </p:cNvSpPr>
              <p:nvPr/>
            </p:nvSpPr>
            <p:spPr bwMode="auto">
              <a:xfrm>
                <a:off x="5553075" y="3798888"/>
                <a:ext cx="352425" cy="249237"/>
              </a:xfrm>
              <a:custGeom>
                <a:avLst/>
                <a:gdLst>
                  <a:gd name="T0" fmla="*/ 194 w 201"/>
                  <a:gd name="T1" fmla="*/ 116 h 143"/>
                  <a:gd name="T2" fmla="*/ 179 w 201"/>
                  <a:gd name="T3" fmla="*/ 108 h 143"/>
                  <a:gd name="T4" fmla="*/ 179 w 201"/>
                  <a:gd name="T5" fmla="*/ 116 h 143"/>
                  <a:gd name="T6" fmla="*/ 173 w 201"/>
                  <a:gd name="T7" fmla="*/ 116 h 143"/>
                  <a:gd name="T8" fmla="*/ 164 w 201"/>
                  <a:gd name="T9" fmla="*/ 131 h 143"/>
                  <a:gd name="T10" fmla="*/ 142 w 201"/>
                  <a:gd name="T11" fmla="*/ 131 h 143"/>
                  <a:gd name="T12" fmla="*/ 142 w 201"/>
                  <a:gd name="T13" fmla="*/ 143 h 143"/>
                  <a:gd name="T14" fmla="*/ 122 w 201"/>
                  <a:gd name="T15" fmla="*/ 143 h 143"/>
                  <a:gd name="T16" fmla="*/ 122 w 201"/>
                  <a:gd name="T17" fmla="*/ 123 h 143"/>
                  <a:gd name="T18" fmla="*/ 72 w 201"/>
                  <a:gd name="T19" fmla="*/ 101 h 143"/>
                  <a:gd name="T20" fmla="*/ 44 w 201"/>
                  <a:gd name="T21" fmla="*/ 101 h 143"/>
                  <a:gd name="T22" fmla="*/ 30 w 201"/>
                  <a:gd name="T23" fmla="*/ 108 h 143"/>
                  <a:gd name="T24" fmla="*/ 30 w 201"/>
                  <a:gd name="T25" fmla="*/ 77 h 143"/>
                  <a:gd name="T26" fmla="*/ 13 w 201"/>
                  <a:gd name="T27" fmla="*/ 77 h 143"/>
                  <a:gd name="T28" fmla="*/ 13 w 201"/>
                  <a:gd name="T29" fmla="*/ 61 h 143"/>
                  <a:gd name="T30" fmla="*/ 8 w 201"/>
                  <a:gd name="T31" fmla="*/ 61 h 143"/>
                  <a:gd name="T32" fmla="*/ 8 w 201"/>
                  <a:gd name="T33" fmla="*/ 47 h 143"/>
                  <a:gd name="T34" fmla="*/ 30 w 201"/>
                  <a:gd name="T35" fmla="*/ 47 h 143"/>
                  <a:gd name="T36" fmla="*/ 35 w 201"/>
                  <a:gd name="T37" fmla="*/ 40 h 143"/>
                  <a:gd name="T38" fmla="*/ 13 w 201"/>
                  <a:gd name="T39" fmla="*/ 24 h 143"/>
                  <a:gd name="T40" fmla="*/ 8 w 201"/>
                  <a:gd name="T41" fmla="*/ 24 h 143"/>
                  <a:gd name="T42" fmla="*/ 8 w 201"/>
                  <a:gd name="T43" fmla="*/ 40 h 143"/>
                  <a:gd name="T44" fmla="*/ 0 w 201"/>
                  <a:gd name="T45" fmla="*/ 24 h 143"/>
                  <a:gd name="T46" fmla="*/ 30 w 201"/>
                  <a:gd name="T47" fmla="*/ 9 h 143"/>
                  <a:gd name="T48" fmla="*/ 44 w 201"/>
                  <a:gd name="T49" fmla="*/ 30 h 143"/>
                  <a:gd name="T50" fmla="*/ 55 w 201"/>
                  <a:gd name="T51" fmla="*/ 30 h 143"/>
                  <a:gd name="T52" fmla="*/ 55 w 201"/>
                  <a:gd name="T53" fmla="*/ 24 h 143"/>
                  <a:gd name="T54" fmla="*/ 79 w 201"/>
                  <a:gd name="T55" fmla="*/ 9 h 143"/>
                  <a:gd name="T56" fmla="*/ 85 w 201"/>
                  <a:gd name="T57" fmla="*/ 9 h 143"/>
                  <a:gd name="T58" fmla="*/ 79 w 201"/>
                  <a:gd name="T59" fmla="*/ 0 h 143"/>
                  <a:gd name="T60" fmla="*/ 85 w 201"/>
                  <a:gd name="T61" fmla="*/ 0 h 143"/>
                  <a:gd name="T62" fmla="*/ 101 w 201"/>
                  <a:gd name="T63" fmla="*/ 9 h 143"/>
                  <a:gd name="T64" fmla="*/ 101 w 201"/>
                  <a:gd name="T65" fmla="*/ 30 h 143"/>
                  <a:gd name="T66" fmla="*/ 131 w 201"/>
                  <a:gd name="T67" fmla="*/ 30 h 143"/>
                  <a:gd name="T68" fmla="*/ 137 w 201"/>
                  <a:gd name="T69" fmla="*/ 61 h 143"/>
                  <a:gd name="T70" fmla="*/ 201 w 201"/>
                  <a:gd name="T71" fmla="*/ 101 h 143"/>
                  <a:gd name="T72" fmla="*/ 194 w 201"/>
                  <a:gd name="T73" fmla="*/ 116 h 143"/>
                  <a:gd name="T74" fmla="*/ 194 w 201"/>
                  <a:gd name="T75" fmla="*/ 116 h 143"/>
                  <a:gd name="T76" fmla="*/ 194 w 201"/>
                  <a:gd name="T77" fmla="*/ 116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01" h="143">
                    <a:moveTo>
                      <a:pt x="194" y="116"/>
                    </a:moveTo>
                    <a:lnTo>
                      <a:pt x="179" y="108"/>
                    </a:lnTo>
                    <a:lnTo>
                      <a:pt x="179" y="116"/>
                    </a:lnTo>
                    <a:lnTo>
                      <a:pt x="173" y="116"/>
                    </a:lnTo>
                    <a:lnTo>
                      <a:pt x="164" y="131"/>
                    </a:lnTo>
                    <a:lnTo>
                      <a:pt x="142" y="131"/>
                    </a:lnTo>
                    <a:lnTo>
                      <a:pt x="142" y="143"/>
                    </a:lnTo>
                    <a:lnTo>
                      <a:pt x="122" y="143"/>
                    </a:lnTo>
                    <a:lnTo>
                      <a:pt x="122" y="123"/>
                    </a:lnTo>
                    <a:lnTo>
                      <a:pt x="72" y="101"/>
                    </a:lnTo>
                    <a:lnTo>
                      <a:pt x="44" y="101"/>
                    </a:lnTo>
                    <a:lnTo>
                      <a:pt x="30" y="108"/>
                    </a:lnTo>
                    <a:lnTo>
                      <a:pt x="30" y="77"/>
                    </a:lnTo>
                    <a:lnTo>
                      <a:pt x="13" y="77"/>
                    </a:lnTo>
                    <a:lnTo>
                      <a:pt x="13" y="61"/>
                    </a:lnTo>
                    <a:lnTo>
                      <a:pt x="8" y="61"/>
                    </a:lnTo>
                    <a:lnTo>
                      <a:pt x="8" y="47"/>
                    </a:lnTo>
                    <a:lnTo>
                      <a:pt x="30" y="47"/>
                    </a:lnTo>
                    <a:lnTo>
                      <a:pt x="35" y="40"/>
                    </a:lnTo>
                    <a:lnTo>
                      <a:pt x="13" y="24"/>
                    </a:lnTo>
                    <a:lnTo>
                      <a:pt x="8" y="24"/>
                    </a:lnTo>
                    <a:lnTo>
                      <a:pt x="8" y="40"/>
                    </a:lnTo>
                    <a:lnTo>
                      <a:pt x="0" y="24"/>
                    </a:lnTo>
                    <a:lnTo>
                      <a:pt x="30" y="9"/>
                    </a:lnTo>
                    <a:lnTo>
                      <a:pt x="44" y="30"/>
                    </a:lnTo>
                    <a:lnTo>
                      <a:pt x="55" y="30"/>
                    </a:lnTo>
                    <a:lnTo>
                      <a:pt x="55" y="24"/>
                    </a:lnTo>
                    <a:lnTo>
                      <a:pt x="79" y="9"/>
                    </a:lnTo>
                    <a:lnTo>
                      <a:pt x="85" y="9"/>
                    </a:lnTo>
                    <a:lnTo>
                      <a:pt x="79" y="0"/>
                    </a:lnTo>
                    <a:lnTo>
                      <a:pt x="85" y="0"/>
                    </a:lnTo>
                    <a:lnTo>
                      <a:pt x="101" y="9"/>
                    </a:lnTo>
                    <a:lnTo>
                      <a:pt x="101" y="30"/>
                    </a:lnTo>
                    <a:lnTo>
                      <a:pt x="131" y="30"/>
                    </a:lnTo>
                    <a:lnTo>
                      <a:pt x="137" y="61"/>
                    </a:lnTo>
                    <a:lnTo>
                      <a:pt x="201" y="101"/>
                    </a:lnTo>
                    <a:lnTo>
                      <a:pt x="194" y="116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36" name="Freeform 272"/>
              <p:cNvSpPr>
                <a:spLocks/>
              </p:cNvSpPr>
              <p:nvPr/>
            </p:nvSpPr>
            <p:spPr bwMode="auto">
              <a:xfrm>
                <a:off x="5638800" y="3709988"/>
                <a:ext cx="419100" cy="277812"/>
              </a:xfrm>
              <a:custGeom>
                <a:avLst/>
                <a:gdLst>
                  <a:gd name="T0" fmla="*/ 145 w 239"/>
                  <a:gd name="T1" fmla="*/ 159 h 159"/>
                  <a:gd name="T2" fmla="*/ 157 w 239"/>
                  <a:gd name="T3" fmla="*/ 159 h 159"/>
                  <a:gd name="T4" fmla="*/ 167 w 239"/>
                  <a:gd name="T5" fmla="*/ 144 h 159"/>
                  <a:gd name="T6" fmla="*/ 167 w 239"/>
                  <a:gd name="T7" fmla="*/ 122 h 159"/>
                  <a:gd name="T8" fmla="*/ 157 w 239"/>
                  <a:gd name="T9" fmla="*/ 114 h 159"/>
                  <a:gd name="T10" fmla="*/ 174 w 239"/>
                  <a:gd name="T11" fmla="*/ 114 h 159"/>
                  <a:gd name="T12" fmla="*/ 181 w 239"/>
                  <a:gd name="T13" fmla="*/ 94 h 159"/>
                  <a:gd name="T14" fmla="*/ 181 w 239"/>
                  <a:gd name="T15" fmla="*/ 85 h 159"/>
                  <a:gd name="T16" fmla="*/ 202 w 239"/>
                  <a:gd name="T17" fmla="*/ 85 h 159"/>
                  <a:gd name="T18" fmla="*/ 202 w 239"/>
                  <a:gd name="T19" fmla="*/ 94 h 159"/>
                  <a:gd name="T20" fmla="*/ 217 w 239"/>
                  <a:gd name="T21" fmla="*/ 94 h 159"/>
                  <a:gd name="T22" fmla="*/ 239 w 239"/>
                  <a:gd name="T23" fmla="*/ 85 h 159"/>
                  <a:gd name="T24" fmla="*/ 217 w 239"/>
                  <a:gd name="T25" fmla="*/ 79 h 159"/>
                  <a:gd name="T26" fmla="*/ 196 w 239"/>
                  <a:gd name="T27" fmla="*/ 79 h 159"/>
                  <a:gd name="T28" fmla="*/ 209 w 239"/>
                  <a:gd name="T29" fmla="*/ 57 h 159"/>
                  <a:gd name="T30" fmla="*/ 202 w 239"/>
                  <a:gd name="T31" fmla="*/ 57 h 159"/>
                  <a:gd name="T32" fmla="*/ 174 w 239"/>
                  <a:gd name="T33" fmla="*/ 85 h 159"/>
                  <a:gd name="T34" fmla="*/ 167 w 239"/>
                  <a:gd name="T35" fmla="*/ 79 h 159"/>
                  <a:gd name="T36" fmla="*/ 152 w 239"/>
                  <a:gd name="T37" fmla="*/ 79 h 159"/>
                  <a:gd name="T38" fmla="*/ 152 w 239"/>
                  <a:gd name="T39" fmla="*/ 72 h 159"/>
                  <a:gd name="T40" fmla="*/ 145 w 239"/>
                  <a:gd name="T41" fmla="*/ 72 h 159"/>
                  <a:gd name="T42" fmla="*/ 145 w 239"/>
                  <a:gd name="T43" fmla="*/ 50 h 159"/>
                  <a:gd name="T44" fmla="*/ 124 w 239"/>
                  <a:gd name="T45" fmla="*/ 33 h 159"/>
                  <a:gd name="T46" fmla="*/ 82 w 239"/>
                  <a:gd name="T47" fmla="*/ 33 h 159"/>
                  <a:gd name="T48" fmla="*/ 38 w 239"/>
                  <a:gd name="T49" fmla="*/ 0 h 159"/>
                  <a:gd name="T50" fmla="*/ 0 w 239"/>
                  <a:gd name="T51" fmla="*/ 6 h 159"/>
                  <a:gd name="T52" fmla="*/ 0 w 239"/>
                  <a:gd name="T53" fmla="*/ 79 h 159"/>
                  <a:gd name="T54" fmla="*/ 6 w 239"/>
                  <a:gd name="T55" fmla="*/ 79 h 159"/>
                  <a:gd name="T56" fmla="*/ 6 w 239"/>
                  <a:gd name="T57" fmla="*/ 72 h 159"/>
                  <a:gd name="T58" fmla="*/ 28 w 239"/>
                  <a:gd name="T59" fmla="*/ 57 h 159"/>
                  <a:gd name="T60" fmla="*/ 38 w 239"/>
                  <a:gd name="T61" fmla="*/ 57 h 159"/>
                  <a:gd name="T62" fmla="*/ 28 w 239"/>
                  <a:gd name="T63" fmla="*/ 50 h 159"/>
                  <a:gd name="T64" fmla="*/ 38 w 239"/>
                  <a:gd name="T65" fmla="*/ 50 h 159"/>
                  <a:gd name="T66" fmla="*/ 50 w 239"/>
                  <a:gd name="T67" fmla="*/ 57 h 159"/>
                  <a:gd name="T68" fmla="*/ 50 w 239"/>
                  <a:gd name="T69" fmla="*/ 79 h 159"/>
                  <a:gd name="T70" fmla="*/ 82 w 239"/>
                  <a:gd name="T71" fmla="*/ 79 h 159"/>
                  <a:gd name="T72" fmla="*/ 88 w 239"/>
                  <a:gd name="T73" fmla="*/ 107 h 159"/>
                  <a:gd name="T74" fmla="*/ 152 w 239"/>
                  <a:gd name="T75" fmla="*/ 144 h 159"/>
                  <a:gd name="T76" fmla="*/ 145 w 239"/>
                  <a:gd name="T77" fmla="*/ 159 h 159"/>
                  <a:gd name="T78" fmla="*/ 145 w 239"/>
                  <a:gd name="T79" fmla="*/ 159 h 159"/>
                  <a:gd name="T80" fmla="*/ 145 w 239"/>
                  <a:gd name="T81" fmla="*/ 159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39" h="159">
                    <a:moveTo>
                      <a:pt x="145" y="159"/>
                    </a:moveTo>
                    <a:lnTo>
                      <a:pt x="157" y="159"/>
                    </a:lnTo>
                    <a:lnTo>
                      <a:pt x="167" y="144"/>
                    </a:lnTo>
                    <a:lnTo>
                      <a:pt x="167" y="122"/>
                    </a:lnTo>
                    <a:lnTo>
                      <a:pt x="157" y="114"/>
                    </a:lnTo>
                    <a:lnTo>
                      <a:pt x="174" y="114"/>
                    </a:lnTo>
                    <a:lnTo>
                      <a:pt x="181" y="94"/>
                    </a:lnTo>
                    <a:lnTo>
                      <a:pt x="181" y="85"/>
                    </a:lnTo>
                    <a:lnTo>
                      <a:pt x="202" y="85"/>
                    </a:lnTo>
                    <a:lnTo>
                      <a:pt x="202" y="94"/>
                    </a:lnTo>
                    <a:lnTo>
                      <a:pt x="217" y="94"/>
                    </a:lnTo>
                    <a:lnTo>
                      <a:pt x="239" y="85"/>
                    </a:lnTo>
                    <a:lnTo>
                      <a:pt x="217" y="79"/>
                    </a:lnTo>
                    <a:lnTo>
                      <a:pt x="196" y="79"/>
                    </a:lnTo>
                    <a:lnTo>
                      <a:pt x="209" y="57"/>
                    </a:lnTo>
                    <a:lnTo>
                      <a:pt x="202" y="57"/>
                    </a:lnTo>
                    <a:lnTo>
                      <a:pt x="174" y="85"/>
                    </a:lnTo>
                    <a:lnTo>
                      <a:pt x="167" y="79"/>
                    </a:lnTo>
                    <a:lnTo>
                      <a:pt x="152" y="79"/>
                    </a:lnTo>
                    <a:lnTo>
                      <a:pt x="152" y="72"/>
                    </a:lnTo>
                    <a:lnTo>
                      <a:pt x="145" y="72"/>
                    </a:lnTo>
                    <a:lnTo>
                      <a:pt x="145" y="50"/>
                    </a:lnTo>
                    <a:lnTo>
                      <a:pt x="124" y="33"/>
                    </a:lnTo>
                    <a:lnTo>
                      <a:pt x="82" y="33"/>
                    </a:lnTo>
                    <a:lnTo>
                      <a:pt x="38" y="0"/>
                    </a:lnTo>
                    <a:lnTo>
                      <a:pt x="0" y="6"/>
                    </a:lnTo>
                    <a:lnTo>
                      <a:pt x="0" y="79"/>
                    </a:lnTo>
                    <a:lnTo>
                      <a:pt x="6" y="79"/>
                    </a:lnTo>
                    <a:lnTo>
                      <a:pt x="6" y="72"/>
                    </a:lnTo>
                    <a:lnTo>
                      <a:pt x="28" y="57"/>
                    </a:lnTo>
                    <a:lnTo>
                      <a:pt x="38" y="57"/>
                    </a:lnTo>
                    <a:lnTo>
                      <a:pt x="28" y="50"/>
                    </a:lnTo>
                    <a:lnTo>
                      <a:pt x="38" y="50"/>
                    </a:lnTo>
                    <a:lnTo>
                      <a:pt x="50" y="57"/>
                    </a:lnTo>
                    <a:lnTo>
                      <a:pt x="50" y="79"/>
                    </a:lnTo>
                    <a:lnTo>
                      <a:pt x="82" y="79"/>
                    </a:lnTo>
                    <a:lnTo>
                      <a:pt x="88" y="107"/>
                    </a:lnTo>
                    <a:lnTo>
                      <a:pt x="152" y="144"/>
                    </a:lnTo>
                    <a:lnTo>
                      <a:pt x="145" y="159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37" name="Freeform 273"/>
              <p:cNvSpPr>
                <a:spLocks/>
              </p:cNvSpPr>
              <p:nvPr/>
            </p:nvSpPr>
            <p:spPr bwMode="auto">
              <a:xfrm>
                <a:off x="4967288" y="3638550"/>
                <a:ext cx="341312" cy="230188"/>
              </a:xfrm>
              <a:custGeom>
                <a:avLst/>
                <a:gdLst>
                  <a:gd name="T0" fmla="*/ 120 w 194"/>
                  <a:gd name="T1" fmla="*/ 47 h 131"/>
                  <a:gd name="T2" fmla="*/ 112 w 194"/>
                  <a:gd name="T3" fmla="*/ 47 h 131"/>
                  <a:gd name="T4" fmla="*/ 92 w 194"/>
                  <a:gd name="T5" fmla="*/ 41 h 131"/>
                  <a:gd name="T6" fmla="*/ 135 w 194"/>
                  <a:gd name="T7" fmla="*/ 10 h 131"/>
                  <a:gd name="T8" fmla="*/ 157 w 194"/>
                  <a:gd name="T9" fmla="*/ 0 h 131"/>
                  <a:gd name="T10" fmla="*/ 165 w 194"/>
                  <a:gd name="T11" fmla="*/ 10 h 131"/>
                  <a:gd name="T12" fmla="*/ 135 w 194"/>
                  <a:gd name="T13" fmla="*/ 19 h 131"/>
                  <a:gd name="T14" fmla="*/ 150 w 194"/>
                  <a:gd name="T15" fmla="*/ 24 h 131"/>
                  <a:gd name="T16" fmla="*/ 129 w 194"/>
                  <a:gd name="T17" fmla="*/ 47 h 131"/>
                  <a:gd name="T18" fmla="*/ 120 w 194"/>
                  <a:gd name="T19" fmla="*/ 47 h 131"/>
                  <a:gd name="T20" fmla="*/ 129 w 194"/>
                  <a:gd name="T21" fmla="*/ 47 h 131"/>
                  <a:gd name="T22" fmla="*/ 194 w 194"/>
                  <a:gd name="T23" fmla="*/ 101 h 131"/>
                  <a:gd name="T24" fmla="*/ 194 w 194"/>
                  <a:gd name="T25" fmla="*/ 123 h 131"/>
                  <a:gd name="T26" fmla="*/ 165 w 194"/>
                  <a:gd name="T27" fmla="*/ 131 h 131"/>
                  <a:gd name="T28" fmla="*/ 129 w 194"/>
                  <a:gd name="T29" fmla="*/ 131 h 131"/>
                  <a:gd name="T30" fmla="*/ 107 w 194"/>
                  <a:gd name="T31" fmla="*/ 115 h 131"/>
                  <a:gd name="T32" fmla="*/ 77 w 194"/>
                  <a:gd name="T33" fmla="*/ 115 h 131"/>
                  <a:gd name="T34" fmla="*/ 50 w 194"/>
                  <a:gd name="T35" fmla="*/ 131 h 131"/>
                  <a:gd name="T36" fmla="*/ 11 w 194"/>
                  <a:gd name="T37" fmla="*/ 131 h 131"/>
                  <a:gd name="T38" fmla="*/ 0 w 194"/>
                  <a:gd name="T39" fmla="*/ 101 h 131"/>
                  <a:gd name="T40" fmla="*/ 5 w 194"/>
                  <a:gd name="T41" fmla="*/ 84 h 131"/>
                  <a:gd name="T42" fmla="*/ 11 w 194"/>
                  <a:gd name="T43" fmla="*/ 84 h 131"/>
                  <a:gd name="T44" fmla="*/ 11 w 194"/>
                  <a:gd name="T45" fmla="*/ 69 h 131"/>
                  <a:gd name="T46" fmla="*/ 26 w 194"/>
                  <a:gd name="T47" fmla="*/ 56 h 131"/>
                  <a:gd name="T48" fmla="*/ 26 w 194"/>
                  <a:gd name="T49" fmla="*/ 41 h 131"/>
                  <a:gd name="T50" fmla="*/ 33 w 194"/>
                  <a:gd name="T51" fmla="*/ 41 h 131"/>
                  <a:gd name="T52" fmla="*/ 41 w 194"/>
                  <a:gd name="T53" fmla="*/ 19 h 131"/>
                  <a:gd name="T54" fmla="*/ 57 w 194"/>
                  <a:gd name="T55" fmla="*/ 19 h 131"/>
                  <a:gd name="T56" fmla="*/ 57 w 194"/>
                  <a:gd name="T57" fmla="*/ 24 h 131"/>
                  <a:gd name="T58" fmla="*/ 85 w 194"/>
                  <a:gd name="T59" fmla="*/ 41 h 131"/>
                  <a:gd name="T60" fmla="*/ 72 w 194"/>
                  <a:gd name="T61" fmla="*/ 47 h 131"/>
                  <a:gd name="T62" fmla="*/ 77 w 194"/>
                  <a:gd name="T63" fmla="*/ 56 h 131"/>
                  <a:gd name="T64" fmla="*/ 77 w 194"/>
                  <a:gd name="T65" fmla="*/ 69 h 131"/>
                  <a:gd name="T66" fmla="*/ 85 w 194"/>
                  <a:gd name="T67" fmla="*/ 69 h 131"/>
                  <a:gd name="T68" fmla="*/ 112 w 194"/>
                  <a:gd name="T69" fmla="*/ 47 h 131"/>
                  <a:gd name="T70" fmla="*/ 120 w 194"/>
                  <a:gd name="T71" fmla="*/ 47 h 131"/>
                  <a:gd name="T72" fmla="*/ 120 w 194"/>
                  <a:gd name="T73" fmla="*/ 47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94" h="131">
                    <a:moveTo>
                      <a:pt x="120" y="47"/>
                    </a:moveTo>
                    <a:lnTo>
                      <a:pt x="112" y="47"/>
                    </a:lnTo>
                    <a:lnTo>
                      <a:pt x="92" y="41"/>
                    </a:lnTo>
                    <a:lnTo>
                      <a:pt x="135" y="10"/>
                    </a:lnTo>
                    <a:lnTo>
                      <a:pt x="157" y="0"/>
                    </a:lnTo>
                    <a:lnTo>
                      <a:pt x="165" y="10"/>
                    </a:lnTo>
                    <a:lnTo>
                      <a:pt x="135" y="19"/>
                    </a:lnTo>
                    <a:lnTo>
                      <a:pt x="150" y="24"/>
                    </a:lnTo>
                    <a:lnTo>
                      <a:pt x="129" y="47"/>
                    </a:lnTo>
                    <a:lnTo>
                      <a:pt x="120" y="47"/>
                    </a:lnTo>
                    <a:lnTo>
                      <a:pt x="129" y="47"/>
                    </a:lnTo>
                    <a:lnTo>
                      <a:pt x="194" y="101"/>
                    </a:lnTo>
                    <a:lnTo>
                      <a:pt x="194" y="123"/>
                    </a:lnTo>
                    <a:lnTo>
                      <a:pt x="165" y="131"/>
                    </a:lnTo>
                    <a:lnTo>
                      <a:pt x="129" y="131"/>
                    </a:lnTo>
                    <a:lnTo>
                      <a:pt x="107" y="115"/>
                    </a:lnTo>
                    <a:lnTo>
                      <a:pt x="77" y="115"/>
                    </a:lnTo>
                    <a:lnTo>
                      <a:pt x="50" y="131"/>
                    </a:lnTo>
                    <a:lnTo>
                      <a:pt x="11" y="131"/>
                    </a:lnTo>
                    <a:lnTo>
                      <a:pt x="0" y="101"/>
                    </a:lnTo>
                    <a:lnTo>
                      <a:pt x="5" y="84"/>
                    </a:lnTo>
                    <a:lnTo>
                      <a:pt x="11" y="84"/>
                    </a:lnTo>
                    <a:lnTo>
                      <a:pt x="11" y="69"/>
                    </a:lnTo>
                    <a:lnTo>
                      <a:pt x="26" y="56"/>
                    </a:lnTo>
                    <a:lnTo>
                      <a:pt x="26" y="41"/>
                    </a:lnTo>
                    <a:lnTo>
                      <a:pt x="33" y="41"/>
                    </a:lnTo>
                    <a:lnTo>
                      <a:pt x="41" y="19"/>
                    </a:lnTo>
                    <a:lnTo>
                      <a:pt x="57" y="19"/>
                    </a:lnTo>
                    <a:lnTo>
                      <a:pt x="57" y="24"/>
                    </a:lnTo>
                    <a:lnTo>
                      <a:pt x="85" y="41"/>
                    </a:lnTo>
                    <a:lnTo>
                      <a:pt x="72" y="47"/>
                    </a:lnTo>
                    <a:lnTo>
                      <a:pt x="77" y="56"/>
                    </a:lnTo>
                    <a:lnTo>
                      <a:pt x="77" y="69"/>
                    </a:lnTo>
                    <a:lnTo>
                      <a:pt x="85" y="69"/>
                    </a:lnTo>
                    <a:lnTo>
                      <a:pt x="112" y="47"/>
                    </a:lnTo>
                    <a:lnTo>
                      <a:pt x="120" y="47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38" name="Freeform 274"/>
              <p:cNvSpPr>
                <a:spLocks/>
              </p:cNvSpPr>
              <p:nvPr/>
            </p:nvSpPr>
            <p:spPr bwMode="auto">
              <a:xfrm>
                <a:off x="4932363" y="3841750"/>
                <a:ext cx="441325" cy="173038"/>
              </a:xfrm>
              <a:custGeom>
                <a:avLst/>
                <a:gdLst>
                  <a:gd name="T0" fmla="*/ 251 w 251"/>
                  <a:gd name="T1" fmla="*/ 36 h 99"/>
                  <a:gd name="T2" fmla="*/ 237 w 251"/>
                  <a:gd name="T3" fmla="*/ 36 h 99"/>
                  <a:gd name="T4" fmla="*/ 231 w 251"/>
                  <a:gd name="T5" fmla="*/ 7 h 99"/>
                  <a:gd name="T6" fmla="*/ 211 w 251"/>
                  <a:gd name="T7" fmla="*/ 7 h 99"/>
                  <a:gd name="T8" fmla="*/ 180 w 251"/>
                  <a:gd name="T9" fmla="*/ 15 h 99"/>
                  <a:gd name="T10" fmla="*/ 145 w 251"/>
                  <a:gd name="T11" fmla="*/ 15 h 99"/>
                  <a:gd name="T12" fmla="*/ 125 w 251"/>
                  <a:gd name="T13" fmla="*/ 0 h 99"/>
                  <a:gd name="T14" fmla="*/ 97 w 251"/>
                  <a:gd name="T15" fmla="*/ 0 h 99"/>
                  <a:gd name="T16" fmla="*/ 68 w 251"/>
                  <a:gd name="T17" fmla="*/ 15 h 99"/>
                  <a:gd name="T18" fmla="*/ 33 w 251"/>
                  <a:gd name="T19" fmla="*/ 15 h 99"/>
                  <a:gd name="T20" fmla="*/ 26 w 251"/>
                  <a:gd name="T21" fmla="*/ 0 h 99"/>
                  <a:gd name="T22" fmla="*/ 13 w 251"/>
                  <a:gd name="T23" fmla="*/ 0 h 99"/>
                  <a:gd name="T24" fmla="*/ 5 w 251"/>
                  <a:gd name="T25" fmla="*/ 7 h 99"/>
                  <a:gd name="T26" fmla="*/ 0 w 251"/>
                  <a:gd name="T27" fmla="*/ 22 h 99"/>
                  <a:gd name="T28" fmla="*/ 5 w 251"/>
                  <a:gd name="T29" fmla="*/ 22 h 99"/>
                  <a:gd name="T30" fmla="*/ 5 w 251"/>
                  <a:gd name="T31" fmla="*/ 36 h 99"/>
                  <a:gd name="T32" fmla="*/ 21 w 251"/>
                  <a:gd name="T33" fmla="*/ 15 h 99"/>
                  <a:gd name="T34" fmla="*/ 33 w 251"/>
                  <a:gd name="T35" fmla="*/ 15 h 99"/>
                  <a:gd name="T36" fmla="*/ 48 w 251"/>
                  <a:gd name="T37" fmla="*/ 22 h 99"/>
                  <a:gd name="T38" fmla="*/ 33 w 251"/>
                  <a:gd name="T39" fmla="*/ 22 h 99"/>
                  <a:gd name="T40" fmla="*/ 33 w 251"/>
                  <a:gd name="T41" fmla="*/ 36 h 99"/>
                  <a:gd name="T42" fmla="*/ 13 w 251"/>
                  <a:gd name="T43" fmla="*/ 36 h 99"/>
                  <a:gd name="T44" fmla="*/ 5 w 251"/>
                  <a:gd name="T45" fmla="*/ 42 h 99"/>
                  <a:gd name="T46" fmla="*/ 5 w 251"/>
                  <a:gd name="T47" fmla="*/ 51 h 99"/>
                  <a:gd name="T48" fmla="*/ 13 w 251"/>
                  <a:gd name="T49" fmla="*/ 42 h 99"/>
                  <a:gd name="T50" fmla="*/ 13 w 251"/>
                  <a:gd name="T51" fmla="*/ 51 h 99"/>
                  <a:gd name="T52" fmla="*/ 5 w 251"/>
                  <a:gd name="T53" fmla="*/ 57 h 99"/>
                  <a:gd name="T54" fmla="*/ 5 w 251"/>
                  <a:gd name="T55" fmla="*/ 71 h 99"/>
                  <a:gd name="T56" fmla="*/ 13 w 251"/>
                  <a:gd name="T57" fmla="*/ 79 h 99"/>
                  <a:gd name="T58" fmla="*/ 21 w 251"/>
                  <a:gd name="T59" fmla="*/ 86 h 99"/>
                  <a:gd name="T60" fmla="*/ 26 w 251"/>
                  <a:gd name="T61" fmla="*/ 86 h 99"/>
                  <a:gd name="T62" fmla="*/ 26 w 251"/>
                  <a:gd name="T63" fmla="*/ 93 h 99"/>
                  <a:gd name="T64" fmla="*/ 48 w 251"/>
                  <a:gd name="T65" fmla="*/ 99 h 99"/>
                  <a:gd name="T66" fmla="*/ 60 w 251"/>
                  <a:gd name="T67" fmla="*/ 93 h 99"/>
                  <a:gd name="T68" fmla="*/ 68 w 251"/>
                  <a:gd name="T69" fmla="*/ 93 h 99"/>
                  <a:gd name="T70" fmla="*/ 90 w 251"/>
                  <a:gd name="T71" fmla="*/ 99 h 99"/>
                  <a:gd name="T72" fmla="*/ 97 w 251"/>
                  <a:gd name="T73" fmla="*/ 99 h 99"/>
                  <a:gd name="T74" fmla="*/ 110 w 251"/>
                  <a:gd name="T75" fmla="*/ 93 h 99"/>
                  <a:gd name="T76" fmla="*/ 130 w 251"/>
                  <a:gd name="T77" fmla="*/ 93 h 99"/>
                  <a:gd name="T78" fmla="*/ 130 w 251"/>
                  <a:gd name="T79" fmla="*/ 99 h 99"/>
                  <a:gd name="T80" fmla="*/ 139 w 251"/>
                  <a:gd name="T81" fmla="*/ 99 h 99"/>
                  <a:gd name="T82" fmla="*/ 139 w 251"/>
                  <a:gd name="T83" fmla="*/ 93 h 99"/>
                  <a:gd name="T84" fmla="*/ 165 w 251"/>
                  <a:gd name="T85" fmla="*/ 86 h 99"/>
                  <a:gd name="T86" fmla="*/ 174 w 251"/>
                  <a:gd name="T87" fmla="*/ 93 h 99"/>
                  <a:gd name="T88" fmla="*/ 196 w 251"/>
                  <a:gd name="T89" fmla="*/ 86 h 99"/>
                  <a:gd name="T90" fmla="*/ 222 w 251"/>
                  <a:gd name="T91" fmla="*/ 86 h 99"/>
                  <a:gd name="T92" fmla="*/ 222 w 251"/>
                  <a:gd name="T93" fmla="*/ 79 h 99"/>
                  <a:gd name="T94" fmla="*/ 251 w 251"/>
                  <a:gd name="T95" fmla="*/ 86 h 99"/>
                  <a:gd name="T96" fmla="*/ 237 w 251"/>
                  <a:gd name="T97" fmla="*/ 42 h 99"/>
                  <a:gd name="T98" fmla="*/ 251 w 251"/>
                  <a:gd name="T99" fmla="*/ 36 h 99"/>
                  <a:gd name="T100" fmla="*/ 251 w 251"/>
                  <a:gd name="T101" fmla="*/ 36 h 99"/>
                  <a:gd name="T102" fmla="*/ 251 w 251"/>
                  <a:gd name="T103" fmla="*/ 36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51" h="99">
                    <a:moveTo>
                      <a:pt x="251" y="36"/>
                    </a:moveTo>
                    <a:lnTo>
                      <a:pt x="237" y="36"/>
                    </a:lnTo>
                    <a:lnTo>
                      <a:pt x="231" y="7"/>
                    </a:lnTo>
                    <a:lnTo>
                      <a:pt x="211" y="7"/>
                    </a:lnTo>
                    <a:lnTo>
                      <a:pt x="180" y="15"/>
                    </a:lnTo>
                    <a:lnTo>
                      <a:pt x="145" y="15"/>
                    </a:lnTo>
                    <a:lnTo>
                      <a:pt x="125" y="0"/>
                    </a:lnTo>
                    <a:lnTo>
                      <a:pt x="97" y="0"/>
                    </a:lnTo>
                    <a:lnTo>
                      <a:pt x="68" y="15"/>
                    </a:lnTo>
                    <a:lnTo>
                      <a:pt x="33" y="15"/>
                    </a:lnTo>
                    <a:lnTo>
                      <a:pt x="26" y="0"/>
                    </a:lnTo>
                    <a:lnTo>
                      <a:pt x="13" y="0"/>
                    </a:lnTo>
                    <a:lnTo>
                      <a:pt x="5" y="7"/>
                    </a:lnTo>
                    <a:lnTo>
                      <a:pt x="0" y="22"/>
                    </a:lnTo>
                    <a:lnTo>
                      <a:pt x="5" y="22"/>
                    </a:lnTo>
                    <a:lnTo>
                      <a:pt x="5" y="36"/>
                    </a:lnTo>
                    <a:lnTo>
                      <a:pt x="21" y="15"/>
                    </a:lnTo>
                    <a:lnTo>
                      <a:pt x="33" y="15"/>
                    </a:lnTo>
                    <a:lnTo>
                      <a:pt x="48" y="22"/>
                    </a:lnTo>
                    <a:lnTo>
                      <a:pt x="33" y="22"/>
                    </a:lnTo>
                    <a:lnTo>
                      <a:pt x="33" y="36"/>
                    </a:lnTo>
                    <a:lnTo>
                      <a:pt x="13" y="36"/>
                    </a:lnTo>
                    <a:lnTo>
                      <a:pt x="5" y="42"/>
                    </a:lnTo>
                    <a:lnTo>
                      <a:pt x="5" y="51"/>
                    </a:lnTo>
                    <a:lnTo>
                      <a:pt x="13" y="42"/>
                    </a:lnTo>
                    <a:lnTo>
                      <a:pt x="13" y="51"/>
                    </a:lnTo>
                    <a:lnTo>
                      <a:pt x="5" y="57"/>
                    </a:lnTo>
                    <a:lnTo>
                      <a:pt x="5" y="71"/>
                    </a:lnTo>
                    <a:lnTo>
                      <a:pt x="13" y="79"/>
                    </a:lnTo>
                    <a:lnTo>
                      <a:pt x="21" y="86"/>
                    </a:lnTo>
                    <a:lnTo>
                      <a:pt x="26" y="86"/>
                    </a:lnTo>
                    <a:lnTo>
                      <a:pt x="26" y="93"/>
                    </a:lnTo>
                    <a:lnTo>
                      <a:pt x="48" y="99"/>
                    </a:lnTo>
                    <a:lnTo>
                      <a:pt x="60" y="93"/>
                    </a:lnTo>
                    <a:lnTo>
                      <a:pt x="68" y="93"/>
                    </a:lnTo>
                    <a:lnTo>
                      <a:pt x="90" y="99"/>
                    </a:lnTo>
                    <a:lnTo>
                      <a:pt x="97" y="99"/>
                    </a:lnTo>
                    <a:lnTo>
                      <a:pt x="110" y="93"/>
                    </a:lnTo>
                    <a:lnTo>
                      <a:pt x="130" y="93"/>
                    </a:lnTo>
                    <a:lnTo>
                      <a:pt x="130" y="99"/>
                    </a:lnTo>
                    <a:lnTo>
                      <a:pt x="139" y="99"/>
                    </a:lnTo>
                    <a:lnTo>
                      <a:pt x="139" y="93"/>
                    </a:lnTo>
                    <a:lnTo>
                      <a:pt x="165" y="86"/>
                    </a:lnTo>
                    <a:lnTo>
                      <a:pt x="174" y="93"/>
                    </a:lnTo>
                    <a:lnTo>
                      <a:pt x="196" y="86"/>
                    </a:lnTo>
                    <a:lnTo>
                      <a:pt x="222" y="86"/>
                    </a:lnTo>
                    <a:lnTo>
                      <a:pt x="222" y="79"/>
                    </a:lnTo>
                    <a:lnTo>
                      <a:pt x="251" y="86"/>
                    </a:lnTo>
                    <a:lnTo>
                      <a:pt x="237" y="42"/>
                    </a:lnTo>
                    <a:lnTo>
                      <a:pt x="251" y="36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39" name="Freeform 275"/>
              <p:cNvSpPr>
                <a:spLocks/>
              </p:cNvSpPr>
              <p:nvPr/>
            </p:nvSpPr>
            <p:spPr bwMode="auto">
              <a:xfrm>
                <a:off x="6415088" y="4270375"/>
                <a:ext cx="79375" cy="47625"/>
              </a:xfrm>
              <a:custGeom>
                <a:avLst/>
                <a:gdLst>
                  <a:gd name="T0" fmla="*/ 38 w 45"/>
                  <a:gd name="T1" fmla="*/ 0 h 27"/>
                  <a:gd name="T2" fmla="*/ 15 w 45"/>
                  <a:gd name="T3" fmla="*/ 0 h 27"/>
                  <a:gd name="T4" fmla="*/ 0 w 45"/>
                  <a:gd name="T5" fmla="*/ 17 h 27"/>
                  <a:gd name="T6" fmla="*/ 0 w 45"/>
                  <a:gd name="T7" fmla="*/ 27 h 27"/>
                  <a:gd name="T8" fmla="*/ 45 w 45"/>
                  <a:gd name="T9" fmla="*/ 27 h 27"/>
                  <a:gd name="T10" fmla="*/ 38 w 45"/>
                  <a:gd name="T11" fmla="*/ 0 h 27"/>
                  <a:gd name="T12" fmla="*/ 38 w 45"/>
                  <a:gd name="T13" fmla="*/ 0 h 27"/>
                  <a:gd name="T14" fmla="*/ 38 w 45"/>
                  <a:gd name="T1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5" h="27">
                    <a:moveTo>
                      <a:pt x="38" y="0"/>
                    </a:moveTo>
                    <a:lnTo>
                      <a:pt x="15" y="0"/>
                    </a:lnTo>
                    <a:lnTo>
                      <a:pt x="0" y="17"/>
                    </a:lnTo>
                    <a:lnTo>
                      <a:pt x="0" y="27"/>
                    </a:lnTo>
                    <a:lnTo>
                      <a:pt x="45" y="27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40" name="Freeform 276"/>
              <p:cNvSpPr>
                <a:spLocks/>
              </p:cNvSpPr>
              <p:nvPr/>
            </p:nvSpPr>
            <p:spPr bwMode="auto">
              <a:xfrm>
                <a:off x="5251450" y="3787775"/>
                <a:ext cx="165100" cy="63500"/>
              </a:xfrm>
              <a:custGeom>
                <a:avLst/>
                <a:gdLst>
                  <a:gd name="T0" fmla="*/ 30 w 94"/>
                  <a:gd name="T1" fmla="*/ 35 h 35"/>
                  <a:gd name="T2" fmla="*/ 30 w 94"/>
                  <a:gd name="T3" fmla="*/ 15 h 35"/>
                  <a:gd name="T4" fmla="*/ 0 w 94"/>
                  <a:gd name="T5" fmla="*/ 0 h 35"/>
                  <a:gd name="T6" fmla="*/ 44 w 94"/>
                  <a:gd name="T7" fmla="*/ 0 h 35"/>
                  <a:gd name="T8" fmla="*/ 59 w 94"/>
                  <a:gd name="T9" fmla="*/ 8 h 35"/>
                  <a:gd name="T10" fmla="*/ 79 w 94"/>
                  <a:gd name="T11" fmla="*/ 8 h 35"/>
                  <a:gd name="T12" fmla="*/ 94 w 94"/>
                  <a:gd name="T13" fmla="*/ 29 h 35"/>
                  <a:gd name="T14" fmla="*/ 86 w 94"/>
                  <a:gd name="T15" fmla="*/ 29 h 35"/>
                  <a:gd name="T16" fmla="*/ 94 w 94"/>
                  <a:gd name="T17" fmla="*/ 35 h 35"/>
                  <a:gd name="T18" fmla="*/ 30 w 94"/>
                  <a:gd name="T19" fmla="*/ 35 h 35"/>
                  <a:gd name="T20" fmla="*/ 30 w 94"/>
                  <a:gd name="T21" fmla="*/ 35 h 35"/>
                  <a:gd name="T22" fmla="*/ 30 w 94"/>
                  <a:gd name="T23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4" h="35">
                    <a:moveTo>
                      <a:pt x="30" y="35"/>
                    </a:moveTo>
                    <a:lnTo>
                      <a:pt x="30" y="15"/>
                    </a:lnTo>
                    <a:lnTo>
                      <a:pt x="0" y="0"/>
                    </a:lnTo>
                    <a:lnTo>
                      <a:pt x="44" y="0"/>
                    </a:lnTo>
                    <a:lnTo>
                      <a:pt x="59" y="8"/>
                    </a:lnTo>
                    <a:lnTo>
                      <a:pt x="79" y="8"/>
                    </a:lnTo>
                    <a:lnTo>
                      <a:pt x="94" y="29"/>
                    </a:lnTo>
                    <a:lnTo>
                      <a:pt x="86" y="29"/>
                    </a:lnTo>
                    <a:lnTo>
                      <a:pt x="94" y="35"/>
                    </a:lnTo>
                    <a:lnTo>
                      <a:pt x="30" y="35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41" name="Freeform 277"/>
              <p:cNvSpPr>
                <a:spLocks/>
              </p:cNvSpPr>
              <p:nvPr/>
            </p:nvSpPr>
            <p:spPr bwMode="auto">
              <a:xfrm>
                <a:off x="5348288" y="3857625"/>
                <a:ext cx="68262" cy="74613"/>
              </a:xfrm>
              <a:custGeom>
                <a:avLst/>
                <a:gdLst>
                  <a:gd name="T0" fmla="*/ 39 w 39"/>
                  <a:gd name="T1" fmla="*/ 43 h 43"/>
                  <a:gd name="T2" fmla="*/ 39 w 39"/>
                  <a:gd name="T3" fmla="*/ 37 h 43"/>
                  <a:gd name="T4" fmla="*/ 31 w 39"/>
                  <a:gd name="T5" fmla="*/ 28 h 43"/>
                  <a:gd name="T6" fmla="*/ 31 w 39"/>
                  <a:gd name="T7" fmla="*/ 13 h 43"/>
                  <a:gd name="T8" fmla="*/ 19 w 39"/>
                  <a:gd name="T9" fmla="*/ 0 h 43"/>
                  <a:gd name="T10" fmla="*/ 0 w 39"/>
                  <a:gd name="T11" fmla="*/ 0 h 43"/>
                  <a:gd name="T12" fmla="*/ 5 w 39"/>
                  <a:gd name="T13" fmla="*/ 28 h 43"/>
                  <a:gd name="T14" fmla="*/ 19 w 39"/>
                  <a:gd name="T15" fmla="*/ 28 h 43"/>
                  <a:gd name="T16" fmla="*/ 31 w 39"/>
                  <a:gd name="T17" fmla="*/ 37 h 43"/>
                  <a:gd name="T18" fmla="*/ 31 w 39"/>
                  <a:gd name="T19" fmla="*/ 43 h 43"/>
                  <a:gd name="T20" fmla="*/ 39 w 39"/>
                  <a:gd name="T21" fmla="*/ 43 h 43"/>
                  <a:gd name="T22" fmla="*/ 39 w 39"/>
                  <a:gd name="T23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9" h="43">
                    <a:moveTo>
                      <a:pt x="39" y="43"/>
                    </a:moveTo>
                    <a:lnTo>
                      <a:pt x="39" y="37"/>
                    </a:lnTo>
                    <a:lnTo>
                      <a:pt x="31" y="28"/>
                    </a:lnTo>
                    <a:lnTo>
                      <a:pt x="31" y="1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5" y="28"/>
                    </a:lnTo>
                    <a:lnTo>
                      <a:pt x="19" y="28"/>
                    </a:lnTo>
                    <a:lnTo>
                      <a:pt x="31" y="37"/>
                    </a:lnTo>
                    <a:lnTo>
                      <a:pt x="31" y="43"/>
                    </a:lnTo>
                    <a:lnTo>
                      <a:pt x="39" y="43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42" name="Freeform 278"/>
              <p:cNvSpPr>
                <a:spLocks/>
              </p:cNvSpPr>
              <p:nvPr/>
            </p:nvSpPr>
            <p:spPr bwMode="auto">
              <a:xfrm>
                <a:off x="5378450" y="3841750"/>
                <a:ext cx="120650" cy="103188"/>
              </a:xfrm>
              <a:custGeom>
                <a:avLst/>
                <a:gdLst>
                  <a:gd name="T0" fmla="*/ 22 w 69"/>
                  <a:gd name="T1" fmla="*/ 51 h 59"/>
                  <a:gd name="T2" fmla="*/ 44 w 69"/>
                  <a:gd name="T3" fmla="*/ 44 h 59"/>
                  <a:gd name="T4" fmla="*/ 49 w 69"/>
                  <a:gd name="T5" fmla="*/ 44 h 59"/>
                  <a:gd name="T6" fmla="*/ 44 w 69"/>
                  <a:gd name="T7" fmla="*/ 51 h 59"/>
                  <a:gd name="T8" fmla="*/ 55 w 69"/>
                  <a:gd name="T9" fmla="*/ 59 h 59"/>
                  <a:gd name="T10" fmla="*/ 49 w 69"/>
                  <a:gd name="T11" fmla="*/ 51 h 59"/>
                  <a:gd name="T12" fmla="*/ 55 w 69"/>
                  <a:gd name="T13" fmla="*/ 51 h 59"/>
                  <a:gd name="T14" fmla="*/ 55 w 69"/>
                  <a:gd name="T15" fmla="*/ 37 h 59"/>
                  <a:gd name="T16" fmla="*/ 69 w 69"/>
                  <a:gd name="T17" fmla="*/ 22 h 59"/>
                  <a:gd name="T18" fmla="*/ 55 w 69"/>
                  <a:gd name="T19" fmla="*/ 15 h 59"/>
                  <a:gd name="T20" fmla="*/ 49 w 69"/>
                  <a:gd name="T21" fmla="*/ 0 h 59"/>
                  <a:gd name="T22" fmla="*/ 44 w 69"/>
                  <a:gd name="T23" fmla="*/ 9 h 59"/>
                  <a:gd name="T24" fmla="*/ 27 w 69"/>
                  <a:gd name="T25" fmla="*/ 9 h 59"/>
                  <a:gd name="T26" fmla="*/ 22 w 69"/>
                  <a:gd name="T27" fmla="*/ 0 h 59"/>
                  <a:gd name="T28" fmla="*/ 14 w 69"/>
                  <a:gd name="T29" fmla="*/ 0 h 59"/>
                  <a:gd name="T30" fmla="*/ 22 w 69"/>
                  <a:gd name="T31" fmla="*/ 9 h 59"/>
                  <a:gd name="T32" fmla="*/ 0 w 69"/>
                  <a:gd name="T33" fmla="*/ 9 h 59"/>
                  <a:gd name="T34" fmla="*/ 14 w 69"/>
                  <a:gd name="T35" fmla="*/ 22 h 59"/>
                  <a:gd name="T36" fmla="*/ 14 w 69"/>
                  <a:gd name="T37" fmla="*/ 37 h 59"/>
                  <a:gd name="T38" fmla="*/ 22 w 69"/>
                  <a:gd name="T39" fmla="*/ 44 h 59"/>
                  <a:gd name="T40" fmla="*/ 22 w 69"/>
                  <a:gd name="T41" fmla="*/ 51 h 59"/>
                  <a:gd name="T42" fmla="*/ 22 w 69"/>
                  <a:gd name="T43" fmla="*/ 51 h 59"/>
                  <a:gd name="T44" fmla="*/ 22 w 69"/>
                  <a:gd name="T45" fmla="*/ 51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9" h="59">
                    <a:moveTo>
                      <a:pt x="22" y="51"/>
                    </a:moveTo>
                    <a:lnTo>
                      <a:pt x="44" y="44"/>
                    </a:lnTo>
                    <a:lnTo>
                      <a:pt x="49" y="44"/>
                    </a:lnTo>
                    <a:lnTo>
                      <a:pt x="44" y="51"/>
                    </a:lnTo>
                    <a:lnTo>
                      <a:pt x="55" y="59"/>
                    </a:lnTo>
                    <a:lnTo>
                      <a:pt x="49" y="51"/>
                    </a:lnTo>
                    <a:lnTo>
                      <a:pt x="55" y="51"/>
                    </a:lnTo>
                    <a:lnTo>
                      <a:pt x="55" y="37"/>
                    </a:lnTo>
                    <a:lnTo>
                      <a:pt x="69" y="22"/>
                    </a:lnTo>
                    <a:lnTo>
                      <a:pt x="55" y="15"/>
                    </a:lnTo>
                    <a:lnTo>
                      <a:pt x="49" y="0"/>
                    </a:lnTo>
                    <a:lnTo>
                      <a:pt x="44" y="9"/>
                    </a:lnTo>
                    <a:lnTo>
                      <a:pt x="27" y="9"/>
                    </a:lnTo>
                    <a:lnTo>
                      <a:pt x="22" y="0"/>
                    </a:lnTo>
                    <a:lnTo>
                      <a:pt x="14" y="0"/>
                    </a:lnTo>
                    <a:lnTo>
                      <a:pt x="22" y="9"/>
                    </a:lnTo>
                    <a:lnTo>
                      <a:pt x="0" y="9"/>
                    </a:lnTo>
                    <a:lnTo>
                      <a:pt x="14" y="22"/>
                    </a:lnTo>
                    <a:lnTo>
                      <a:pt x="14" y="37"/>
                    </a:lnTo>
                    <a:lnTo>
                      <a:pt x="22" y="44"/>
                    </a:lnTo>
                    <a:lnTo>
                      <a:pt x="22" y="51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43" name="Freeform 279"/>
              <p:cNvSpPr>
                <a:spLocks/>
              </p:cNvSpPr>
              <p:nvPr/>
            </p:nvSpPr>
            <p:spPr bwMode="auto">
              <a:xfrm>
                <a:off x="5159375" y="3986213"/>
                <a:ext cx="169863" cy="152400"/>
              </a:xfrm>
              <a:custGeom>
                <a:avLst/>
                <a:gdLst>
                  <a:gd name="T0" fmla="*/ 0 w 97"/>
                  <a:gd name="T1" fmla="*/ 79 h 79"/>
                  <a:gd name="T2" fmla="*/ 6 w 97"/>
                  <a:gd name="T3" fmla="*/ 71 h 79"/>
                  <a:gd name="T4" fmla="*/ 13 w 97"/>
                  <a:gd name="T5" fmla="*/ 51 h 79"/>
                  <a:gd name="T6" fmla="*/ 6 w 97"/>
                  <a:gd name="T7" fmla="*/ 42 h 79"/>
                  <a:gd name="T8" fmla="*/ 6 w 97"/>
                  <a:gd name="T9" fmla="*/ 15 h 79"/>
                  <a:gd name="T10" fmla="*/ 13 w 97"/>
                  <a:gd name="T11" fmla="*/ 15 h 79"/>
                  <a:gd name="T12" fmla="*/ 13 w 97"/>
                  <a:gd name="T13" fmla="*/ 8 h 79"/>
                  <a:gd name="T14" fmla="*/ 43 w 97"/>
                  <a:gd name="T15" fmla="*/ 0 h 79"/>
                  <a:gd name="T16" fmla="*/ 50 w 97"/>
                  <a:gd name="T17" fmla="*/ 8 h 79"/>
                  <a:gd name="T18" fmla="*/ 68 w 97"/>
                  <a:gd name="T19" fmla="*/ 0 h 79"/>
                  <a:gd name="T20" fmla="*/ 97 w 97"/>
                  <a:gd name="T21" fmla="*/ 0 h 79"/>
                  <a:gd name="T22" fmla="*/ 83 w 97"/>
                  <a:gd name="T23" fmla="*/ 8 h 79"/>
                  <a:gd name="T24" fmla="*/ 68 w 97"/>
                  <a:gd name="T25" fmla="*/ 42 h 79"/>
                  <a:gd name="T26" fmla="*/ 50 w 97"/>
                  <a:gd name="T27" fmla="*/ 64 h 79"/>
                  <a:gd name="T28" fmla="*/ 43 w 97"/>
                  <a:gd name="T29" fmla="*/ 64 h 79"/>
                  <a:gd name="T30" fmla="*/ 13 w 97"/>
                  <a:gd name="T31" fmla="*/ 79 h 79"/>
                  <a:gd name="T32" fmla="*/ 0 w 97"/>
                  <a:gd name="T33" fmla="*/ 79 h 79"/>
                  <a:gd name="T34" fmla="*/ 0 w 97"/>
                  <a:gd name="T35" fmla="*/ 79 h 79"/>
                  <a:gd name="T36" fmla="*/ 0 w 97"/>
                  <a:gd name="T37" fmla="*/ 7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97" h="79">
                    <a:moveTo>
                      <a:pt x="0" y="79"/>
                    </a:moveTo>
                    <a:lnTo>
                      <a:pt x="6" y="71"/>
                    </a:lnTo>
                    <a:lnTo>
                      <a:pt x="13" y="51"/>
                    </a:lnTo>
                    <a:lnTo>
                      <a:pt x="6" y="42"/>
                    </a:lnTo>
                    <a:lnTo>
                      <a:pt x="6" y="15"/>
                    </a:lnTo>
                    <a:lnTo>
                      <a:pt x="13" y="15"/>
                    </a:lnTo>
                    <a:lnTo>
                      <a:pt x="13" y="8"/>
                    </a:lnTo>
                    <a:lnTo>
                      <a:pt x="43" y="0"/>
                    </a:lnTo>
                    <a:lnTo>
                      <a:pt x="50" y="8"/>
                    </a:lnTo>
                    <a:lnTo>
                      <a:pt x="68" y="0"/>
                    </a:lnTo>
                    <a:lnTo>
                      <a:pt x="97" y="0"/>
                    </a:lnTo>
                    <a:lnTo>
                      <a:pt x="83" y="8"/>
                    </a:lnTo>
                    <a:lnTo>
                      <a:pt x="68" y="42"/>
                    </a:lnTo>
                    <a:lnTo>
                      <a:pt x="50" y="64"/>
                    </a:lnTo>
                    <a:lnTo>
                      <a:pt x="43" y="64"/>
                    </a:lnTo>
                    <a:lnTo>
                      <a:pt x="13" y="79"/>
                    </a:lnTo>
                    <a:lnTo>
                      <a:pt x="0" y="79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44" name="Freeform 280"/>
              <p:cNvSpPr>
                <a:spLocks/>
              </p:cNvSpPr>
              <p:nvPr/>
            </p:nvSpPr>
            <p:spPr bwMode="auto">
              <a:xfrm>
                <a:off x="5130800" y="4116388"/>
                <a:ext cx="115888" cy="120650"/>
              </a:xfrm>
              <a:custGeom>
                <a:avLst/>
                <a:gdLst>
                  <a:gd name="T0" fmla="*/ 66 w 66"/>
                  <a:gd name="T1" fmla="*/ 16 h 70"/>
                  <a:gd name="T2" fmla="*/ 66 w 66"/>
                  <a:gd name="T3" fmla="*/ 0 h 70"/>
                  <a:gd name="T4" fmla="*/ 59 w 66"/>
                  <a:gd name="T5" fmla="*/ 0 h 70"/>
                  <a:gd name="T6" fmla="*/ 29 w 66"/>
                  <a:gd name="T7" fmla="*/ 16 h 70"/>
                  <a:gd name="T8" fmla="*/ 16 w 66"/>
                  <a:gd name="T9" fmla="*/ 16 h 70"/>
                  <a:gd name="T10" fmla="*/ 16 w 66"/>
                  <a:gd name="T11" fmla="*/ 47 h 70"/>
                  <a:gd name="T12" fmla="*/ 0 w 66"/>
                  <a:gd name="T13" fmla="*/ 70 h 70"/>
                  <a:gd name="T14" fmla="*/ 22 w 66"/>
                  <a:gd name="T15" fmla="*/ 70 h 70"/>
                  <a:gd name="T16" fmla="*/ 29 w 66"/>
                  <a:gd name="T17" fmla="*/ 60 h 70"/>
                  <a:gd name="T18" fmla="*/ 37 w 66"/>
                  <a:gd name="T19" fmla="*/ 60 h 70"/>
                  <a:gd name="T20" fmla="*/ 44 w 66"/>
                  <a:gd name="T21" fmla="*/ 47 h 70"/>
                  <a:gd name="T22" fmla="*/ 37 w 66"/>
                  <a:gd name="T23" fmla="*/ 38 h 70"/>
                  <a:gd name="T24" fmla="*/ 66 w 66"/>
                  <a:gd name="T25" fmla="*/ 16 h 70"/>
                  <a:gd name="T26" fmla="*/ 66 w 66"/>
                  <a:gd name="T27" fmla="*/ 16 h 70"/>
                  <a:gd name="T28" fmla="*/ 66 w 66"/>
                  <a:gd name="T29" fmla="*/ 16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6" h="70">
                    <a:moveTo>
                      <a:pt x="66" y="16"/>
                    </a:moveTo>
                    <a:lnTo>
                      <a:pt x="66" y="0"/>
                    </a:lnTo>
                    <a:lnTo>
                      <a:pt x="59" y="0"/>
                    </a:lnTo>
                    <a:lnTo>
                      <a:pt x="29" y="16"/>
                    </a:lnTo>
                    <a:lnTo>
                      <a:pt x="16" y="16"/>
                    </a:lnTo>
                    <a:lnTo>
                      <a:pt x="16" y="47"/>
                    </a:lnTo>
                    <a:lnTo>
                      <a:pt x="0" y="70"/>
                    </a:lnTo>
                    <a:lnTo>
                      <a:pt x="22" y="70"/>
                    </a:lnTo>
                    <a:lnTo>
                      <a:pt x="29" y="60"/>
                    </a:lnTo>
                    <a:lnTo>
                      <a:pt x="37" y="60"/>
                    </a:lnTo>
                    <a:lnTo>
                      <a:pt x="44" y="47"/>
                    </a:lnTo>
                    <a:lnTo>
                      <a:pt x="37" y="38"/>
                    </a:lnTo>
                    <a:lnTo>
                      <a:pt x="66" y="16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45" name="Freeform 282"/>
              <p:cNvSpPr>
                <a:spLocks/>
              </p:cNvSpPr>
              <p:nvPr/>
            </p:nvSpPr>
            <p:spPr bwMode="auto">
              <a:xfrm>
                <a:off x="5499100" y="4337050"/>
                <a:ext cx="44450" cy="42863"/>
              </a:xfrm>
              <a:custGeom>
                <a:avLst/>
                <a:gdLst>
                  <a:gd name="T0" fmla="*/ 17 w 25"/>
                  <a:gd name="T1" fmla="*/ 25 h 25"/>
                  <a:gd name="T2" fmla="*/ 0 w 25"/>
                  <a:gd name="T3" fmla="*/ 10 h 25"/>
                  <a:gd name="T4" fmla="*/ 17 w 25"/>
                  <a:gd name="T5" fmla="*/ 0 h 25"/>
                  <a:gd name="T6" fmla="*/ 25 w 25"/>
                  <a:gd name="T7" fmla="*/ 0 h 25"/>
                  <a:gd name="T8" fmla="*/ 17 w 25"/>
                  <a:gd name="T9" fmla="*/ 25 h 25"/>
                  <a:gd name="T10" fmla="*/ 17 w 25"/>
                  <a:gd name="T11" fmla="*/ 25 h 25"/>
                  <a:gd name="T12" fmla="*/ 17 w 25"/>
                  <a:gd name="T13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" h="25">
                    <a:moveTo>
                      <a:pt x="17" y="25"/>
                    </a:moveTo>
                    <a:lnTo>
                      <a:pt x="0" y="10"/>
                    </a:lnTo>
                    <a:lnTo>
                      <a:pt x="17" y="0"/>
                    </a:lnTo>
                    <a:lnTo>
                      <a:pt x="25" y="0"/>
                    </a:lnTo>
                    <a:lnTo>
                      <a:pt x="17" y="25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46" name="Freeform 283"/>
              <p:cNvSpPr>
                <a:spLocks/>
              </p:cNvSpPr>
              <p:nvPr/>
            </p:nvSpPr>
            <p:spPr bwMode="auto">
              <a:xfrm>
                <a:off x="5499100" y="4337050"/>
                <a:ext cx="147638" cy="77788"/>
              </a:xfrm>
              <a:custGeom>
                <a:avLst/>
                <a:gdLst>
                  <a:gd name="T0" fmla="*/ 70 w 84"/>
                  <a:gd name="T1" fmla="*/ 38 h 45"/>
                  <a:gd name="T2" fmla="*/ 84 w 84"/>
                  <a:gd name="T3" fmla="*/ 18 h 45"/>
                  <a:gd name="T4" fmla="*/ 84 w 84"/>
                  <a:gd name="T5" fmla="*/ 8 h 45"/>
                  <a:gd name="T6" fmla="*/ 77 w 84"/>
                  <a:gd name="T7" fmla="*/ 0 h 45"/>
                  <a:gd name="T8" fmla="*/ 58 w 84"/>
                  <a:gd name="T9" fmla="*/ 23 h 45"/>
                  <a:gd name="T10" fmla="*/ 15 w 84"/>
                  <a:gd name="T11" fmla="*/ 23 h 45"/>
                  <a:gd name="T12" fmla="*/ 0 w 84"/>
                  <a:gd name="T13" fmla="*/ 38 h 45"/>
                  <a:gd name="T14" fmla="*/ 15 w 84"/>
                  <a:gd name="T15" fmla="*/ 45 h 45"/>
                  <a:gd name="T16" fmla="*/ 58 w 84"/>
                  <a:gd name="T17" fmla="*/ 45 h 45"/>
                  <a:gd name="T18" fmla="*/ 58 w 84"/>
                  <a:gd name="T19" fmla="*/ 38 h 45"/>
                  <a:gd name="T20" fmla="*/ 70 w 84"/>
                  <a:gd name="T21" fmla="*/ 38 h 45"/>
                  <a:gd name="T22" fmla="*/ 70 w 84"/>
                  <a:gd name="T23" fmla="*/ 38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4" h="45">
                    <a:moveTo>
                      <a:pt x="70" y="38"/>
                    </a:moveTo>
                    <a:lnTo>
                      <a:pt x="84" y="18"/>
                    </a:lnTo>
                    <a:lnTo>
                      <a:pt x="84" y="8"/>
                    </a:lnTo>
                    <a:lnTo>
                      <a:pt x="77" y="0"/>
                    </a:lnTo>
                    <a:lnTo>
                      <a:pt x="58" y="23"/>
                    </a:lnTo>
                    <a:lnTo>
                      <a:pt x="15" y="23"/>
                    </a:lnTo>
                    <a:lnTo>
                      <a:pt x="0" y="38"/>
                    </a:lnTo>
                    <a:lnTo>
                      <a:pt x="15" y="45"/>
                    </a:lnTo>
                    <a:lnTo>
                      <a:pt x="58" y="45"/>
                    </a:lnTo>
                    <a:lnTo>
                      <a:pt x="58" y="38"/>
                    </a:lnTo>
                    <a:lnTo>
                      <a:pt x="70" y="38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47" name="Freeform 284"/>
              <p:cNvSpPr>
                <a:spLocks/>
              </p:cNvSpPr>
              <p:nvPr/>
            </p:nvSpPr>
            <p:spPr bwMode="auto">
              <a:xfrm>
                <a:off x="5567363" y="4368800"/>
                <a:ext cx="161925" cy="204788"/>
              </a:xfrm>
              <a:custGeom>
                <a:avLst/>
                <a:gdLst>
                  <a:gd name="T0" fmla="*/ 0 w 93"/>
                  <a:gd name="T1" fmla="*/ 118 h 118"/>
                  <a:gd name="T2" fmla="*/ 29 w 93"/>
                  <a:gd name="T3" fmla="*/ 118 h 118"/>
                  <a:gd name="T4" fmla="*/ 42 w 93"/>
                  <a:gd name="T5" fmla="*/ 103 h 118"/>
                  <a:gd name="T6" fmla="*/ 66 w 93"/>
                  <a:gd name="T7" fmla="*/ 98 h 118"/>
                  <a:gd name="T8" fmla="*/ 71 w 93"/>
                  <a:gd name="T9" fmla="*/ 81 h 118"/>
                  <a:gd name="T10" fmla="*/ 71 w 93"/>
                  <a:gd name="T11" fmla="*/ 74 h 118"/>
                  <a:gd name="T12" fmla="*/ 93 w 93"/>
                  <a:gd name="T13" fmla="*/ 37 h 118"/>
                  <a:gd name="T14" fmla="*/ 66 w 93"/>
                  <a:gd name="T15" fmla="*/ 7 h 118"/>
                  <a:gd name="T16" fmla="*/ 51 w 93"/>
                  <a:gd name="T17" fmla="*/ 0 h 118"/>
                  <a:gd name="T18" fmla="*/ 36 w 93"/>
                  <a:gd name="T19" fmla="*/ 22 h 118"/>
                  <a:gd name="T20" fmla="*/ 51 w 93"/>
                  <a:gd name="T21" fmla="*/ 37 h 118"/>
                  <a:gd name="T22" fmla="*/ 51 w 93"/>
                  <a:gd name="T23" fmla="*/ 67 h 118"/>
                  <a:gd name="T24" fmla="*/ 42 w 93"/>
                  <a:gd name="T25" fmla="*/ 67 h 118"/>
                  <a:gd name="T26" fmla="*/ 29 w 93"/>
                  <a:gd name="T27" fmla="*/ 81 h 118"/>
                  <a:gd name="T28" fmla="*/ 24 w 93"/>
                  <a:gd name="T29" fmla="*/ 98 h 118"/>
                  <a:gd name="T30" fmla="*/ 9 w 93"/>
                  <a:gd name="T31" fmla="*/ 103 h 118"/>
                  <a:gd name="T32" fmla="*/ 0 w 93"/>
                  <a:gd name="T33" fmla="*/ 111 h 118"/>
                  <a:gd name="T34" fmla="*/ 0 w 93"/>
                  <a:gd name="T35" fmla="*/ 118 h 118"/>
                  <a:gd name="T36" fmla="*/ 0 w 93"/>
                  <a:gd name="T37" fmla="*/ 118 h 118"/>
                  <a:gd name="T38" fmla="*/ 0 w 93"/>
                  <a:gd name="T39" fmla="*/ 118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93" h="118">
                    <a:moveTo>
                      <a:pt x="0" y="118"/>
                    </a:moveTo>
                    <a:lnTo>
                      <a:pt x="29" y="118"/>
                    </a:lnTo>
                    <a:lnTo>
                      <a:pt x="42" y="103"/>
                    </a:lnTo>
                    <a:lnTo>
                      <a:pt x="66" y="98"/>
                    </a:lnTo>
                    <a:lnTo>
                      <a:pt x="71" y="81"/>
                    </a:lnTo>
                    <a:lnTo>
                      <a:pt x="71" y="74"/>
                    </a:lnTo>
                    <a:lnTo>
                      <a:pt x="93" y="37"/>
                    </a:lnTo>
                    <a:lnTo>
                      <a:pt x="66" y="7"/>
                    </a:lnTo>
                    <a:lnTo>
                      <a:pt x="51" y="0"/>
                    </a:lnTo>
                    <a:lnTo>
                      <a:pt x="36" y="22"/>
                    </a:lnTo>
                    <a:lnTo>
                      <a:pt x="51" y="37"/>
                    </a:lnTo>
                    <a:lnTo>
                      <a:pt x="51" y="67"/>
                    </a:lnTo>
                    <a:lnTo>
                      <a:pt x="42" y="67"/>
                    </a:lnTo>
                    <a:lnTo>
                      <a:pt x="29" y="81"/>
                    </a:lnTo>
                    <a:lnTo>
                      <a:pt x="24" y="98"/>
                    </a:lnTo>
                    <a:lnTo>
                      <a:pt x="9" y="103"/>
                    </a:lnTo>
                    <a:lnTo>
                      <a:pt x="0" y="111"/>
                    </a:lnTo>
                    <a:lnTo>
                      <a:pt x="0" y="118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48" name="Freeform 285"/>
              <p:cNvSpPr>
                <a:spLocks/>
              </p:cNvSpPr>
              <p:nvPr/>
            </p:nvSpPr>
            <p:spPr bwMode="auto">
              <a:xfrm>
                <a:off x="5329238" y="4562475"/>
                <a:ext cx="238125" cy="131763"/>
              </a:xfrm>
              <a:custGeom>
                <a:avLst/>
                <a:gdLst>
                  <a:gd name="T0" fmla="*/ 0 w 135"/>
                  <a:gd name="T1" fmla="*/ 15 h 76"/>
                  <a:gd name="T2" fmla="*/ 8 w 135"/>
                  <a:gd name="T3" fmla="*/ 9 h 76"/>
                  <a:gd name="T4" fmla="*/ 33 w 135"/>
                  <a:gd name="T5" fmla="*/ 37 h 76"/>
                  <a:gd name="T6" fmla="*/ 40 w 135"/>
                  <a:gd name="T7" fmla="*/ 54 h 76"/>
                  <a:gd name="T8" fmla="*/ 99 w 135"/>
                  <a:gd name="T9" fmla="*/ 9 h 76"/>
                  <a:gd name="T10" fmla="*/ 135 w 135"/>
                  <a:gd name="T11" fmla="*/ 0 h 76"/>
                  <a:gd name="T12" fmla="*/ 135 w 135"/>
                  <a:gd name="T13" fmla="*/ 9 h 76"/>
                  <a:gd name="T14" fmla="*/ 129 w 135"/>
                  <a:gd name="T15" fmla="*/ 15 h 76"/>
                  <a:gd name="T16" fmla="*/ 129 w 135"/>
                  <a:gd name="T17" fmla="*/ 30 h 76"/>
                  <a:gd name="T18" fmla="*/ 94 w 135"/>
                  <a:gd name="T19" fmla="*/ 37 h 76"/>
                  <a:gd name="T20" fmla="*/ 57 w 135"/>
                  <a:gd name="T21" fmla="*/ 61 h 76"/>
                  <a:gd name="T22" fmla="*/ 40 w 135"/>
                  <a:gd name="T23" fmla="*/ 61 h 76"/>
                  <a:gd name="T24" fmla="*/ 26 w 135"/>
                  <a:gd name="T25" fmla="*/ 76 h 76"/>
                  <a:gd name="T26" fmla="*/ 8 w 135"/>
                  <a:gd name="T27" fmla="*/ 76 h 76"/>
                  <a:gd name="T28" fmla="*/ 0 w 135"/>
                  <a:gd name="T29" fmla="*/ 15 h 76"/>
                  <a:gd name="T30" fmla="*/ 0 w 135"/>
                  <a:gd name="T31" fmla="*/ 15 h 76"/>
                  <a:gd name="T32" fmla="*/ 0 w 135"/>
                  <a:gd name="T33" fmla="*/ 15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5" h="76">
                    <a:moveTo>
                      <a:pt x="0" y="15"/>
                    </a:moveTo>
                    <a:lnTo>
                      <a:pt x="8" y="9"/>
                    </a:lnTo>
                    <a:lnTo>
                      <a:pt x="33" y="37"/>
                    </a:lnTo>
                    <a:lnTo>
                      <a:pt x="40" y="54"/>
                    </a:lnTo>
                    <a:lnTo>
                      <a:pt x="99" y="9"/>
                    </a:lnTo>
                    <a:lnTo>
                      <a:pt x="135" y="0"/>
                    </a:lnTo>
                    <a:lnTo>
                      <a:pt x="135" y="9"/>
                    </a:lnTo>
                    <a:lnTo>
                      <a:pt x="129" y="15"/>
                    </a:lnTo>
                    <a:lnTo>
                      <a:pt x="129" y="30"/>
                    </a:lnTo>
                    <a:lnTo>
                      <a:pt x="94" y="37"/>
                    </a:lnTo>
                    <a:lnTo>
                      <a:pt x="57" y="61"/>
                    </a:lnTo>
                    <a:lnTo>
                      <a:pt x="40" y="61"/>
                    </a:lnTo>
                    <a:lnTo>
                      <a:pt x="26" y="76"/>
                    </a:lnTo>
                    <a:lnTo>
                      <a:pt x="8" y="76"/>
                    </a:lnTo>
                    <a:lnTo>
                      <a:pt x="0" y="15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49" name="Freeform 286"/>
              <p:cNvSpPr>
                <a:spLocks/>
              </p:cNvSpPr>
              <p:nvPr/>
            </p:nvSpPr>
            <p:spPr bwMode="auto">
              <a:xfrm>
                <a:off x="6215063" y="4202113"/>
                <a:ext cx="174625" cy="120650"/>
              </a:xfrm>
              <a:custGeom>
                <a:avLst/>
                <a:gdLst>
                  <a:gd name="T0" fmla="*/ 8 w 100"/>
                  <a:gd name="T1" fmla="*/ 0 h 69"/>
                  <a:gd name="T2" fmla="*/ 0 w 100"/>
                  <a:gd name="T3" fmla="*/ 24 h 69"/>
                  <a:gd name="T4" fmla="*/ 15 w 100"/>
                  <a:gd name="T5" fmla="*/ 37 h 69"/>
                  <a:gd name="T6" fmla="*/ 94 w 100"/>
                  <a:gd name="T7" fmla="*/ 69 h 69"/>
                  <a:gd name="T8" fmla="*/ 100 w 100"/>
                  <a:gd name="T9" fmla="*/ 69 h 69"/>
                  <a:gd name="T10" fmla="*/ 100 w 100"/>
                  <a:gd name="T11" fmla="*/ 37 h 69"/>
                  <a:gd name="T12" fmla="*/ 72 w 100"/>
                  <a:gd name="T13" fmla="*/ 37 h 69"/>
                  <a:gd name="T14" fmla="*/ 52 w 100"/>
                  <a:gd name="T15" fmla="*/ 19 h 69"/>
                  <a:gd name="T16" fmla="*/ 42 w 100"/>
                  <a:gd name="T17" fmla="*/ 19 h 69"/>
                  <a:gd name="T18" fmla="*/ 22 w 100"/>
                  <a:gd name="T19" fmla="*/ 0 h 69"/>
                  <a:gd name="T20" fmla="*/ 8 w 100"/>
                  <a:gd name="T21" fmla="*/ 0 h 69"/>
                  <a:gd name="T22" fmla="*/ 8 w 100"/>
                  <a:gd name="T23" fmla="*/ 0 h 69"/>
                  <a:gd name="T24" fmla="*/ 8 w 100"/>
                  <a:gd name="T25" fmla="*/ 0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0" h="69">
                    <a:moveTo>
                      <a:pt x="8" y="0"/>
                    </a:moveTo>
                    <a:lnTo>
                      <a:pt x="0" y="24"/>
                    </a:lnTo>
                    <a:lnTo>
                      <a:pt x="15" y="37"/>
                    </a:lnTo>
                    <a:lnTo>
                      <a:pt x="94" y="69"/>
                    </a:lnTo>
                    <a:lnTo>
                      <a:pt x="100" y="69"/>
                    </a:lnTo>
                    <a:lnTo>
                      <a:pt x="100" y="37"/>
                    </a:lnTo>
                    <a:lnTo>
                      <a:pt x="72" y="37"/>
                    </a:lnTo>
                    <a:lnTo>
                      <a:pt x="52" y="19"/>
                    </a:lnTo>
                    <a:lnTo>
                      <a:pt x="42" y="19"/>
                    </a:lnTo>
                    <a:lnTo>
                      <a:pt x="22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50" name="Freeform 287"/>
              <p:cNvSpPr>
                <a:spLocks/>
              </p:cNvSpPr>
              <p:nvPr/>
            </p:nvSpPr>
            <p:spPr bwMode="auto">
              <a:xfrm>
                <a:off x="6192838" y="4754563"/>
                <a:ext cx="61912" cy="100012"/>
              </a:xfrm>
              <a:custGeom>
                <a:avLst/>
                <a:gdLst>
                  <a:gd name="T0" fmla="*/ 0 w 36"/>
                  <a:gd name="T1" fmla="*/ 25 h 57"/>
                  <a:gd name="T2" fmla="*/ 15 w 36"/>
                  <a:gd name="T3" fmla="*/ 57 h 57"/>
                  <a:gd name="T4" fmla="*/ 30 w 36"/>
                  <a:gd name="T5" fmla="*/ 57 h 57"/>
                  <a:gd name="T6" fmla="*/ 36 w 36"/>
                  <a:gd name="T7" fmla="*/ 40 h 57"/>
                  <a:gd name="T8" fmla="*/ 23 w 36"/>
                  <a:gd name="T9" fmla="*/ 10 h 57"/>
                  <a:gd name="T10" fmla="*/ 15 w 36"/>
                  <a:gd name="T11" fmla="*/ 0 h 57"/>
                  <a:gd name="T12" fmla="*/ 0 w 36"/>
                  <a:gd name="T13" fmla="*/ 25 h 57"/>
                  <a:gd name="T14" fmla="*/ 0 w 36"/>
                  <a:gd name="T15" fmla="*/ 25 h 57"/>
                  <a:gd name="T16" fmla="*/ 0 w 36"/>
                  <a:gd name="T17" fmla="*/ 25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6" h="57">
                    <a:moveTo>
                      <a:pt x="0" y="25"/>
                    </a:moveTo>
                    <a:lnTo>
                      <a:pt x="15" y="57"/>
                    </a:lnTo>
                    <a:lnTo>
                      <a:pt x="30" y="57"/>
                    </a:lnTo>
                    <a:lnTo>
                      <a:pt x="36" y="40"/>
                    </a:lnTo>
                    <a:lnTo>
                      <a:pt x="23" y="10"/>
                    </a:lnTo>
                    <a:lnTo>
                      <a:pt x="15" y="0"/>
                    </a:lnTo>
                    <a:lnTo>
                      <a:pt x="0" y="25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51" name="Freeform 288"/>
              <p:cNvSpPr>
                <a:spLocks/>
              </p:cNvSpPr>
              <p:nvPr/>
            </p:nvSpPr>
            <p:spPr bwMode="auto">
              <a:xfrm>
                <a:off x="5767388" y="4000500"/>
                <a:ext cx="377825" cy="403225"/>
              </a:xfrm>
              <a:custGeom>
                <a:avLst/>
                <a:gdLst>
                  <a:gd name="T0" fmla="*/ 216 w 216"/>
                  <a:gd name="T1" fmla="*/ 20 h 230"/>
                  <a:gd name="T2" fmla="*/ 211 w 216"/>
                  <a:gd name="T3" fmla="*/ 15 h 230"/>
                  <a:gd name="T4" fmla="*/ 211 w 216"/>
                  <a:gd name="T5" fmla="*/ 20 h 230"/>
                  <a:gd name="T6" fmla="*/ 216 w 216"/>
                  <a:gd name="T7" fmla="*/ 20 h 230"/>
                  <a:gd name="T8" fmla="*/ 181 w 216"/>
                  <a:gd name="T9" fmla="*/ 0 h 230"/>
                  <a:gd name="T10" fmla="*/ 173 w 216"/>
                  <a:gd name="T11" fmla="*/ 0 h 230"/>
                  <a:gd name="T12" fmla="*/ 181 w 216"/>
                  <a:gd name="T13" fmla="*/ 0 h 230"/>
                  <a:gd name="T14" fmla="*/ 173 w 216"/>
                  <a:gd name="T15" fmla="*/ 0 h 230"/>
                  <a:gd name="T16" fmla="*/ 136 w 216"/>
                  <a:gd name="T17" fmla="*/ 15 h 230"/>
                  <a:gd name="T18" fmla="*/ 136 w 216"/>
                  <a:gd name="T19" fmla="*/ 35 h 230"/>
                  <a:gd name="T20" fmla="*/ 129 w 216"/>
                  <a:gd name="T21" fmla="*/ 51 h 230"/>
                  <a:gd name="T22" fmla="*/ 123 w 216"/>
                  <a:gd name="T23" fmla="*/ 51 h 230"/>
                  <a:gd name="T24" fmla="*/ 123 w 216"/>
                  <a:gd name="T25" fmla="*/ 66 h 230"/>
                  <a:gd name="T26" fmla="*/ 108 w 216"/>
                  <a:gd name="T27" fmla="*/ 72 h 230"/>
                  <a:gd name="T28" fmla="*/ 108 w 216"/>
                  <a:gd name="T29" fmla="*/ 91 h 230"/>
                  <a:gd name="T30" fmla="*/ 79 w 216"/>
                  <a:gd name="T31" fmla="*/ 103 h 230"/>
                  <a:gd name="T32" fmla="*/ 72 w 216"/>
                  <a:gd name="T33" fmla="*/ 111 h 230"/>
                  <a:gd name="T34" fmla="*/ 72 w 216"/>
                  <a:gd name="T35" fmla="*/ 126 h 230"/>
                  <a:gd name="T36" fmla="*/ 14 w 216"/>
                  <a:gd name="T37" fmla="*/ 135 h 230"/>
                  <a:gd name="T38" fmla="*/ 0 w 216"/>
                  <a:gd name="T39" fmla="*/ 126 h 230"/>
                  <a:gd name="T40" fmla="*/ 22 w 216"/>
                  <a:gd name="T41" fmla="*/ 172 h 230"/>
                  <a:gd name="T42" fmla="*/ 9 w 216"/>
                  <a:gd name="T43" fmla="*/ 187 h 230"/>
                  <a:gd name="T44" fmla="*/ 9 w 216"/>
                  <a:gd name="T45" fmla="*/ 200 h 230"/>
                  <a:gd name="T46" fmla="*/ 79 w 216"/>
                  <a:gd name="T47" fmla="*/ 200 h 230"/>
                  <a:gd name="T48" fmla="*/ 86 w 216"/>
                  <a:gd name="T49" fmla="*/ 217 h 230"/>
                  <a:gd name="T50" fmla="*/ 94 w 216"/>
                  <a:gd name="T51" fmla="*/ 230 h 230"/>
                  <a:gd name="T52" fmla="*/ 101 w 216"/>
                  <a:gd name="T53" fmla="*/ 217 h 230"/>
                  <a:gd name="T54" fmla="*/ 129 w 216"/>
                  <a:gd name="T55" fmla="*/ 217 h 230"/>
                  <a:gd name="T56" fmla="*/ 129 w 216"/>
                  <a:gd name="T57" fmla="*/ 192 h 230"/>
                  <a:gd name="T58" fmla="*/ 123 w 216"/>
                  <a:gd name="T59" fmla="*/ 192 h 230"/>
                  <a:gd name="T60" fmla="*/ 123 w 216"/>
                  <a:gd name="T61" fmla="*/ 187 h 230"/>
                  <a:gd name="T62" fmla="*/ 108 w 216"/>
                  <a:gd name="T63" fmla="*/ 187 h 230"/>
                  <a:gd name="T64" fmla="*/ 108 w 216"/>
                  <a:gd name="T65" fmla="*/ 165 h 230"/>
                  <a:gd name="T66" fmla="*/ 123 w 216"/>
                  <a:gd name="T67" fmla="*/ 155 h 230"/>
                  <a:gd name="T68" fmla="*/ 129 w 216"/>
                  <a:gd name="T69" fmla="*/ 165 h 230"/>
                  <a:gd name="T70" fmla="*/ 188 w 216"/>
                  <a:gd name="T71" fmla="*/ 103 h 230"/>
                  <a:gd name="T72" fmla="*/ 181 w 216"/>
                  <a:gd name="T73" fmla="*/ 91 h 230"/>
                  <a:gd name="T74" fmla="*/ 188 w 216"/>
                  <a:gd name="T75" fmla="*/ 91 h 230"/>
                  <a:gd name="T76" fmla="*/ 188 w 216"/>
                  <a:gd name="T77" fmla="*/ 81 h 230"/>
                  <a:gd name="T78" fmla="*/ 173 w 216"/>
                  <a:gd name="T79" fmla="*/ 72 h 230"/>
                  <a:gd name="T80" fmla="*/ 181 w 216"/>
                  <a:gd name="T81" fmla="*/ 51 h 230"/>
                  <a:gd name="T82" fmla="*/ 173 w 216"/>
                  <a:gd name="T83" fmla="*/ 44 h 230"/>
                  <a:gd name="T84" fmla="*/ 181 w 216"/>
                  <a:gd name="T85" fmla="*/ 35 h 230"/>
                  <a:gd name="T86" fmla="*/ 181 w 216"/>
                  <a:gd name="T87" fmla="*/ 29 h 230"/>
                  <a:gd name="T88" fmla="*/ 173 w 216"/>
                  <a:gd name="T89" fmla="*/ 20 h 230"/>
                  <a:gd name="T90" fmla="*/ 165 w 216"/>
                  <a:gd name="T91" fmla="*/ 20 h 230"/>
                  <a:gd name="T92" fmla="*/ 165 w 216"/>
                  <a:gd name="T93" fmla="*/ 0 h 230"/>
                  <a:gd name="T94" fmla="*/ 173 w 216"/>
                  <a:gd name="T95" fmla="*/ 0 h 230"/>
                  <a:gd name="T96" fmla="*/ 216 w 216"/>
                  <a:gd name="T97" fmla="*/ 20 h 230"/>
                  <a:gd name="T98" fmla="*/ 216 w 216"/>
                  <a:gd name="T99" fmla="*/ 20 h 230"/>
                  <a:gd name="T100" fmla="*/ 216 w 216"/>
                  <a:gd name="T101" fmla="*/ 2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16" h="230">
                    <a:moveTo>
                      <a:pt x="216" y="20"/>
                    </a:moveTo>
                    <a:lnTo>
                      <a:pt x="211" y="15"/>
                    </a:lnTo>
                    <a:lnTo>
                      <a:pt x="211" y="20"/>
                    </a:lnTo>
                    <a:lnTo>
                      <a:pt x="216" y="20"/>
                    </a:lnTo>
                    <a:lnTo>
                      <a:pt x="181" y="0"/>
                    </a:lnTo>
                    <a:lnTo>
                      <a:pt x="173" y="0"/>
                    </a:lnTo>
                    <a:lnTo>
                      <a:pt x="181" y="0"/>
                    </a:lnTo>
                    <a:lnTo>
                      <a:pt x="173" y="0"/>
                    </a:lnTo>
                    <a:lnTo>
                      <a:pt x="136" y="15"/>
                    </a:lnTo>
                    <a:lnTo>
                      <a:pt x="136" y="35"/>
                    </a:lnTo>
                    <a:lnTo>
                      <a:pt x="129" y="51"/>
                    </a:lnTo>
                    <a:lnTo>
                      <a:pt x="123" y="51"/>
                    </a:lnTo>
                    <a:lnTo>
                      <a:pt x="123" y="66"/>
                    </a:lnTo>
                    <a:lnTo>
                      <a:pt x="108" y="72"/>
                    </a:lnTo>
                    <a:lnTo>
                      <a:pt x="108" y="91"/>
                    </a:lnTo>
                    <a:lnTo>
                      <a:pt x="79" y="103"/>
                    </a:lnTo>
                    <a:lnTo>
                      <a:pt x="72" y="111"/>
                    </a:lnTo>
                    <a:lnTo>
                      <a:pt x="72" y="126"/>
                    </a:lnTo>
                    <a:lnTo>
                      <a:pt x="14" y="135"/>
                    </a:lnTo>
                    <a:lnTo>
                      <a:pt x="0" y="126"/>
                    </a:lnTo>
                    <a:lnTo>
                      <a:pt x="22" y="172"/>
                    </a:lnTo>
                    <a:lnTo>
                      <a:pt x="9" y="187"/>
                    </a:lnTo>
                    <a:lnTo>
                      <a:pt x="9" y="200"/>
                    </a:lnTo>
                    <a:lnTo>
                      <a:pt x="79" y="200"/>
                    </a:lnTo>
                    <a:lnTo>
                      <a:pt x="86" y="217"/>
                    </a:lnTo>
                    <a:lnTo>
                      <a:pt x="94" y="230"/>
                    </a:lnTo>
                    <a:lnTo>
                      <a:pt x="101" y="217"/>
                    </a:lnTo>
                    <a:lnTo>
                      <a:pt x="129" y="217"/>
                    </a:lnTo>
                    <a:lnTo>
                      <a:pt x="129" y="192"/>
                    </a:lnTo>
                    <a:lnTo>
                      <a:pt x="123" y="192"/>
                    </a:lnTo>
                    <a:lnTo>
                      <a:pt x="123" y="187"/>
                    </a:lnTo>
                    <a:lnTo>
                      <a:pt x="108" y="187"/>
                    </a:lnTo>
                    <a:lnTo>
                      <a:pt x="108" y="165"/>
                    </a:lnTo>
                    <a:lnTo>
                      <a:pt x="123" y="155"/>
                    </a:lnTo>
                    <a:lnTo>
                      <a:pt x="129" y="165"/>
                    </a:lnTo>
                    <a:lnTo>
                      <a:pt x="188" y="103"/>
                    </a:lnTo>
                    <a:lnTo>
                      <a:pt x="181" y="91"/>
                    </a:lnTo>
                    <a:lnTo>
                      <a:pt x="188" y="91"/>
                    </a:lnTo>
                    <a:lnTo>
                      <a:pt x="188" y="81"/>
                    </a:lnTo>
                    <a:lnTo>
                      <a:pt x="173" y="72"/>
                    </a:lnTo>
                    <a:lnTo>
                      <a:pt x="181" y="51"/>
                    </a:lnTo>
                    <a:lnTo>
                      <a:pt x="173" y="44"/>
                    </a:lnTo>
                    <a:lnTo>
                      <a:pt x="181" y="35"/>
                    </a:lnTo>
                    <a:lnTo>
                      <a:pt x="181" y="29"/>
                    </a:lnTo>
                    <a:lnTo>
                      <a:pt x="173" y="20"/>
                    </a:lnTo>
                    <a:lnTo>
                      <a:pt x="165" y="20"/>
                    </a:lnTo>
                    <a:lnTo>
                      <a:pt x="165" y="0"/>
                    </a:lnTo>
                    <a:lnTo>
                      <a:pt x="173" y="0"/>
                    </a:lnTo>
                    <a:lnTo>
                      <a:pt x="216" y="2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52" name="Freeform 289"/>
              <p:cNvSpPr>
                <a:spLocks/>
              </p:cNvSpPr>
              <p:nvPr/>
            </p:nvSpPr>
            <p:spPr bwMode="auto">
              <a:xfrm>
                <a:off x="5951538" y="3787775"/>
                <a:ext cx="263525" cy="127000"/>
              </a:xfrm>
              <a:custGeom>
                <a:avLst/>
                <a:gdLst>
                  <a:gd name="T0" fmla="*/ 149 w 149"/>
                  <a:gd name="T1" fmla="*/ 15 h 72"/>
                  <a:gd name="T2" fmla="*/ 149 w 149"/>
                  <a:gd name="T3" fmla="*/ 30 h 72"/>
                  <a:gd name="T4" fmla="*/ 120 w 149"/>
                  <a:gd name="T5" fmla="*/ 45 h 72"/>
                  <a:gd name="T6" fmla="*/ 105 w 149"/>
                  <a:gd name="T7" fmla="*/ 45 h 72"/>
                  <a:gd name="T8" fmla="*/ 99 w 149"/>
                  <a:gd name="T9" fmla="*/ 52 h 72"/>
                  <a:gd name="T10" fmla="*/ 79 w 149"/>
                  <a:gd name="T11" fmla="*/ 52 h 72"/>
                  <a:gd name="T12" fmla="*/ 64 w 149"/>
                  <a:gd name="T13" fmla="*/ 66 h 72"/>
                  <a:gd name="T14" fmla="*/ 64 w 149"/>
                  <a:gd name="T15" fmla="*/ 72 h 72"/>
                  <a:gd name="T16" fmla="*/ 0 w 149"/>
                  <a:gd name="T17" fmla="*/ 72 h 72"/>
                  <a:gd name="T18" fmla="*/ 0 w 149"/>
                  <a:gd name="T19" fmla="*/ 66 h 72"/>
                  <a:gd name="T20" fmla="*/ 22 w 149"/>
                  <a:gd name="T21" fmla="*/ 66 h 72"/>
                  <a:gd name="T22" fmla="*/ 22 w 149"/>
                  <a:gd name="T23" fmla="*/ 52 h 72"/>
                  <a:gd name="T24" fmla="*/ 33 w 149"/>
                  <a:gd name="T25" fmla="*/ 52 h 72"/>
                  <a:gd name="T26" fmla="*/ 57 w 149"/>
                  <a:gd name="T27" fmla="*/ 45 h 72"/>
                  <a:gd name="T28" fmla="*/ 33 w 149"/>
                  <a:gd name="T29" fmla="*/ 37 h 72"/>
                  <a:gd name="T30" fmla="*/ 15 w 149"/>
                  <a:gd name="T31" fmla="*/ 37 h 72"/>
                  <a:gd name="T32" fmla="*/ 30 w 149"/>
                  <a:gd name="T33" fmla="*/ 15 h 72"/>
                  <a:gd name="T34" fmla="*/ 22 w 149"/>
                  <a:gd name="T35" fmla="*/ 15 h 72"/>
                  <a:gd name="T36" fmla="*/ 30 w 149"/>
                  <a:gd name="T37" fmla="*/ 8 h 72"/>
                  <a:gd name="T38" fmla="*/ 57 w 149"/>
                  <a:gd name="T39" fmla="*/ 15 h 72"/>
                  <a:gd name="T40" fmla="*/ 57 w 149"/>
                  <a:gd name="T41" fmla="*/ 8 h 72"/>
                  <a:gd name="T42" fmla="*/ 64 w 149"/>
                  <a:gd name="T43" fmla="*/ 0 h 72"/>
                  <a:gd name="T44" fmla="*/ 79 w 149"/>
                  <a:gd name="T45" fmla="*/ 8 h 72"/>
                  <a:gd name="T46" fmla="*/ 126 w 149"/>
                  <a:gd name="T47" fmla="*/ 8 h 72"/>
                  <a:gd name="T48" fmla="*/ 149 w 149"/>
                  <a:gd name="T49" fmla="*/ 15 h 72"/>
                  <a:gd name="T50" fmla="*/ 149 w 149"/>
                  <a:gd name="T51" fmla="*/ 15 h 72"/>
                  <a:gd name="T52" fmla="*/ 149 w 149"/>
                  <a:gd name="T53" fmla="*/ 15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9" h="72">
                    <a:moveTo>
                      <a:pt x="149" y="15"/>
                    </a:moveTo>
                    <a:lnTo>
                      <a:pt x="149" y="30"/>
                    </a:lnTo>
                    <a:lnTo>
                      <a:pt x="120" y="45"/>
                    </a:lnTo>
                    <a:lnTo>
                      <a:pt x="105" y="45"/>
                    </a:lnTo>
                    <a:lnTo>
                      <a:pt x="99" y="52"/>
                    </a:lnTo>
                    <a:lnTo>
                      <a:pt x="79" y="52"/>
                    </a:lnTo>
                    <a:lnTo>
                      <a:pt x="64" y="66"/>
                    </a:lnTo>
                    <a:lnTo>
                      <a:pt x="64" y="72"/>
                    </a:lnTo>
                    <a:lnTo>
                      <a:pt x="0" y="72"/>
                    </a:lnTo>
                    <a:lnTo>
                      <a:pt x="0" y="66"/>
                    </a:lnTo>
                    <a:lnTo>
                      <a:pt x="22" y="66"/>
                    </a:lnTo>
                    <a:lnTo>
                      <a:pt x="22" y="52"/>
                    </a:lnTo>
                    <a:lnTo>
                      <a:pt x="33" y="52"/>
                    </a:lnTo>
                    <a:lnTo>
                      <a:pt x="57" y="45"/>
                    </a:lnTo>
                    <a:lnTo>
                      <a:pt x="33" y="37"/>
                    </a:lnTo>
                    <a:lnTo>
                      <a:pt x="15" y="37"/>
                    </a:lnTo>
                    <a:lnTo>
                      <a:pt x="30" y="15"/>
                    </a:lnTo>
                    <a:lnTo>
                      <a:pt x="22" y="15"/>
                    </a:lnTo>
                    <a:lnTo>
                      <a:pt x="30" y="8"/>
                    </a:lnTo>
                    <a:lnTo>
                      <a:pt x="57" y="15"/>
                    </a:lnTo>
                    <a:lnTo>
                      <a:pt x="57" y="8"/>
                    </a:lnTo>
                    <a:lnTo>
                      <a:pt x="64" y="0"/>
                    </a:lnTo>
                    <a:lnTo>
                      <a:pt x="79" y="8"/>
                    </a:lnTo>
                    <a:lnTo>
                      <a:pt x="126" y="8"/>
                    </a:lnTo>
                    <a:lnTo>
                      <a:pt x="149" y="15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53" name="Freeform 290"/>
              <p:cNvSpPr>
                <a:spLocks/>
              </p:cNvSpPr>
              <p:nvPr/>
            </p:nvSpPr>
            <p:spPr bwMode="auto">
              <a:xfrm>
                <a:off x="4433888" y="2390775"/>
                <a:ext cx="625475" cy="801688"/>
              </a:xfrm>
              <a:custGeom>
                <a:avLst/>
                <a:gdLst>
                  <a:gd name="T0" fmla="*/ 84 w 356"/>
                  <a:gd name="T1" fmla="*/ 432 h 459"/>
                  <a:gd name="T2" fmla="*/ 79 w 356"/>
                  <a:gd name="T3" fmla="*/ 432 h 459"/>
                  <a:gd name="T4" fmla="*/ 42 w 356"/>
                  <a:gd name="T5" fmla="*/ 459 h 459"/>
                  <a:gd name="T6" fmla="*/ 7 w 356"/>
                  <a:gd name="T7" fmla="*/ 445 h 459"/>
                  <a:gd name="T8" fmla="*/ 0 w 356"/>
                  <a:gd name="T9" fmla="*/ 370 h 459"/>
                  <a:gd name="T10" fmla="*/ 0 w 356"/>
                  <a:gd name="T11" fmla="*/ 346 h 459"/>
                  <a:gd name="T12" fmla="*/ 64 w 356"/>
                  <a:gd name="T13" fmla="*/ 301 h 459"/>
                  <a:gd name="T14" fmla="*/ 106 w 356"/>
                  <a:gd name="T15" fmla="*/ 235 h 459"/>
                  <a:gd name="T16" fmla="*/ 158 w 356"/>
                  <a:gd name="T17" fmla="*/ 123 h 459"/>
                  <a:gd name="T18" fmla="*/ 114 w 356"/>
                  <a:gd name="T19" fmla="*/ 143 h 459"/>
                  <a:gd name="T20" fmla="*/ 158 w 356"/>
                  <a:gd name="T21" fmla="*/ 82 h 459"/>
                  <a:gd name="T22" fmla="*/ 165 w 356"/>
                  <a:gd name="T23" fmla="*/ 97 h 459"/>
                  <a:gd name="T24" fmla="*/ 178 w 356"/>
                  <a:gd name="T25" fmla="*/ 69 h 459"/>
                  <a:gd name="T26" fmla="*/ 205 w 356"/>
                  <a:gd name="T27" fmla="*/ 47 h 459"/>
                  <a:gd name="T28" fmla="*/ 263 w 356"/>
                  <a:gd name="T29" fmla="*/ 22 h 459"/>
                  <a:gd name="T30" fmla="*/ 309 w 356"/>
                  <a:gd name="T31" fmla="*/ 0 h 459"/>
                  <a:gd name="T32" fmla="*/ 356 w 356"/>
                  <a:gd name="T33" fmla="*/ 39 h 459"/>
                  <a:gd name="T34" fmla="*/ 320 w 356"/>
                  <a:gd name="T35" fmla="*/ 47 h 459"/>
                  <a:gd name="T36" fmla="*/ 349 w 356"/>
                  <a:gd name="T37" fmla="*/ 69 h 459"/>
                  <a:gd name="T38" fmla="*/ 335 w 356"/>
                  <a:gd name="T39" fmla="*/ 69 h 459"/>
                  <a:gd name="T40" fmla="*/ 292 w 356"/>
                  <a:gd name="T41" fmla="*/ 60 h 459"/>
                  <a:gd name="T42" fmla="*/ 272 w 356"/>
                  <a:gd name="T43" fmla="*/ 106 h 459"/>
                  <a:gd name="T44" fmla="*/ 222 w 356"/>
                  <a:gd name="T45" fmla="*/ 82 h 459"/>
                  <a:gd name="T46" fmla="*/ 205 w 356"/>
                  <a:gd name="T47" fmla="*/ 97 h 459"/>
                  <a:gd name="T48" fmla="*/ 178 w 356"/>
                  <a:gd name="T49" fmla="*/ 113 h 459"/>
                  <a:gd name="T50" fmla="*/ 171 w 356"/>
                  <a:gd name="T51" fmla="*/ 129 h 459"/>
                  <a:gd name="T52" fmla="*/ 158 w 356"/>
                  <a:gd name="T53" fmla="*/ 181 h 459"/>
                  <a:gd name="T54" fmla="*/ 121 w 356"/>
                  <a:gd name="T55" fmla="*/ 249 h 459"/>
                  <a:gd name="T56" fmla="*/ 106 w 356"/>
                  <a:gd name="T57" fmla="*/ 287 h 459"/>
                  <a:gd name="T58" fmla="*/ 106 w 356"/>
                  <a:gd name="T59" fmla="*/ 363 h 459"/>
                  <a:gd name="T60" fmla="*/ 94 w 356"/>
                  <a:gd name="T61" fmla="*/ 407 h 459"/>
                  <a:gd name="T62" fmla="*/ 84 w 356"/>
                  <a:gd name="T63" fmla="*/ 437 h 459"/>
                  <a:gd name="T64" fmla="*/ 84 w 356"/>
                  <a:gd name="T65" fmla="*/ 437 h 4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56" h="459">
                    <a:moveTo>
                      <a:pt x="84" y="437"/>
                    </a:moveTo>
                    <a:lnTo>
                      <a:pt x="84" y="432"/>
                    </a:lnTo>
                    <a:lnTo>
                      <a:pt x="79" y="424"/>
                    </a:lnTo>
                    <a:lnTo>
                      <a:pt x="79" y="432"/>
                    </a:lnTo>
                    <a:lnTo>
                      <a:pt x="72" y="432"/>
                    </a:lnTo>
                    <a:lnTo>
                      <a:pt x="42" y="459"/>
                    </a:lnTo>
                    <a:lnTo>
                      <a:pt x="29" y="459"/>
                    </a:lnTo>
                    <a:lnTo>
                      <a:pt x="7" y="445"/>
                    </a:lnTo>
                    <a:lnTo>
                      <a:pt x="7" y="392"/>
                    </a:lnTo>
                    <a:lnTo>
                      <a:pt x="0" y="370"/>
                    </a:lnTo>
                    <a:lnTo>
                      <a:pt x="7" y="356"/>
                    </a:lnTo>
                    <a:lnTo>
                      <a:pt x="0" y="346"/>
                    </a:lnTo>
                    <a:lnTo>
                      <a:pt x="42" y="309"/>
                    </a:lnTo>
                    <a:lnTo>
                      <a:pt x="64" y="301"/>
                    </a:lnTo>
                    <a:lnTo>
                      <a:pt x="84" y="249"/>
                    </a:lnTo>
                    <a:lnTo>
                      <a:pt x="106" y="235"/>
                    </a:lnTo>
                    <a:lnTo>
                      <a:pt x="136" y="143"/>
                    </a:lnTo>
                    <a:lnTo>
                      <a:pt x="158" y="123"/>
                    </a:lnTo>
                    <a:lnTo>
                      <a:pt x="128" y="129"/>
                    </a:lnTo>
                    <a:lnTo>
                      <a:pt x="114" y="143"/>
                    </a:lnTo>
                    <a:lnTo>
                      <a:pt x="128" y="106"/>
                    </a:lnTo>
                    <a:lnTo>
                      <a:pt x="158" y="82"/>
                    </a:lnTo>
                    <a:lnTo>
                      <a:pt x="158" y="106"/>
                    </a:lnTo>
                    <a:lnTo>
                      <a:pt x="165" y="97"/>
                    </a:lnTo>
                    <a:lnTo>
                      <a:pt x="165" y="76"/>
                    </a:lnTo>
                    <a:lnTo>
                      <a:pt x="178" y="69"/>
                    </a:lnTo>
                    <a:lnTo>
                      <a:pt x="186" y="47"/>
                    </a:lnTo>
                    <a:lnTo>
                      <a:pt x="205" y="47"/>
                    </a:lnTo>
                    <a:lnTo>
                      <a:pt x="250" y="15"/>
                    </a:lnTo>
                    <a:lnTo>
                      <a:pt x="263" y="22"/>
                    </a:lnTo>
                    <a:lnTo>
                      <a:pt x="287" y="0"/>
                    </a:lnTo>
                    <a:lnTo>
                      <a:pt x="309" y="0"/>
                    </a:lnTo>
                    <a:lnTo>
                      <a:pt x="320" y="15"/>
                    </a:lnTo>
                    <a:lnTo>
                      <a:pt x="356" y="39"/>
                    </a:lnTo>
                    <a:lnTo>
                      <a:pt x="342" y="47"/>
                    </a:lnTo>
                    <a:lnTo>
                      <a:pt x="320" y="47"/>
                    </a:lnTo>
                    <a:lnTo>
                      <a:pt x="342" y="60"/>
                    </a:lnTo>
                    <a:lnTo>
                      <a:pt x="349" y="69"/>
                    </a:lnTo>
                    <a:lnTo>
                      <a:pt x="320" y="97"/>
                    </a:lnTo>
                    <a:lnTo>
                      <a:pt x="335" y="69"/>
                    </a:lnTo>
                    <a:lnTo>
                      <a:pt x="309" y="47"/>
                    </a:lnTo>
                    <a:lnTo>
                      <a:pt x="292" y="60"/>
                    </a:lnTo>
                    <a:lnTo>
                      <a:pt x="287" y="97"/>
                    </a:lnTo>
                    <a:lnTo>
                      <a:pt x="272" y="106"/>
                    </a:lnTo>
                    <a:lnTo>
                      <a:pt x="243" y="106"/>
                    </a:lnTo>
                    <a:lnTo>
                      <a:pt x="222" y="82"/>
                    </a:lnTo>
                    <a:lnTo>
                      <a:pt x="213" y="97"/>
                    </a:lnTo>
                    <a:lnTo>
                      <a:pt x="205" y="97"/>
                    </a:lnTo>
                    <a:lnTo>
                      <a:pt x="205" y="113"/>
                    </a:lnTo>
                    <a:lnTo>
                      <a:pt x="178" y="113"/>
                    </a:lnTo>
                    <a:lnTo>
                      <a:pt x="178" y="129"/>
                    </a:lnTo>
                    <a:lnTo>
                      <a:pt x="171" y="129"/>
                    </a:lnTo>
                    <a:lnTo>
                      <a:pt x="158" y="158"/>
                    </a:lnTo>
                    <a:lnTo>
                      <a:pt x="158" y="181"/>
                    </a:lnTo>
                    <a:lnTo>
                      <a:pt x="136" y="205"/>
                    </a:lnTo>
                    <a:lnTo>
                      <a:pt x="121" y="249"/>
                    </a:lnTo>
                    <a:lnTo>
                      <a:pt x="128" y="272"/>
                    </a:lnTo>
                    <a:lnTo>
                      <a:pt x="106" y="287"/>
                    </a:lnTo>
                    <a:lnTo>
                      <a:pt x="94" y="323"/>
                    </a:lnTo>
                    <a:lnTo>
                      <a:pt x="106" y="363"/>
                    </a:lnTo>
                    <a:lnTo>
                      <a:pt x="106" y="402"/>
                    </a:lnTo>
                    <a:lnTo>
                      <a:pt x="94" y="407"/>
                    </a:lnTo>
                    <a:lnTo>
                      <a:pt x="94" y="437"/>
                    </a:lnTo>
                    <a:lnTo>
                      <a:pt x="84" y="437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54" name="Freeform 291"/>
              <p:cNvSpPr>
                <a:spLocks/>
              </p:cNvSpPr>
              <p:nvPr/>
            </p:nvSpPr>
            <p:spPr bwMode="auto">
              <a:xfrm>
                <a:off x="4806950" y="2468563"/>
                <a:ext cx="252413" cy="620712"/>
              </a:xfrm>
              <a:custGeom>
                <a:avLst/>
                <a:gdLst>
                  <a:gd name="T0" fmla="*/ 106 w 143"/>
                  <a:gd name="T1" fmla="*/ 52 h 355"/>
                  <a:gd name="T2" fmla="*/ 106 w 143"/>
                  <a:gd name="T3" fmla="*/ 76 h 355"/>
                  <a:gd name="T4" fmla="*/ 127 w 143"/>
                  <a:gd name="T5" fmla="*/ 98 h 355"/>
                  <a:gd name="T6" fmla="*/ 121 w 143"/>
                  <a:gd name="T7" fmla="*/ 123 h 355"/>
                  <a:gd name="T8" fmla="*/ 127 w 143"/>
                  <a:gd name="T9" fmla="*/ 173 h 355"/>
                  <a:gd name="T10" fmla="*/ 121 w 143"/>
                  <a:gd name="T11" fmla="*/ 197 h 355"/>
                  <a:gd name="T12" fmla="*/ 136 w 143"/>
                  <a:gd name="T13" fmla="*/ 227 h 355"/>
                  <a:gd name="T14" fmla="*/ 127 w 143"/>
                  <a:gd name="T15" fmla="*/ 244 h 355"/>
                  <a:gd name="T16" fmla="*/ 143 w 143"/>
                  <a:gd name="T17" fmla="*/ 263 h 355"/>
                  <a:gd name="T18" fmla="*/ 143 w 143"/>
                  <a:gd name="T19" fmla="*/ 273 h 355"/>
                  <a:gd name="T20" fmla="*/ 121 w 143"/>
                  <a:gd name="T21" fmla="*/ 318 h 355"/>
                  <a:gd name="T22" fmla="*/ 94 w 143"/>
                  <a:gd name="T23" fmla="*/ 338 h 355"/>
                  <a:gd name="T24" fmla="*/ 84 w 143"/>
                  <a:gd name="T25" fmla="*/ 338 h 355"/>
                  <a:gd name="T26" fmla="*/ 42 w 143"/>
                  <a:gd name="T27" fmla="*/ 355 h 355"/>
                  <a:gd name="T28" fmla="*/ 9 w 143"/>
                  <a:gd name="T29" fmla="*/ 338 h 355"/>
                  <a:gd name="T30" fmla="*/ 15 w 143"/>
                  <a:gd name="T31" fmla="*/ 311 h 355"/>
                  <a:gd name="T32" fmla="*/ 9 w 143"/>
                  <a:gd name="T33" fmla="*/ 279 h 355"/>
                  <a:gd name="T34" fmla="*/ 50 w 143"/>
                  <a:gd name="T35" fmla="*/ 205 h 355"/>
                  <a:gd name="T36" fmla="*/ 57 w 143"/>
                  <a:gd name="T37" fmla="*/ 197 h 355"/>
                  <a:gd name="T38" fmla="*/ 57 w 143"/>
                  <a:gd name="T39" fmla="*/ 180 h 355"/>
                  <a:gd name="T40" fmla="*/ 50 w 143"/>
                  <a:gd name="T41" fmla="*/ 173 h 355"/>
                  <a:gd name="T42" fmla="*/ 42 w 143"/>
                  <a:gd name="T43" fmla="*/ 173 h 355"/>
                  <a:gd name="T44" fmla="*/ 35 w 143"/>
                  <a:gd name="T45" fmla="*/ 84 h 355"/>
                  <a:gd name="T46" fmla="*/ 0 w 143"/>
                  <a:gd name="T47" fmla="*/ 52 h 355"/>
                  <a:gd name="T48" fmla="*/ 9 w 143"/>
                  <a:gd name="T49" fmla="*/ 39 h 355"/>
                  <a:gd name="T50" fmla="*/ 30 w 143"/>
                  <a:gd name="T51" fmla="*/ 61 h 355"/>
                  <a:gd name="T52" fmla="*/ 57 w 143"/>
                  <a:gd name="T53" fmla="*/ 61 h 355"/>
                  <a:gd name="T54" fmla="*/ 72 w 143"/>
                  <a:gd name="T55" fmla="*/ 52 h 355"/>
                  <a:gd name="T56" fmla="*/ 79 w 143"/>
                  <a:gd name="T57" fmla="*/ 14 h 355"/>
                  <a:gd name="T58" fmla="*/ 94 w 143"/>
                  <a:gd name="T59" fmla="*/ 0 h 355"/>
                  <a:gd name="T60" fmla="*/ 121 w 143"/>
                  <a:gd name="T61" fmla="*/ 22 h 355"/>
                  <a:gd name="T62" fmla="*/ 106 w 143"/>
                  <a:gd name="T63" fmla="*/ 52 h 355"/>
                  <a:gd name="T64" fmla="*/ 106 w 143"/>
                  <a:gd name="T65" fmla="*/ 52 h 355"/>
                  <a:gd name="T66" fmla="*/ 106 w 143"/>
                  <a:gd name="T67" fmla="*/ 52 h 3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43" h="355">
                    <a:moveTo>
                      <a:pt x="106" y="52"/>
                    </a:moveTo>
                    <a:lnTo>
                      <a:pt x="106" y="76"/>
                    </a:lnTo>
                    <a:lnTo>
                      <a:pt x="127" y="98"/>
                    </a:lnTo>
                    <a:lnTo>
                      <a:pt x="121" y="123"/>
                    </a:lnTo>
                    <a:lnTo>
                      <a:pt x="127" y="173"/>
                    </a:lnTo>
                    <a:lnTo>
                      <a:pt x="121" y="197"/>
                    </a:lnTo>
                    <a:lnTo>
                      <a:pt x="136" y="227"/>
                    </a:lnTo>
                    <a:lnTo>
                      <a:pt x="127" y="244"/>
                    </a:lnTo>
                    <a:lnTo>
                      <a:pt x="143" y="263"/>
                    </a:lnTo>
                    <a:lnTo>
                      <a:pt x="143" y="273"/>
                    </a:lnTo>
                    <a:lnTo>
                      <a:pt x="121" y="318"/>
                    </a:lnTo>
                    <a:lnTo>
                      <a:pt x="94" y="338"/>
                    </a:lnTo>
                    <a:lnTo>
                      <a:pt x="84" y="338"/>
                    </a:lnTo>
                    <a:lnTo>
                      <a:pt x="42" y="355"/>
                    </a:lnTo>
                    <a:lnTo>
                      <a:pt x="9" y="338"/>
                    </a:lnTo>
                    <a:lnTo>
                      <a:pt x="15" y="311"/>
                    </a:lnTo>
                    <a:lnTo>
                      <a:pt x="9" y="279"/>
                    </a:lnTo>
                    <a:lnTo>
                      <a:pt x="50" y="205"/>
                    </a:lnTo>
                    <a:lnTo>
                      <a:pt x="57" y="197"/>
                    </a:lnTo>
                    <a:lnTo>
                      <a:pt x="57" y="180"/>
                    </a:lnTo>
                    <a:lnTo>
                      <a:pt x="50" y="173"/>
                    </a:lnTo>
                    <a:lnTo>
                      <a:pt x="42" y="173"/>
                    </a:lnTo>
                    <a:lnTo>
                      <a:pt x="35" y="84"/>
                    </a:lnTo>
                    <a:lnTo>
                      <a:pt x="0" y="52"/>
                    </a:lnTo>
                    <a:lnTo>
                      <a:pt x="9" y="39"/>
                    </a:lnTo>
                    <a:lnTo>
                      <a:pt x="30" y="61"/>
                    </a:lnTo>
                    <a:lnTo>
                      <a:pt x="57" y="61"/>
                    </a:lnTo>
                    <a:lnTo>
                      <a:pt x="72" y="52"/>
                    </a:lnTo>
                    <a:lnTo>
                      <a:pt x="79" y="14"/>
                    </a:lnTo>
                    <a:lnTo>
                      <a:pt x="94" y="0"/>
                    </a:lnTo>
                    <a:lnTo>
                      <a:pt x="121" y="22"/>
                    </a:lnTo>
                    <a:lnTo>
                      <a:pt x="106" y="52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55" name="Freeform 292"/>
              <p:cNvSpPr>
                <a:spLocks/>
              </p:cNvSpPr>
              <p:nvPr/>
            </p:nvSpPr>
            <p:spPr bwMode="auto">
              <a:xfrm>
                <a:off x="4895848" y="3276599"/>
                <a:ext cx="223839" cy="206375"/>
              </a:xfrm>
              <a:custGeom>
                <a:avLst/>
                <a:gdLst>
                  <a:gd name="T0" fmla="*/ 113 w 128"/>
                  <a:gd name="T1" fmla="*/ 99 h 119"/>
                  <a:gd name="T2" fmla="*/ 106 w 128"/>
                  <a:gd name="T3" fmla="*/ 84 h 119"/>
                  <a:gd name="T4" fmla="*/ 106 w 128"/>
                  <a:gd name="T5" fmla="*/ 76 h 119"/>
                  <a:gd name="T6" fmla="*/ 113 w 128"/>
                  <a:gd name="T7" fmla="*/ 84 h 119"/>
                  <a:gd name="T8" fmla="*/ 128 w 128"/>
                  <a:gd name="T9" fmla="*/ 62 h 119"/>
                  <a:gd name="T10" fmla="*/ 113 w 128"/>
                  <a:gd name="T11" fmla="*/ 62 h 119"/>
                  <a:gd name="T12" fmla="*/ 99 w 128"/>
                  <a:gd name="T13" fmla="*/ 37 h 119"/>
                  <a:gd name="T14" fmla="*/ 99 w 128"/>
                  <a:gd name="T15" fmla="*/ 15 h 119"/>
                  <a:gd name="T16" fmla="*/ 91 w 128"/>
                  <a:gd name="T17" fmla="*/ 5 h 119"/>
                  <a:gd name="T18" fmla="*/ 64 w 128"/>
                  <a:gd name="T19" fmla="*/ 0 h 119"/>
                  <a:gd name="T20" fmla="*/ 47 w 128"/>
                  <a:gd name="T21" fmla="*/ 15 h 119"/>
                  <a:gd name="T22" fmla="*/ 47 w 128"/>
                  <a:gd name="T23" fmla="*/ 22 h 119"/>
                  <a:gd name="T24" fmla="*/ 37 w 128"/>
                  <a:gd name="T25" fmla="*/ 37 h 119"/>
                  <a:gd name="T26" fmla="*/ 37 w 128"/>
                  <a:gd name="T27" fmla="*/ 52 h 119"/>
                  <a:gd name="T28" fmla="*/ 20 w 128"/>
                  <a:gd name="T29" fmla="*/ 52 h 119"/>
                  <a:gd name="T30" fmla="*/ 7 w 128"/>
                  <a:gd name="T31" fmla="*/ 62 h 119"/>
                  <a:gd name="T32" fmla="*/ 0 w 128"/>
                  <a:gd name="T33" fmla="*/ 62 h 119"/>
                  <a:gd name="T34" fmla="*/ 7 w 128"/>
                  <a:gd name="T35" fmla="*/ 84 h 119"/>
                  <a:gd name="T36" fmla="*/ 0 w 128"/>
                  <a:gd name="T37" fmla="*/ 99 h 119"/>
                  <a:gd name="T38" fmla="*/ 0 w 128"/>
                  <a:gd name="T39" fmla="*/ 119 h 119"/>
                  <a:gd name="T40" fmla="*/ 14 w 128"/>
                  <a:gd name="T41" fmla="*/ 104 h 119"/>
                  <a:gd name="T42" fmla="*/ 37 w 128"/>
                  <a:gd name="T43" fmla="*/ 104 h 119"/>
                  <a:gd name="T44" fmla="*/ 59 w 128"/>
                  <a:gd name="T45" fmla="*/ 119 h 119"/>
                  <a:gd name="T46" fmla="*/ 99 w 128"/>
                  <a:gd name="T47" fmla="*/ 119 h 119"/>
                  <a:gd name="T48" fmla="*/ 106 w 128"/>
                  <a:gd name="T49" fmla="*/ 99 h 119"/>
                  <a:gd name="T50" fmla="*/ 113 w 128"/>
                  <a:gd name="T51" fmla="*/ 99 h 119"/>
                  <a:gd name="T52" fmla="*/ 113 w 128"/>
                  <a:gd name="T53" fmla="*/ 99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28" h="119">
                    <a:moveTo>
                      <a:pt x="113" y="99"/>
                    </a:moveTo>
                    <a:lnTo>
                      <a:pt x="106" y="84"/>
                    </a:lnTo>
                    <a:lnTo>
                      <a:pt x="106" y="76"/>
                    </a:lnTo>
                    <a:lnTo>
                      <a:pt x="113" y="84"/>
                    </a:lnTo>
                    <a:lnTo>
                      <a:pt x="128" y="62"/>
                    </a:lnTo>
                    <a:lnTo>
                      <a:pt x="113" y="62"/>
                    </a:lnTo>
                    <a:lnTo>
                      <a:pt x="99" y="37"/>
                    </a:lnTo>
                    <a:lnTo>
                      <a:pt x="99" y="15"/>
                    </a:lnTo>
                    <a:lnTo>
                      <a:pt x="91" y="5"/>
                    </a:lnTo>
                    <a:lnTo>
                      <a:pt x="64" y="0"/>
                    </a:lnTo>
                    <a:lnTo>
                      <a:pt x="47" y="15"/>
                    </a:lnTo>
                    <a:lnTo>
                      <a:pt x="47" y="22"/>
                    </a:lnTo>
                    <a:lnTo>
                      <a:pt x="37" y="37"/>
                    </a:lnTo>
                    <a:lnTo>
                      <a:pt x="37" y="52"/>
                    </a:lnTo>
                    <a:lnTo>
                      <a:pt x="20" y="52"/>
                    </a:lnTo>
                    <a:lnTo>
                      <a:pt x="7" y="62"/>
                    </a:lnTo>
                    <a:lnTo>
                      <a:pt x="0" y="62"/>
                    </a:lnTo>
                    <a:lnTo>
                      <a:pt x="7" y="84"/>
                    </a:lnTo>
                    <a:lnTo>
                      <a:pt x="0" y="99"/>
                    </a:lnTo>
                    <a:lnTo>
                      <a:pt x="0" y="119"/>
                    </a:lnTo>
                    <a:lnTo>
                      <a:pt x="14" y="104"/>
                    </a:lnTo>
                    <a:lnTo>
                      <a:pt x="37" y="104"/>
                    </a:lnTo>
                    <a:lnTo>
                      <a:pt x="59" y="119"/>
                    </a:lnTo>
                    <a:lnTo>
                      <a:pt x="99" y="119"/>
                    </a:lnTo>
                    <a:lnTo>
                      <a:pt x="106" y="99"/>
                    </a:lnTo>
                    <a:lnTo>
                      <a:pt x="113" y="99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56" name="Freeform 293"/>
              <p:cNvSpPr>
                <a:spLocks/>
              </p:cNvSpPr>
              <p:nvPr/>
            </p:nvSpPr>
            <p:spPr bwMode="auto">
              <a:xfrm>
                <a:off x="4833938" y="3444875"/>
                <a:ext cx="438150" cy="314325"/>
              </a:xfrm>
              <a:custGeom>
                <a:avLst/>
                <a:gdLst>
                  <a:gd name="T0" fmla="*/ 107 w 251"/>
                  <a:gd name="T1" fmla="*/ 160 h 180"/>
                  <a:gd name="T2" fmla="*/ 87 w 251"/>
                  <a:gd name="T3" fmla="*/ 160 h 180"/>
                  <a:gd name="T4" fmla="*/ 87 w 251"/>
                  <a:gd name="T5" fmla="*/ 152 h 180"/>
                  <a:gd name="T6" fmla="*/ 92 w 251"/>
                  <a:gd name="T7" fmla="*/ 130 h 180"/>
                  <a:gd name="T8" fmla="*/ 113 w 251"/>
                  <a:gd name="T9" fmla="*/ 130 h 180"/>
                  <a:gd name="T10" fmla="*/ 113 w 251"/>
                  <a:gd name="T11" fmla="*/ 121 h 180"/>
                  <a:gd name="T12" fmla="*/ 107 w 251"/>
                  <a:gd name="T13" fmla="*/ 105 h 180"/>
                  <a:gd name="T14" fmla="*/ 107 w 251"/>
                  <a:gd name="T15" fmla="*/ 91 h 180"/>
                  <a:gd name="T16" fmla="*/ 80 w 251"/>
                  <a:gd name="T17" fmla="*/ 83 h 180"/>
                  <a:gd name="T18" fmla="*/ 41 w 251"/>
                  <a:gd name="T19" fmla="*/ 105 h 180"/>
                  <a:gd name="T20" fmla="*/ 16 w 251"/>
                  <a:gd name="T21" fmla="*/ 105 h 180"/>
                  <a:gd name="T22" fmla="*/ 0 w 251"/>
                  <a:gd name="T23" fmla="*/ 91 h 180"/>
                  <a:gd name="T24" fmla="*/ 16 w 251"/>
                  <a:gd name="T25" fmla="*/ 76 h 180"/>
                  <a:gd name="T26" fmla="*/ 26 w 251"/>
                  <a:gd name="T27" fmla="*/ 46 h 180"/>
                  <a:gd name="T28" fmla="*/ 21 w 251"/>
                  <a:gd name="T29" fmla="*/ 21 h 180"/>
                  <a:gd name="T30" fmla="*/ 35 w 251"/>
                  <a:gd name="T31" fmla="*/ 7 h 180"/>
                  <a:gd name="T32" fmla="*/ 58 w 251"/>
                  <a:gd name="T33" fmla="*/ 7 h 180"/>
                  <a:gd name="T34" fmla="*/ 80 w 251"/>
                  <a:gd name="T35" fmla="*/ 21 h 180"/>
                  <a:gd name="T36" fmla="*/ 122 w 251"/>
                  <a:gd name="T37" fmla="*/ 21 h 180"/>
                  <a:gd name="T38" fmla="*/ 129 w 251"/>
                  <a:gd name="T39" fmla="*/ 0 h 180"/>
                  <a:gd name="T40" fmla="*/ 162 w 251"/>
                  <a:gd name="T41" fmla="*/ 0 h 180"/>
                  <a:gd name="T42" fmla="*/ 170 w 251"/>
                  <a:gd name="T43" fmla="*/ 7 h 180"/>
                  <a:gd name="T44" fmla="*/ 162 w 251"/>
                  <a:gd name="T45" fmla="*/ 7 h 180"/>
                  <a:gd name="T46" fmla="*/ 170 w 251"/>
                  <a:gd name="T47" fmla="*/ 21 h 180"/>
                  <a:gd name="T48" fmla="*/ 186 w 251"/>
                  <a:gd name="T49" fmla="*/ 21 h 180"/>
                  <a:gd name="T50" fmla="*/ 192 w 251"/>
                  <a:gd name="T51" fmla="*/ 37 h 180"/>
                  <a:gd name="T52" fmla="*/ 201 w 251"/>
                  <a:gd name="T53" fmla="*/ 46 h 180"/>
                  <a:gd name="T54" fmla="*/ 207 w 251"/>
                  <a:gd name="T55" fmla="*/ 37 h 180"/>
                  <a:gd name="T56" fmla="*/ 251 w 251"/>
                  <a:gd name="T57" fmla="*/ 68 h 180"/>
                  <a:gd name="T58" fmla="*/ 242 w 251"/>
                  <a:gd name="T59" fmla="*/ 105 h 180"/>
                  <a:gd name="T60" fmla="*/ 236 w 251"/>
                  <a:gd name="T61" fmla="*/ 91 h 180"/>
                  <a:gd name="T62" fmla="*/ 229 w 251"/>
                  <a:gd name="T63" fmla="*/ 105 h 180"/>
                  <a:gd name="T64" fmla="*/ 229 w 251"/>
                  <a:gd name="T65" fmla="*/ 121 h 180"/>
                  <a:gd name="T66" fmla="*/ 214 w 251"/>
                  <a:gd name="T67" fmla="*/ 121 h 180"/>
                  <a:gd name="T68" fmla="*/ 170 w 251"/>
                  <a:gd name="T69" fmla="*/ 152 h 180"/>
                  <a:gd name="T70" fmla="*/ 192 w 251"/>
                  <a:gd name="T71" fmla="*/ 160 h 180"/>
                  <a:gd name="T72" fmla="*/ 201 w 251"/>
                  <a:gd name="T73" fmla="*/ 160 h 180"/>
                  <a:gd name="T74" fmla="*/ 192 w 251"/>
                  <a:gd name="T75" fmla="*/ 160 h 180"/>
                  <a:gd name="T76" fmla="*/ 162 w 251"/>
                  <a:gd name="T77" fmla="*/ 180 h 180"/>
                  <a:gd name="T78" fmla="*/ 157 w 251"/>
                  <a:gd name="T79" fmla="*/ 180 h 180"/>
                  <a:gd name="T80" fmla="*/ 157 w 251"/>
                  <a:gd name="T81" fmla="*/ 167 h 180"/>
                  <a:gd name="T82" fmla="*/ 150 w 251"/>
                  <a:gd name="T83" fmla="*/ 160 h 180"/>
                  <a:gd name="T84" fmla="*/ 162 w 251"/>
                  <a:gd name="T85" fmla="*/ 152 h 180"/>
                  <a:gd name="T86" fmla="*/ 135 w 251"/>
                  <a:gd name="T87" fmla="*/ 137 h 180"/>
                  <a:gd name="T88" fmla="*/ 135 w 251"/>
                  <a:gd name="T89" fmla="*/ 130 h 180"/>
                  <a:gd name="T90" fmla="*/ 122 w 251"/>
                  <a:gd name="T91" fmla="*/ 130 h 180"/>
                  <a:gd name="T92" fmla="*/ 113 w 251"/>
                  <a:gd name="T93" fmla="*/ 152 h 180"/>
                  <a:gd name="T94" fmla="*/ 107 w 251"/>
                  <a:gd name="T95" fmla="*/ 152 h 180"/>
                  <a:gd name="T96" fmla="*/ 107 w 251"/>
                  <a:gd name="T97" fmla="*/ 160 h 180"/>
                  <a:gd name="T98" fmla="*/ 107 w 251"/>
                  <a:gd name="T99" fmla="*/ 160 h 180"/>
                  <a:gd name="T100" fmla="*/ 107 w 251"/>
                  <a:gd name="T101" fmla="*/ 16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51" h="180">
                    <a:moveTo>
                      <a:pt x="107" y="160"/>
                    </a:moveTo>
                    <a:lnTo>
                      <a:pt x="87" y="160"/>
                    </a:lnTo>
                    <a:lnTo>
                      <a:pt x="87" y="152"/>
                    </a:lnTo>
                    <a:lnTo>
                      <a:pt x="92" y="130"/>
                    </a:lnTo>
                    <a:lnTo>
                      <a:pt x="113" y="130"/>
                    </a:lnTo>
                    <a:lnTo>
                      <a:pt x="113" y="121"/>
                    </a:lnTo>
                    <a:lnTo>
                      <a:pt x="107" y="105"/>
                    </a:lnTo>
                    <a:lnTo>
                      <a:pt x="107" y="91"/>
                    </a:lnTo>
                    <a:lnTo>
                      <a:pt x="80" y="83"/>
                    </a:lnTo>
                    <a:lnTo>
                      <a:pt x="41" y="105"/>
                    </a:lnTo>
                    <a:lnTo>
                      <a:pt x="16" y="105"/>
                    </a:lnTo>
                    <a:lnTo>
                      <a:pt x="0" y="91"/>
                    </a:lnTo>
                    <a:lnTo>
                      <a:pt x="16" y="76"/>
                    </a:lnTo>
                    <a:lnTo>
                      <a:pt x="26" y="46"/>
                    </a:lnTo>
                    <a:lnTo>
                      <a:pt x="21" y="21"/>
                    </a:lnTo>
                    <a:lnTo>
                      <a:pt x="35" y="7"/>
                    </a:lnTo>
                    <a:lnTo>
                      <a:pt x="58" y="7"/>
                    </a:lnTo>
                    <a:lnTo>
                      <a:pt x="80" y="21"/>
                    </a:lnTo>
                    <a:lnTo>
                      <a:pt x="122" y="21"/>
                    </a:lnTo>
                    <a:lnTo>
                      <a:pt x="129" y="0"/>
                    </a:lnTo>
                    <a:lnTo>
                      <a:pt x="162" y="0"/>
                    </a:lnTo>
                    <a:lnTo>
                      <a:pt x="170" y="7"/>
                    </a:lnTo>
                    <a:lnTo>
                      <a:pt x="162" y="7"/>
                    </a:lnTo>
                    <a:lnTo>
                      <a:pt x="170" y="21"/>
                    </a:lnTo>
                    <a:lnTo>
                      <a:pt x="186" y="21"/>
                    </a:lnTo>
                    <a:lnTo>
                      <a:pt x="192" y="37"/>
                    </a:lnTo>
                    <a:lnTo>
                      <a:pt x="201" y="46"/>
                    </a:lnTo>
                    <a:lnTo>
                      <a:pt x="207" y="37"/>
                    </a:lnTo>
                    <a:lnTo>
                      <a:pt x="251" y="68"/>
                    </a:lnTo>
                    <a:lnTo>
                      <a:pt x="242" y="105"/>
                    </a:lnTo>
                    <a:lnTo>
                      <a:pt x="236" y="91"/>
                    </a:lnTo>
                    <a:lnTo>
                      <a:pt x="229" y="105"/>
                    </a:lnTo>
                    <a:lnTo>
                      <a:pt x="229" y="121"/>
                    </a:lnTo>
                    <a:lnTo>
                      <a:pt x="214" y="121"/>
                    </a:lnTo>
                    <a:lnTo>
                      <a:pt x="170" y="152"/>
                    </a:lnTo>
                    <a:lnTo>
                      <a:pt x="192" y="160"/>
                    </a:lnTo>
                    <a:lnTo>
                      <a:pt x="201" y="160"/>
                    </a:lnTo>
                    <a:lnTo>
                      <a:pt x="192" y="160"/>
                    </a:lnTo>
                    <a:lnTo>
                      <a:pt x="162" y="180"/>
                    </a:lnTo>
                    <a:lnTo>
                      <a:pt x="157" y="180"/>
                    </a:lnTo>
                    <a:lnTo>
                      <a:pt x="157" y="167"/>
                    </a:lnTo>
                    <a:lnTo>
                      <a:pt x="150" y="160"/>
                    </a:lnTo>
                    <a:lnTo>
                      <a:pt x="162" y="152"/>
                    </a:lnTo>
                    <a:lnTo>
                      <a:pt x="135" y="137"/>
                    </a:lnTo>
                    <a:lnTo>
                      <a:pt x="135" y="130"/>
                    </a:lnTo>
                    <a:lnTo>
                      <a:pt x="122" y="130"/>
                    </a:lnTo>
                    <a:lnTo>
                      <a:pt x="113" y="152"/>
                    </a:lnTo>
                    <a:lnTo>
                      <a:pt x="107" y="152"/>
                    </a:lnTo>
                    <a:lnTo>
                      <a:pt x="107" y="160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57" name="Freeform 294"/>
              <p:cNvSpPr>
                <a:spLocks/>
              </p:cNvSpPr>
              <p:nvPr/>
            </p:nvSpPr>
            <p:spPr bwMode="auto">
              <a:xfrm>
                <a:off x="4816475" y="3186113"/>
                <a:ext cx="169863" cy="119062"/>
              </a:xfrm>
              <a:custGeom>
                <a:avLst/>
                <a:gdLst>
                  <a:gd name="T0" fmla="*/ 44 w 97"/>
                  <a:gd name="T1" fmla="*/ 0 h 68"/>
                  <a:gd name="T2" fmla="*/ 44 w 97"/>
                  <a:gd name="T3" fmla="*/ 27 h 68"/>
                  <a:gd name="T4" fmla="*/ 29 w 97"/>
                  <a:gd name="T5" fmla="*/ 27 h 68"/>
                  <a:gd name="T6" fmla="*/ 24 w 97"/>
                  <a:gd name="T7" fmla="*/ 12 h 68"/>
                  <a:gd name="T8" fmla="*/ 7 w 97"/>
                  <a:gd name="T9" fmla="*/ 19 h 68"/>
                  <a:gd name="T10" fmla="*/ 0 w 97"/>
                  <a:gd name="T11" fmla="*/ 34 h 68"/>
                  <a:gd name="T12" fmla="*/ 0 w 97"/>
                  <a:gd name="T13" fmla="*/ 58 h 68"/>
                  <a:gd name="T14" fmla="*/ 7 w 97"/>
                  <a:gd name="T15" fmla="*/ 51 h 68"/>
                  <a:gd name="T16" fmla="*/ 50 w 97"/>
                  <a:gd name="T17" fmla="*/ 51 h 68"/>
                  <a:gd name="T18" fmla="*/ 81 w 97"/>
                  <a:gd name="T19" fmla="*/ 68 h 68"/>
                  <a:gd name="T20" fmla="*/ 97 w 97"/>
                  <a:gd name="T21" fmla="*/ 51 h 68"/>
                  <a:gd name="T22" fmla="*/ 91 w 97"/>
                  <a:gd name="T23" fmla="*/ 27 h 68"/>
                  <a:gd name="T24" fmla="*/ 91 w 97"/>
                  <a:gd name="T25" fmla="*/ 12 h 68"/>
                  <a:gd name="T26" fmla="*/ 74 w 97"/>
                  <a:gd name="T27" fmla="*/ 12 h 68"/>
                  <a:gd name="T28" fmla="*/ 50 w 97"/>
                  <a:gd name="T29" fmla="*/ 0 h 68"/>
                  <a:gd name="T30" fmla="*/ 44 w 97"/>
                  <a:gd name="T31" fmla="*/ 0 h 68"/>
                  <a:gd name="T32" fmla="*/ 44 w 97"/>
                  <a:gd name="T33" fmla="*/ 0 h 68"/>
                  <a:gd name="T34" fmla="*/ 44 w 97"/>
                  <a:gd name="T35" fmla="*/ 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7" h="68">
                    <a:moveTo>
                      <a:pt x="44" y="0"/>
                    </a:moveTo>
                    <a:lnTo>
                      <a:pt x="44" y="27"/>
                    </a:lnTo>
                    <a:lnTo>
                      <a:pt x="29" y="27"/>
                    </a:lnTo>
                    <a:lnTo>
                      <a:pt x="24" y="12"/>
                    </a:lnTo>
                    <a:lnTo>
                      <a:pt x="7" y="19"/>
                    </a:lnTo>
                    <a:lnTo>
                      <a:pt x="0" y="34"/>
                    </a:lnTo>
                    <a:lnTo>
                      <a:pt x="0" y="58"/>
                    </a:lnTo>
                    <a:lnTo>
                      <a:pt x="7" y="51"/>
                    </a:lnTo>
                    <a:lnTo>
                      <a:pt x="50" y="51"/>
                    </a:lnTo>
                    <a:lnTo>
                      <a:pt x="81" y="68"/>
                    </a:lnTo>
                    <a:lnTo>
                      <a:pt x="97" y="51"/>
                    </a:lnTo>
                    <a:lnTo>
                      <a:pt x="91" y="27"/>
                    </a:lnTo>
                    <a:lnTo>
                      <a:pt x="91" y="12"/>
                    </a:lnTo>
                    <a:lnTo>
                      <a:pt x="74" y="12"/>
                    </a:lnTo>
                    <a:lnTo>
                      <a:pt x="50" y="0"/>
                    </a:lnTo>
                    <a:lnTo>
                      <a:pt x="44" y="0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58" name="Freeform 295"/>
              <p:cNvSpPr>
                <a:spLocks/>
              </p:cNvSpPr>
              <p:nvPr/>
            </p:nvSpPr>
            <p:spPr bwMode="auto">
              <a:xfrm>
                <a:off x="4816475" y="3270250"/>
                <a:ext cx="138113" cy="109538"/>
              </a:xfrm>
              <a:custGeom>
                <a:avLst/>
                <a:gdLst>
                  <a:gd name="T0" fmla="*/ 0 w 79"/>
                  <a:gd name="T1" fmla="*/ 25 h 63"/>
                  <a:gd name="T2" fmla="*/ 0 w 79"/>
                  <a:gd name="T3" fmla="*/ 8 h 63"/>
                  <a:gd name="T4" fmla="*/ 7 w 79"/>
                  <a:gd name="T5" fmla="*/ 0 h 63"/>
                  <a:gd name="T6" fmla="*/ 49 w 79"/>
                  <a:gd name="T7" fmla="*/ 0 h 63"/>
                  <a:gd name="T8" fmla="*/ 79 w 79"/>
                  <a:gd name="T9" fmla="*/ 18 h 63"/>
                  <a:gd name="T10" fmla="*/ 79 w 79"/>
                  <a:gd name="T11" fmla="*/ 25 h 63"/>
                  <a:gd name="T12" fmla="*/ 66 w 79"/>
                  <a:gd name="T13" fmla="*/ 40 h 63"/>
                  <a:gd name="T14" fmla="*/ 66 w 79"/>
                  <a:gd name="T15" fmla="*/ 55 h 63"/>
                  <a:gd name="T16" fmla="*/ 49 w 79"/>
                  <a:gd name="T17" fmla="*/ 55 h 63"/>
                  <a:gd name="T18" fmla="*/ 35 w 79"/>
                  <a:gd name="T19" fmla="*/ 63 h 63"/>
                  <a:gd name="T20" fmla="*/ 29 w 79"/>
                  <a:gd name="T21" fmla="*/ 63 h 63"/>
                  <a:gd name="T22" fmla="*/ 22 w 79"/>
                  <a:gd name="T23" fmla="*/ 55 h 63"/>
                  <a:gd name="T24" fmla="*/ 22 w 79"/>
                  <a:gd name="T25" fmla="*/ 25 h 63"/>
                  <a:gd name="T26" fmla="*/ 0 w 79"/>
                  <a:gd name="T27" fmla="*/ 25 h 63"/>
                  <a:gd name="T28" fmla="*/ 0 w 79"/>
                  <a:gd name="T29" fmla="*/ 25 h 63"/>
                  <a:gd name="T30" fmla="*/ 0 w 79"/>
                  <a:gd name="T31" fmla="*/ 25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79" h="63">
                    <a:moveTo>
                      <a:pt x="0" y="25"/>
                    </a:moveTo>
                    <a:lnTo>
                      <a:pt x="0" y="8"/>
                    </a:lnTo>
                    <a:lnTo>
                      <a:pt x="7" y="0"/>
                    </a:lnTo>
                    <a:lnTo>
                      <a:pt x="49" y="0"/>
                    </a:lnTo>
                    <a:lnTo>
                      <a:pt x="79" y="18"/>
                    </a:lnTo>
                    <a:lnTo>
                      <a:pt x="79" y="25"/>
                    </a:lnTo>
                    <a:lnTo>
                      <a:pt x="66" y="40"/>
                    </a:lnTo>
                    <a:lnTo>
                      <a:pt x="66" y="55"/>
                    </a:lnTo>
                    <a:lnTo>
                      <a:pt x="49" y="55"/>
                    </a:lnTo>
                    <a:lnTo>
                      <a:pt x="35" y="63"/>
                    </a:lnTo>
                    <a:lnTo>
                      <a:pt x="29" y="63"/>
                    </a:lnTo>
                    <a:lnTo>
                      <a:pt x="22" y="55"/>
                    </a:lnTo>
                    <a:lnTo>
                      <a:pt x="22" y="25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59" name="Freeform 296"/>
              <p:cNvSpPr>
                <a:spLocks/>
              </p:cNvSpPr>
              <p:nvPr/>
            </p:nvSpPr>
            <p:spPr bwMode="auto">
              <a:xfrm>
                <a:off x="4881563" y="3127375"/>
                <a:ext cx="104775" cy="82550"/>
              </a:xfrm>
              <a:custGeom>
                <a:avLst/>
                <a:gdLst>
                  <a:gd name="T0" fmla="*/ 8 w 60"/>
                  <a:gd name="T1" fmla="*/ 37 h 47"/>
                  <a:gd name="T2" fmla="*/ 0 w 60"/>
                  <a:gd name="T3" fmla="*/ 23 h 47"/>
                  <a:gd name="T4" fmla="*/ 0 w 60"/>
                  <a:gd name="T5" fmla="*/ 8 h 47"/>
                  <a:gd name="T6" fmla="*/ 8 w 60"/>
                  <a:gd name="T7" fmla="*/ 0 h 47"/>
                  <a:gd name="T8" fmla="*/ 60 w 60"/>
                  <a:gd name="T9" fmla="*/ 0 h 47"/>
                  <a:gd name="T10" fmla="*/ 54 w 60"/>
                  <a:gd name="T11" fmla="*/ 8 h 47"/>
                  <a:gd name="T12" fmla="*/ 45 w 60"/>
                  <a:gd name="T13" fmla="*/ 8 h 47"/>
                  <a:gd name="T14" fmla="*/ 54 w 60"/>
                  <a:gd name="T15" fmla="*/ 37 h 47"/>
                  <a:gd name="T16" fmla="*/ 54 w 60"/>
                  <a:gd name="T17" fmla="*/ 47 h 47"/>
                  <a:gd name="T18" fmla="*/ 37 w 60"/>
                  <a:gd name="T19" fmla="*/ 47 h 47"/>
                  <a:gd name="T20" fmla="*/ 15 w 60"/>
                  <a:gd name="T21" fmla="*/ 37 h 47"/>
                  <a:gd name="T22" fmla="*/ 8 w 60"/>
                  <a:gd name="T23" fmla="*/ 37 h 47"/>
                  <a:gd name="T24" fmla="*/ 8 w 60"/>
                  <a:gd name="T25" fmla="*/ 37 h 47"/>
                  <a:gd name="T26" fmla="*/ 8 w 60"/>
                  <a:gd name="T27" fmla="*/ 3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0" h="47">
                    <a:moveTo>
                      <a:pt x="8" y="37"/>
                    </a:moveTo>
                    <a:lnTo>
                      <a:pt x="0" y="23"/>
                    </a:lnTo>
                    <a:lnTo>
                      <a:pt x="0" y="8"/>
                    </a:lnTo>
                    <a:lnTo>
                      <a:pt x="8" y="0"/>
                    </a:lnTo>
                    <a:lnTo>
                      <a:pt x="60" y="0"/>
                    </a:lnTo>
                    <a:lnTo>
                      <a:pt x="54" y="8"/>
                    </a:lnTo>
                    <a:lnTo>
                      <a:pt x="45" y="8"/>
                    </a:lnTo>
                    <a:lnTo>
                      <a:pt x="54" y="37"/>
                    </a:lnTo>
                    <a:lnTo>
                      <a:pt x="54" y="47"/>
                    </a:lnTo>
                    <a:lnTo>
                      <a:pt x="37" y="47"/>
                    </a:lnTo>
                    <a:lnTo>
                      <a:pt x="15" y="37"/>
                    </a:lnTo>
                    <a:lnTo>
                      <a:pt x="8" y="37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60" name="Freeform 297"/>
              <p:cNvSpPr>
                <a:spLocks/>
              </p:cNvSpPr>
              <p:nvPr/>
            </p:nvSpPr>
            <p:spPr bwMode="auto">
              <a:xfrm>
                <a:off x="4781550" y="3311525"/>
                <a:ext cx="77788" cy="50800"/>
              </a:xfrm>
              <a:custGeom>
                <a:avLst/>
                <a:gdLst>
                  <a:gd name="T0" fmla="*/ 44 w 44"/>
                  <a:gd name="T1" fmla="*/ 0 h 30"/>
                  <a:gd name="T2" fmla="*/ 44 w 44"/>
                  <a:gd name="T3" fmla="*/ 30 h 30"/>
                  <a:gd name="T4" fmla="*/ 22 w 44"/>
                  <a:gd name="T5" fmla="*/ 30 h 30"/>
                  <a:gd name="T6" fmla="*/ 0 w 44"/>
                  <a:gd name="T7" fmla="*/ 24 h 30"/>
                  <a:gd name="T8" fmla="*/ 13 w 44"/>
                  <a:gd name="T9" fmla="*/ 17 h 30"/>
                  <a:gd name="T10" fmla="*/ 22 w 44"/>
                  <a:gd name="T11" fmla="*/ 0 h 30"/>
                  <a:gd name="T12" fmla="*/ 44 w 44"/>
                  <a:gd name="T13" fmla="*/ 0 h 30"/>
                  <a:gd name="T14" fmla="*/ 44 w 44"/>
                  <a:gd name="T1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4" h="30">
                    <a:moveTo>
                      <a:pt x="44" y="0"/>
                    </a:moveTo>
                    <a:lnTo>
                      <a:pt x="44" y="30"/>
                    </a:lnTo>
                    <a:lnTo>
                      <a:pt x="22" y="30"/>
                    </a:lnTo>
                    <a:lnTo>
                      <a:pt x="0" y="24"/>
                    </a:lnTo>
                    <a:lnTo>
                      <a:pt x="13" y="17"/>
                    </a:lnTo>
                    <a:lnTo>
                      <a:pt x="22" y="0"/>
                    </a:lnTo>
                    <a:lnTo>
                      <a:pt x="44" y="0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61" name="Freeform 298"/>
              <p:cNvSpPr>
                <a:spLocks/>
              </p:cNvSpPr>
              <p:nvPr/>
            </p:nvSpPr>
            <p:spPr bwMode="auto">
              <a:xfrm>
                <a:off x="4576763" y="2560638"/>
                <a:ext cx="304800" cy="746125"/>
              </a:xfrm>
              <a:custGeom>
                <a:avLst/>
                <a:gdLst>
                  <a:gd name="T0" fmla="*/ 0 w 173"/>
                  <a:gd name="T1" fmla="*/ 338 h 427"/>
                  <a:gd name="T2" fmla="*/ 11 w 173"/>
                  <a:gd name="T3" fmla="*/ 338 h 427"/>
                  <a:gd name="T4" fmla="*/ 11 w 173"/>
                  <a:gd name="T5" fmla="*/ 308 h 427"/>
                  <a:gd name="T6" fmla="*/ 22 w 173"/>
                  <a:gd name="T7" fmla="*/ 303 h 427"/>
                  <a:gd name="T8" fmla="*/ 22 w 173"/>
                  <a:gd name="T9" fmla="*/ 264 h 427"/>
                  <a:gd name="T10" fmla="*/ 11 w 173"/>
                  <a:gd name="T11" fmla="*/ 224 h 427"/>
                  <a:gd name="T12" fmla="*/ 22 w 173"/>
                  <a:gd name="T13" fmla="*/ 189 h 427"/>
                  <a:gd name="T14" fmla="*/ 44 w 173"/>
                  <a:gd name="T15" fmla="*/ 174 h 427"/>
                  <a:gd name="T16" fmla="*/ 36 w 173"/>
                  <a:gd name="T17" fmla="*/ 152 h 427"/>
                  <a:gd name="T18" fmla="*/ 52 w 173"/>
                  <a:gd name="T19" fmla="*/ 108 h 427"/>
                  <a:gd name="T20" fmla="*/ 74 w 173"/>
                  <a:gd name="T21" fmla="*/ 83 h 427"/>
                  <a:gd name="T22" fmla="*/ 74 w 173"/>
                  <a:gd name="T23" fmla="*/ 61 h 427"/>
                  <a:gd name="T24" fmla="*/ 89 w 173"/>
                  <a:gd name="T25" fmla="*/ 32 h 427"/>
                  <a:gd name="T26" fmla="*/ 94 w 173"/>
                  <a:gd name="T27" fmla="*/ 32 h 427"/>
                  <a:gd name="T28" fmla="*/ 94 w 173"/>
                  <a:gd name="T29" fmla="*/ 17 h 427"/>
                  <a:gd name="T30" fmla="*/ 124 w 173"/>
                  <a:gd name="T31" fmla="*/ 17 h 427"/>
                  <a:gd name="T32" fmla="*/ 124 w 173"/>
                  <a:gd name="T33" fmla="*/ 0 h 427"/>
                  <a:gd name="T34" fmla="*/ 131 w 173"/>
                  <a:gd name="T35" fmla="*/ 0 h 427"/>
                  <a:gd name="T36" fmla="*/ 166 w 173"/>
                  <a:gd name="T37" fmla="*/ 32 h 427"/>
                  <a:gd name="T38" fmla="*/ 173 w 173"/>
                  <a:gd name="T39" fmla="*/ 120 h 427"/>
                  <a:gd name="T40" fmla="*/ 161 w 173"/>
                  <a:gd name="T41" fmla="*/ 120 h 427"/>
                  <a:gd name="T42" fmla="*/ 140 w 173"/>
                  <a:gd name="T43" fmla="*/ 137 h 427"/>
                  <a:gd name="T44" fmla="*/ 140 w 173"/>
                  <a:gd name="T45" fmla="*/ 152 h 427"/>
                  <a:gd name="T46" fmla="*/ 146 w 173"/>
                  <a:gd name="T47" fmla="*/ 167 h 427"/>
                  <a:gd name="T48" fmla="*/ 103 w 173"/>
                  <a:gd name="T49" fmla="*/ 211 h 427"/>
                  <a:gd name="T50" fmla="*/ 89 w 173"/>
                  <a:gd name="T51" fmla="*/ 241 h 427"/>
                  <a:gd name="T52" fmla="*/ 89 w 173"/>
                  <a:gd name="T53" fmla="*/ 285 h 427"/>
                  <a:gd name="T54" fmla="*/ 103 w 173"/>
                  <a:gd name="T55" fmla="*/ 308 h 427"/>
                  <a:gd name="T56" fmla="*/ 94 w 173"/>
                  <a:gd name="T57" fmla="*/ 323 h 427"/>
                  <a:gd name="T58" fmla="*/ 94 w 173"/>
                  <a:gd name="T59" fmla="*/ 332 h 427"/>
                  <a:gd name="T60" fmla="*/ 81 w 173"/>
                  <a:gd name="T61" fmla="*/ 347 h 427"/>
                  <a:gd name="T62" fmla="*/ 74 w 173"/>
                  <a:gd name="T63" fmla="*/ 412 h 427"/>
                  <a:gd name="T64" fmla="*/ 52 w 173"/>
                  <a:gd name="T65" fmla="*/ 412 h 427"/>
                  <a:gd name="T66" fmla="*/ 44 w 173"/>
                  <a:gd name="T67" fmla="*/ 422 h 427"/>
                  <a:gd name="T68" fmla="*/ 44 w 173"/>
                  <a:gd name="T69" fmla="*/ 427 h 427"/>
                  <a:gd name="T70" fmla="*/ 31 w 173"/>
                  <a:gd name="T71" fmla="*/ 427 h 427"/>
                  <a:gd name="T72" fmla="*/ 22 w 173"/>
                  <a:gd name="T73" fmla="*/ 412 h 427"/>
                  <a:gd name="T74" fmla="*/ 31 w 173"/>
                  <a:gd name="T75" fmla="*/ 406 h 427"/>
                  <a:gd name="T76" fmla="*/ 0 w 173"/>
                  <a:gd name="T77" fmla="*/ 338 h 427"/>
                  <a:gd name="T78" fmla="*/ 0 w 173"/>
                  <a:gd name="T79" fmla="*/ 338 h 427"/>
                  <a:gd name="T80" fmla="*/ 0 w 173"/>
                  <a:gd name="T81" fmla="*/ 338 h 4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73" h="427">
                    <a:moveTo>
                      <a:pt x="0" y="338"/>
                    </a:moveTo>
                    <a:lnTo>
                      <a:pt x="11" y="338"/>
                    </a:lnTo>
                    <a:lnTo>
                      <a:pt x="11" y="308"/>
                    </a:lnTo>
                    <a:lnTo>
                      <a:pt x="22" y="303"/>
                    </a:lnTo>
                    <a:lnTo>
                      <a:pt x="22" y="264"/>
                    </a:lnTo>
                    <a:lnTo>
                      <a:pt x="11" y="224"/>
                    </a:lnTo>
                    <a:lnTo>
                      <a:pt x="22" y="189"/>
                    </a:lnTo>
                    <a:lnTo>
                      <a:pt x="44" y="174"/>
                    </a:lnTo>
                    <a:lnTo>
                      <a:pt x="36" y="152"/>
                    </a:lnTo>
                    <a:lnTo>
                      <a:pt x="52" y="108"/>
                    </a:lnTo>
                    <a:lnTo>
                      <a:pt x="74" y="83"/>
                    </a:lnTo>
                    <a:lnTo>
                      <a:pt x="74" y="61"/>
                    </a:lnTo>
                    <a:lnTo>
                      <a:pt x="89" y="32"/>
                    </a:lnTo>
                    <a:lnTo>
                      <a:pt x="94" y="32"/>
                    </a:lnTo>
                    <a:lnTo>
                      <a:pt x="94" y="17"/>
                    </a:lnTo>
                    <a:lnTo>
                      <a:pt x="124" y="17"/>
                    </a:lnTo>
                    <a:lnTo>
                      <a:pt x="124" y="0"/>
                    </a:lnTo>
                    <a:lnTo>
                      <a:pt x="131" y="0"/>
                    </a:lnTo>
                    <a:lnTo>
                      <a:pt x="166" y="32"/>
                    </a:lnTo>
                    <a:lnTo>
                      <a:pt x="173" y="120"/>
                    </a:lnTo>
                    <a:lnTo>
                      <a:pt x="161" y="120"/>
                    </a:lnTo>
                    <a:lnTo>
                      <a:pt x="140" y="137"/>
                    </a:lnTo>
                    <a:lnTo>
                      <a:pt x="140" y="152"/>
                    </a:lnTo>
                    <a:lnTo>
                      <a:pt x="146" y="167"/>
                    </a:lnTo>
                    <a:lnTo>
                      <a:pt x="103" y="211"/>
                    </a:lnTo>
                    <a:lnTo>
                      <a:pt x="89" y="241"/>
                    </a:lnTo>
                    <a:lnTo>
                      <a:pt x="89" y="285"/>
                    </a:lnTo>
                    <a:lnTo>
                      <a:pt x="103" y="308"/>
                    </a:lnTo>
                    <a:lnTo>
                      <a:pt x="94" y="323"/>
                    </a:lnTo>
                    <a:lnTo>
                      <a:pt x="94" y="332"/>
                    </a:lnTo>
                    <a:lnTo>
                      <a:pt x="81" y="347"/>
                    </a:lnTo>
                    <a:lnTo>
                      <a:pt x="74" y="412"/>
                    </a:lnTo>
                    <a:lnTo>
                      <a:pt x="52" y="412"/>
                    </a:lnTo>
                    <a:lnTo>
                      <a:pt x="44" y="422"/>
                    </a:lnTo>
                    <a:lnTo>
                      <a:pt x="44" y="427"/>
                    </a:lnTo>
                    <a:lnTo>
                      <a:pt x="31" y="427"/>
                    </a:lnTo>
                    <a:lnTo>
                      <a:pt x="22" y="412"/>
                    </a:lnTo>
                    <a:lnTo>
                      <a:pt x="31" y="406"/>
                    </a:lnTo>
                    <a:lnTo>
                      <a:pt x="0" y="338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62" name="Freeform 299"/>
              <p:cNvSpPr>
                <a:spLocks/>
              </p:cNvSpPr>
              <p:nvPr/>
            </p:nvSpPr>
            <p:spPr bwMode="auto">
              <a:xfrm>
                <a:off x="5121275" y="4133850"/>
                <a:ext cx="46038" cy="103188"/>
              </a:xfrm>
              <a:custGeom>
                <a:avLst/>
                <a:gdLst>
                  <a:gd name="T0" fmla="*/ 22 w 27"/>
                  <a:gd name="T1" fmla="*/ 8 h 60"/>
                  <a:gd name="T2" fmla="*/ 22 w 27"/>
                  <a:gd name="T3" fmla="*/ 38 h 60"/>
                  <a:gd name="T4" fmla="*/ 8 w 27"/>
                  <a:gd name="T5" fmla="*/ 60 h 60"/>
                  <a:gd name="T6" fmla="*/ 0 w 27"/>
                  <a:gd name="T7" fmla="*/ 30 h 60"/>
                  <a:gd name="T8" fmla="*/ 22 w 27"/>
                  <a:gd name="T9" fmla="*/ 0 h 60"/>
                  <a:gd name="T10" fmla="*/ 27 w 27"/>
                  <a:gd name="T11" fmla="*/ 0 h 60"/>
                  <a:gd name="T12" fmla="*/ 22 w 27"/>
                  <a:gd name="T13" fmla="*/ 8 h 60"/>
                  <a:gd name="T14" fmla="*/ 22 w 27"/>
                  <a:gd name="T15" fmla="*/ 8 h 60"/>
                  <a:gd name="T16" fmla="*/ 22 w 27"/>
                  <a:gd name="T17" fmla="*/ 8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60">
                    <a:moveTo>
                      <a:pt x="22" y="8"/>
                    </a:moveTo>
                    <a:lnTo>
                      <a:pt x="22" y="38"/>
                    </a:lnTo>
                    <a:lnTo>
                      <a:pt x="8" y="60"/>
                    </a:lnTo>
                    <a:lnTo>
                      <a:pt x="0" y="30"/>
                    </a:lnTo>
                    <a:lnTo>
                      <a:pt x="22" y="0"/>
                    </a:lnTo>
                    <a:lnTo>
                      <a:pt x="27" y="0"/>
                    </a:lnTo>
                    <a:lnTo>
                      <a:pt x="22" y="8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63" name="Freeform 300"/>
              <p:cNvSpPr>
                <a:spLocks/>
              </p:cNvSpPr>
              <p:nvPr/>
            </p:nvSpPr>
            <p:spPr bwMode="auto">
              <a:xfrm>
                <a:off x="5246688" y="3978275"/>
                <a:ext cx="219075" cy="258763"/>
              </a:xfrm>
              <a:custGeom>
                <a:avLst/>
                <a:gdLst>
                  <a:gd name="T0" fmla="*/ 75 w 125"/>
                  <a:gd name="T1" fmla="*/ 8 h 146"/>
                  <a:gd name="T2" fmla="*/ 82 w 125"/>
                  <a:gd name="T3" fmla="*/ 24 h 146"/>
                  <a:gd name="T4" fmla="*/ 89 w 125"/>
                  <a:gd name="T5" fmla="*/ 24 h 146"/>
                  <a:gd name="T6" fmla="*/ 89 w 125"/>
                  <a:gd name="T7" fmla="*/ 45 h 146"/>
                  <a:gd name="T8" fmla="*/ 82 w 125"/>
                  <a:gd name="T9" fmla="*/ 61 h 146"/>
                  <a:gd name="T10" fmla="*/ 89 w 125"/>
                  <a:gd name="T11" fmla="*/ 84 h 146"/>
                  <a:gd name="T12" fmla="*/ 104 w 125"/>
                  <a:gd name="T13" fmla="*/ 91 h 146"/>
                  <a:gd name="T14" fmla="*/ 119 w 125"/>
                  <a:gd name="T15" fmla="*/ 123 h 146"/>
                  <a:gd name="T16" fmla="*/ 125 w 125"/>
                  <a:gd name="T17" fmla="*/ 129 h 146"/>
                  <a:gd name="T18" fmla="*/ 125 w 125"/>
                  <a:gd name="T19" fmla="*/ 136 h 146"/>
                  <a:gd name="T20" fmla="*/ 104 w 125"/>
                  <a:gd name="T21" fmla="*/ 136 h 146"/>
                  <a:gd name="T22" fmla="*/ 97 w 125"/>
                  <a:gd name="T23" fmla="*/ 146 h 146"/>
                  <a:gd name="T24" fmla="*/ 82 w 125"/>
                  <a:gd name="T25" fmla="*/ 136 h 146"/>
                  <a:gd name="T26" fmla="*/ 75 w 125"/>
                  <a:gd name="T27" fmla="*/ 146 h 146"/>
                  <a:gd name="T28" fmla="*/ 57 w 125"/>
                  <a:gd name="T29" fmla="*/ 136 h 146"/>
                  <a:gd name="T30" fmla="*/ 57 w 125"/>
                  <a:gd name="T31" fmla="*/ 129 h 146"/>
                  <a:gd name="T32" fmla="*/ 20 w 125"/>
                  <a:gd name="T33" fmla="*/ 101 h 146"/>
                  <a:gd name="T34" fmla="*/ 0 w 125"/>
                  <a:gd name="T35" fmla="*/ 91 h 146"/>
                  <a:gd name="T36" fmla="*/ 0 w 125"/>
                  <a:gd name="T37" fmla="*/ 76 h 146"/>
                  <a:gd name="T38" fmla="*/ 20 w 125"/>
                  <a:gd name="T39" fmla="*/ 54 h 146"/>
                  <a:gd name="T40" fmla="*/ 33 w 125"/>
                  <a:gd name="T41" fmla="*/ 15 h 146"/>
                  <a:gd name="T42" fmla="*/ 47 w 125"/>
                  <a:gd name="T43" fmla="*/ 8 h 146"/>
                  <a:gd name="T44" fmla="*/ 47 w 125"/>
                  <a:gd name="T45" fmla="*/ 0 h 146"/>
                  <a:gd name="T46" fmla="*/ 75 w 125"/>
                  <a:gd name="T47" fmla="*/ 8 h 146"/>
                  <a:gd name="T48" fmla="*/ 75 w 125"/>
                  <a:gd name="T49" fmla="*/ 8 h 146"/>
                  <a:gd name="T50" fmla="*/ 75 w 125"/>
                  <a:gd name="T51" fmla="*/ 8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25" h="146">
                    <a:moveTo>
                      <a:pt x="75" y="8"/>
                    </a:moveTo>
                    <a:lnTo>
                      <a:pt x="82" y="24"/>
                    </a:lnTo>
                    <a:lnTo>
                      <a:pt x="89" y="24"/>
                    </a:lnTo>
                    <a:lnTo>
                      <a:pt x="89" y="45"/>
                    </a:lnTo>
                    <a:lnTo>
                      <a:pt x="82" y="61"/>
                    </a:lnTo>
                    <a:lnTo>
                      <a:pt x="89" y="84"/>
                    </a:lnTo>
                    <a:lnTo>
                      <a:pt x="104" y="91"/>
                    </a:lnTo>
                    <a:lnTo>
                      <a:pt x="119" y="123"/>
                    </a:lnTo>
                    <a:lnTo>
                      <a:pt x="125" y="129"/>
                    </a:lnTo>
                    <a:lnTo>
                      <a:pt x="125" y="136"/>
                    </a:lnTo>
                    <a:lnTo>
                      <a:pt x="104" y="136"/>
                    </a:lnTo>
                    <a:lnTo>
                      <a:pt x="97" y="146"/>
                    </a:lnTo>
                    <a:lnTo>
                      <a:pt x="82" y="136"/>
                    </a:lnTo>
                    <a:lnTo>
                      <a:pt x="75" y="146"/>
                    </a:lnTo>
                    <a:lnTo>
                      <a:pt x="57" y="136"/>
                    </a:lnTo>
                    <a:lnTo>
                      <a:pt x="57" y="129"/>
                    </a:lnTo>
                    <a:lnTo>
                      <a:pt x="20" y="101"/>
                    </a:lnTo>
                    <a:lnTo>
                      <a:pt x="0" y="91"/>
                    </a:lnTo>
                    <a:lnTo>
                      <a:pt x="0" y="76"/>
                    </a:lnTo>
                    <a:lnTo>
                      <a:pt x="20" y="54"/>
                    </a:lnTo>
                    <a:lnTo>
                      <a:pt x="33" y="15"/>
                    </a:lnTo>
                    <a:lnTo>
                      <a:pt x="47" y="8"/>
                    </a:lnTo>
                    <a:lnTo>
                      <a:pt x="47" y="0"/>
                    </a:lnTo>
                    <a:lnTo>
                      <a:pt x="75" y="8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64" name="Freeform 301"/>
              <p:cNvSpPr>
                <a:spLocks/>
              </p:cNvSpPr>
              <p:nvPr/>
            </p:nvSpPr>
            <p:spPr bwMode="auto">
              <a:xfrm>
                <a:off x="5068888" y="4051300"/>
                <a:ext cx="61912" cy="49213"/>
              </a:xfrm>
              <a:custGeom>
                <a:avLst/>
                <a:gdLst>
                  <a:gd name="T0" fmla="*/ 0 w 36"/>
                  <a:gd name="T1" fmla="*/ 11 h 28"/>
                  <a:gd name="T2" fmla="*/ 15 w 36"/>
                  <a:gd name="T3" fmla="*/ 28 h 28"/>
                  <a:gd name="T4" fmla="*/ 23 w 36"/>
                  <a:gd name="T5" fmla="*/ 28 h 28"/>
                  <a:gd name="T6" fmla="*/ 28 w 36"/>
                  <a:gd name="T7" fmla="*/ 11 h 28"/>
                  <a:gd name="T8" fmla="*/ 36 w 36"/>
                  <a:gd name="T9" fmla="*/ 0 h 28"/>
                  <a:gd name="T10" fmla="*/ 0 w 36"/>
                  <a:gd name="T11" fmla="*/ 11 h 28"/>
                  <a:gd name="T12" fmla="*/ 0 w 36"/>
                  <a:gd name="T13" fmla="*/ 11 h 28"/>
                  <a:gd name="T14" fmla="*/ 0 w 36"/>
                  <a:gd name="T15" fmla="*/ 11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6" h="28">
                    <a:moveTo>
                      <a:pt x="0" y="11"/>
                    </a:moveTo>
                    <a:lnTo>
                      <a:pt x="15" y="28"/>
                    </a:lnTo>
                    <a:lnTo>
                      <a:pt x="23" y="28"/>
                    </a:lnTo>
                    <a:lnTo>
                      <a:pt x="28" y="11"/>
                    </a:lnTo>
                    <a:lnTo>
                      <a:pt x="36" y="0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65" name="Freeform 302"/>
              <p:cNvSpPr>
                <a:spLocks/>
              </p:cNvSpPr>
              <p:nvPr/>
            </p:nvSpPr>
            <p:spPr bwMode="auto">
              <a:xfrm>
                <a:off x="4943475" y="3589338"/>
                <a:ext cx="87313" cy="120650"/>
              </a:xfrm>
              <a:custGeom>
                <a:avLst/>
                <a:gdLst>
                  <a:gd name="T0" fmla="*/ 0 w 50"/>
                  <a:gd name="T1" fmla="*/ 6 h 69"/>
                  <a:gd name="T2" fmla="*/ 7 w 50"/>
                  <a:gd name="T3" fmla="*/ 6 h 69"/>
                  <a:gd name="T4" fmla="*/ 24 w 50"/>
                  <a:gd name="T5" fmla="*/ 37 h 69"/>
                  <a:gd name="T6" fmla="*/ 24 w 50"/>
                  <a:gd name="T7" fmla="*/ 69 h 69"/>
                  <a:gd name="T8" fmla="*/ 29 w 50"/>
                  <a:gd name="T9" fmla="*/ 45 h 69"/>
                  <a:gd name="T10" fmla="*/ 50 w 50"/>
                  <a:gd name="T11" fmla="*/ 45 h 69"/>
                  <a:gd name="T12" fmla="*/ 50 w 50"/>
                  <a:gd name="T13" fmla="*/ 37 h 69"/>
                  <a:gd name="T14" fmla="*/ 45 w 50"/>
                  <a:gd name="T15" fmla="*/ 22 h 69"/>
                  <a:gd name="T16" fmla="*/ 45 w 50"/>
                  <a:gd name="T17" fmla="*/ 6 h 69"/>
                  <a:gd name="T18" fmla="*/ 17 w 50"/>
                  <a:gd name="T19" fmla="*/ 0 h 69"/>
                  <a:gd name="T20" fmla="*/ 0 w 50"/>
                  <a:gd name="T21" fmla="*/ 6 h 69"/>
                  <a:gd name="T22" fmla="*/ 0 w 50"/>
                  <a:gd name="T23" fmla="*/ 6 h 69"/>
                  <a:gd name="T24" fmla="*/ 0 w 50"/>
                  <a:gd name="T25" fmla="*/ 6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0" h="69">
                    <a:moveTo>
                      <a:pt x="0" y="6"/>
                    </a:moveTo>
                    <a:lnTo>
                      <a:pt x="7" y="6"/>
                    </a:lnTo>
                    <a:lnTo>
                      <a:pt x="24" y="37"/>
                    </a:lnTo>
                    <a:lnTo>
                      <a:pt x="24" y="69"/>
                    </a:lnTo>
                    <a:lnTo>
                      <a:pt x="29" y="45"/>
                    </a:lnTo>
                    <a:lnTo>
                      <a:pt x="50" y="45"/>
                    </a:lnTo>
                    <a:lnTo>
                      <a:pt x="50" y="37"/>
                    </a:lnTo>
                    <a:lnTo>
                      <a:pt x="45" y="22"/>
                    </a:lnTo>
                    <a:lnTo>
                      <a:pt x="45" y="6"/>
                    </a:lnTo>
                    <a:lnTo>
                      <a:pt x="17" y="0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66" name="Freeform 303"/>
              <p:cNvSpPr>
                <a:spLocks/>
              </p:cNvSpPr>
              <p:nvPr/>
            </p:nvSpPr>
            <p:spPr bwMode="auto">
              <a:xfrm>
                <a:off x="4130675" y="3311525"/>
                <a:ext cx="68263" cy="73025"/>
              </a:xfrm>
              <a:custGeom>
                <a:avLst/>
                <a:gdLst>
                  <a:gd name="T0" fmla="*/ 30 w 38"/>
                  <a:gd name="T1" fmla="*/ 42 h 42"/>
                  <a:gd name="T2" fmla="*/ 30 w 38"/>
                  <a:gd name="T3" fmla="*/ 32 h 42"/>
                  <a:gd name="T4" fmla="*/ 8 w 38"/>
                  <a:gd name="T5" fmla="*/ 32 h 42"/>
                  <a:gd name="T6" fmla="*/ 0 w 38"/>
                  <a:gd name="T7" fmla="*/ 25 h 42"/>
                  <a:gd name="T8" fmla="*/ 8 w 38"/>
                  <a:gd name="T9" fmla="*/ 0 h 42"/>
                  <a:gd name="T10" fmla="*/ 30 w 38"/>
                  <a:gd name="T11" fmla="*/ 19 h 42"/>
                  <a:gd name="T12" fmla="*/ 38 w 38"/>
                  <a:gd name="T13" fmla="*/ 32 h 42"/>
                  <a:gd name="T14" fmla="*/ 30 w 38"/>
                  <a:gd name="T15" fmla="*/ 42 h 42"/>
                  <a:gd name="T16" fmla="*/ 30 w 38"/>
                  <a:gd name="T17" fmla="*/ 42 h 42"/>
                  <a:gd name="T18" fmla="*/ 30 w 38"/>
                  <a:gd name="T19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8" h="42">
                    <a:moveTo>
                      <a:pt x="30" y="42"/>
                    </a:moveTo>
                    <a:lnTo>
                      <a:pt x="30" y="32"/>
                    </a:lnTo>
                    <a:lnTo>
                      <a:pt x="8" y="32"/>
                    </a:lnTo>
                    <a:lnTo>
                      <a:pt x="0" y="25"/>
                    </a:lnTo>
                    <a:lnTo>
                      <a:pt x="8" y="0"/>
                    </a:lnTo>
                    <a:lnTo>
                      <a:pt x="30" y="19"/>
                    </a:lnTo>
                    <a:lnTo>
                      <a:pt x="38" y="32"/>
                    </a:lnTo>
                    <a:lnTo>
                      <a:pt x="30" y="42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67" name="Freeform 304"/>
              <p:cNvSpPr>
                <a:spLocks/>
              </p:cNvSpPr>
              <p:nvPr/>
            </p:nvSpPr>
            <p:spPr bwMode="auto">
              <a:xfrm>
                <a:off x="4070350" y="3311525"/>
                <a:ext cx="114300" cy="171450"/>
              </a:xfrm>
              <a:custGeom>
                <a:avLst/>
                <a:gdLst>
                  <a:gd name="T0" fmla="*/ 43 w 65"/>
                  <a:gd name="T1" fmla="*/ 0 h 99"/>
                  <a:gd name="T2" fmla="*/ 35 w 65"/>
                  <a:gd name="T3" fmla="*/ 24 h 99"/>
                  <a:gd name="T4" fmla="*/ 43 w 65"/>
                  <a:gd name="T5" fmla="*/ 30 h 99"/>
                  <a:gd name="T6" fmla="*/ 65 w 65"/>
                  <a:gd name="T7" fmla="*/ 30 h 99"/>
                  <a:gd name="T8" fmla="*/ 65 w 65"/>
                  <a:gd name="T9" fmla="*/ 64 h 99"/>
                  <a:gd name="T10" fmla="*/ 48 w 65"/>
                  <a:gd name="T11" fmla="*/ 84 h 99"/>
                  <a:gd name="T12" fmla="*/ 5 w 65"/>
                  <a:gd name="T13" fmla="*/ 99 h 99"/>
                  <a:gd name="T14" fmla="*/ 0 w 65"/>
                  <a:gd name="T15" fmla="*/ 84 h 99"/>
                  <a:gd name="T16" fmla="*/ 5 w 65"/>
                  <a:gd name="T17" fmla="*/ 84 h 99"/>
                  <a:gd name="T18" fmla="*/ 20 w 65"/>
                  <a:gd name="T19" fmla="*/ 64 h 99"/>
                  <a:gd name="T20" fmla="*/ 5 w 65"/>
                  <a:gd name="T21" fmla="*/ 56 h 99"/>
                  <a:gd name="T22" fmla="*/ 20 w 65"/>
                  <a:gd name="T23" fmla="*/ 40 h 99"/>
                  <a:gd name="T24" fmla="*/ 5 w 65"/>
                  <a:gd name="T25" fmla="*/ 40 h 99"/>
                  <a:gd name="T26" fmla="*/ 5 w 65"/>
                  <a:gd name="T27" fmla="*/ 30 h 99"/>
                  <a:gd name="T28" fmla="*/ 26 w 65"/>
                  <a:gd name="T29" fmla="*/ 30 h 99"/>
                  <a:gd name="T30" fmla="*/ 35 w 65"/>
                  <a:gd name="T31" fmla="*/ 24 h 99"/>
                  <a:gd name="T32" fmla="*/ 26 w 65"/>
                  <a:gd name="T33" fmla="*/ 24 h 99"/>
                  <a:gd name="T34" fmla="*/ 26 w 65"/>
                  <a:gd name="T35" fmla="*/ 15 h 99"/>
                  <a:gd name="T36" fmla="*/ 43 w 65"/>
                  <a:gd name="T37" fmla="*/ 0 h 99"/>
                  <a:gd name="T38" fmla="*/ 43 w 65"/>
                  <a:gd name="T39" fmla="*/ 0 h 99"/>
                  <a:gd name="T40" fmla="*/ 43 w 65"/>
                  <a:gd name="T41" fmla="*/ 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5" h="99">
                    <a:moveTo>
                      <a:pt x="43" y="0"/>
                    </a:moveTo>
                    <a:lnTo>
                      <a:pt x="35" y="24"/>
                    </a:lnTo>
                    <a:lnTo>
                      <a:pt x="43" y="30"/>
                    </a:lnTo>
                    <a:lnTo>
                      <a:pt x="65" y="30"/>
                    </a:lnTo>
                    <a:lnTo>
                      <a:pt x="65" y="64"/>
                    </a:lnTo>
                    <a:lnTo>
                      <a:pt x="48" y="84"/>
                    </a:lnTo>
                    <a:lnTo>
                      <a:pt x="5" y="99"/>
                    </a:lnTo>
                    <a:lnTo>
                      <a:pt x="0" y="84"/>
                    </a:lnTo>
                    <a:lnTo>
                      <a:pt x="5" y="84"/>
                    </a:lnTo>
                    <a:lnTo>
                      <a:pt x="20" y="64"/>
                    </a:lnTo>
                    <a:lnTo>
                      <a:pt x="5" y="56"/>
                    </a:lnTo>
                    <a:lnTo>
                      <a:pt x="20" y="40"/>
                    </a:lnTo>
                    <a:lnTo>
                      <a:pt x="5" y="40"/>
                    </a:lnTo>
                    <a:lnTo>
                      <a:pt x="5" y="30"/>
                    </a:lnTo>
                    <a:lnTo>
                      <a:pt x="26" y="30"/>
                    </a:lnTo>
                    <a:lnTo>
                      <a:pt x="35" y="24"/>
                    </a:lnTo>
                    <a:lnTo>
                      <a:pt x="26" y="24"/>
                    </a:lnTo>
                    <a:lnTo>
                      <a:pt x="26" y="15"/>
                    </a:lnTo>
                    <a:lnTo>
                      <a:pt x="43" y="0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68" name="Freeform 305"/>
              <p:cNvSpPr>
                <a:spLocks/>
              </p:cNvSpPr>
              <p:nvPr/>
            </p:nvSpPr>
            <p:spPr bwMode="auto">
              <a:xfrm>
                <a:off x="4506913" y="3217863"/>
                <a:ext cx="69850" cy="122237"/>
              </a:xfrm>
              <a:custGeom>
                <a:avLst/>
                <a:gdLst>
                  <a:gd name="T0" fmla="*/ 10 w 40"/>
                  <a:gd name="T1" fmla="*/ 69 h 69"/>
                  <a:gd name="T2" fmla="*/ 30 w 40"/>
                  <a:gd name="T3" fmla="*/ 69 h 69"/>
                  <a:gd name="T4" fmla="*/ 35 w 40"/>
                  <a:gd name="T5" fmla="*/ 37 h 69"/>
                  <a:gd name="T6" fmla="*/ 40 w 40"/>
                  <a:gd name="T7" fmla="*/ 37 h 69"/>
                  <a:gd name="T8" fmla="*/ 40 w 40"/>
                  <a:gd name="T9" fmla="*/ 30 h 69"/>
                  <a:gd name="T10" fmla="*/ 35 w 40"/>
                  <a:gd name="T11" fmla="*/ 30 h 69"/>
                  <a:gd name="T12" fmla="*/ 35 w 40"/>
                  <a:gd name="T13" fmla="*/ 0 h 69"/>
                  <a:gd name="T14" fmla="*/ 10 w 40"/>
                  <a:gd name="T15" fmla="*/ 5 h 69"/>
                  <a:gd name="T16" fmla="*/ 0 w 40"/>
                  <a:gd name="T17" fmla="*/ 30 h 69"/>
                  <a:gd name="T18" fmla="*/ 0 w 40"/>
                  <a:gd name="T19" fmla="*/ 47 h 69"/>
                  <a:gd name="T20" fmla="*/ 10 w 40"/>
                  <a:gd name="T21" fmla="*/ 54 h 69"/>
                  <a:gd name="T22" fmla="*/ 10 w 40"/>
                  <a:gd name="T23" fmla="*/ 69 h 69"/>
                  <a:gd name="T24" fmla="*/ 10 w 40"/>
                  <a:gd name="T25" fmla="*/ 69 h 69"/>
                  <a:gd name="T26" fmla="*/ 10 w 40"/>
                  <a:gd name="T27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0" h="69">
                    <a:moveTo>
                      <a:pt x="10" y="69"/>
                    </a:moveTo>
                    <a:lnTo>
                      <a:pt x="30" y="69"/>
                    </a:lnTo>
                    <a:lnTo>
                      <a:pt x="35" y="37"/>
                    </a:lnTo>
                    <a:lnTo>
                      <a:pt x="40" y="37"/>
                    </a:lnTo>
                    <a:lnTo>
                      <a:pt x="40" y="30"/>
                    </a:lnTo>
                    <a:lnTo>
                      <a:pt x="35" y="30"/>
                    </a:lnTo>
                    <a:lnTo>
                      <a:pt x="35" y="0"/>
                    </a:lnTo>
                    <a:lnTo>
                      <a:pt x="10" y="5"/>
                    </a:lnTo>
                    <a:lnTo>
                      <a:pt x="0" y="30"/>
                    </a:lnTo>
                    <a:lnTo>
                      <a:pt x="0" y="47"/>
                    </a:lnTo>
                    <a:lnTo>
                      <a:pt x="10" y="54"/>
                    </a:lnTo>
                    <a:lnTo>
                      <a:pt x="10" y="69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69" name="Freeform 306"/>
              <p:cNvSpPr>
                <a:spLocks/>
              </p:cNvSpPr>
              <p:nvPr/>
            </p:nvSpPr>
            <p:spPr bwMode="auto">
              <a:xfrm>
                <a:off x="4408488" y="3409950"/>
                <a:ext cx="88900" cy="98425"/>
              </a:xfrm>
              <a:custGeom>
                <a:avLst/>
                <a:gdLst>
                  <a:gd name="T0" fmla="*/ 37 w 51"/>
                  <a:gd name="T1" fmla="*/ 56 h 56"/>
                  <a:gd name="T2" fmla="*/ 37 w 51"/>
                  <a:gd name="T3" fmla="*/ 27 h 56"/>
                  <a:gd name="T4" fmla="*/ 42 w 51"/>
                  <a:gd name="T5" fmla="*/ 20 h 56"/>
                  <a:gd name="T6" fmla="*/ 51 w 51"/>
                  <a:gd name="T7" fmla="*/ 0 h 56"/>
                  <a:gd name="T8" fmla="*/ 24 w 51"/>
                  <a:gd name="T9" fmla="*/ 9 h 56"/>
                  <a:gd name="T10" fmla="*/ 37 w 51"/>
                  <a:gd name="T11" fmla="*/ 20 h 56"/>
                  <a:gd name="T12" fmla="*/ 24 w 51"/>
                  <a:gd name="T13" fmla="*/ 20 h 56"/>
                  <a:gd name="T14" fmla="*/ 24 w 51"/>
                  <a:gd name="T15" fmla="*/ 15 h 56"/>
                  <a:gd name="T16" fmla="*/ 15 w 51"/>
                  <a:gd name="T17" fmla="*/ 15 h 56"/>
                  <a:gd name="T18" fmla="*/ 0 w 51"/>
                  <a:gd name="T19" fmla="*/ 49 h 56"/>
                  <a:gd name="T20" fmla="*/ 24 w 51"/>
                  <a:gd name="T21" fmla="*/ 49 h 56"/>
                  <a:gd name="T22" fmla="*/ 37 w 51"/>
                  <a:gd name="T23" fmla="*/ 56 h 56"/>
                  <a:gd name="T24" fmla="*/ 37 w 51"/>
                  <a:gd name="T25" fmla="*/ 56 h 56"/>
                  <a:gd name="T26" fmla="*/ 37 w 51"/>
                  <a:gd name="T27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1" h="56">
                    <a:moveTo>
                      <a:pt x="37" y="56"/>
                    </a:moveTo>
                    <a:lnTo>
                      <a:pt x="37" y="27"/>
                    </a:lnTo>
                    <a:lnTo>
                      <a:pt x="42" y="20"/>
                    </a:lnTo>
                    <a:lnTo>
                      <a:pt x="51" y="0"/>
                    </a:lnTo>
                    <a:lnTo>
                      <a:pt x="24" y="9"/>
                    </a:lnTo>
                    <a:lnTo>
                      <a:pt x="37" y="20"/>
                    </a:lnTo>
                    <a:lnTo>
                      <a:pt x="24" y="20"/>
                    </a:lnTo>
                    <a:lnTo>
                      <a:pt x="24" y="15"/>
                    </a:lnTo>
                    <a:lnTo>
                      <a:pt x="15" y="15"/>
                    </a:lnTo>
                    <a:lnTo>
                      <a:pt x="0" y="49"/>
                    </a:lnTo>
                    <a:lnTo>
                      <a:pt x="24" y="49"/>
                    </a:lnTo>
                    <a:lnTo>
                      <a:pt x="37" y="56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70" name="Freeform 307"/>
              <p:cNvSpPr>
                <a:spLocks/>
              </p:cNvSpPr>
              <p:nvPr/>
            </p:nvSpPr>
            <p:spPr bwMode="auto">
              <a:xfrm>
                <a:off x="4386263" y="3495675"/>
                <a:ext cx="85725" cy="63500"/>
              </a:xfrm>
              <a:custGeom>
                <a:avLst/>
                <a:gdLst>
                  <a:gd name="T0" fmla="*/ 38 w 50"/>
                  <a:gd name="T1" fmla="*/ 37 h 37"/>
                  <a:gd name="T2" fmla="*/ 30 w 50"/>
                  <a:gd name="T3" fmla="*/ 37 h 37"/>
                  <a:gd name="T4" fmla="*/ 30 w 50"/>
                  <a:gd name="T5" fmla="*/ 30 h 37"/>
                  <a:gd name="T6" fmla="*/ 22 w 50"/>
                  <a:gd name="T7" fmla="*/ 30 h 37"/>
                  <a:gd name="T8" fmla="*/ 22 w 50"/>
                  <a:gd name="T9" fmla="*/ 15 h 37"/>
                  <a:gd name="T10" fmla="*/ 0 w 50"/>
                  <a:gd name="T11" fmla="*/ 8 h 37"/>
                  <a:gd name="T12" fmla="*/ 0 w 50"/>
                  <a:gd name="T13" fmla="*/ 0 h 37"/>
                  <a:gd name="T14" fmla="*/ 38 w 50"/>
                  <a:gd name="T15" fmla="*/ 0 h 37"/>
                  <a:gd name="T16" fmla="*/ 50 w 50"/>
                  <a:gd name="T17" fmla="*/ 8 h 37"/>
                  <a:gd name="T18" fmla="*/ 50 w 50"/>
                  <a:gd name="T19" fmla="*/ 30 h 37"/>
                  <a:gd name="T20" fmla="*/ 38 w 50"/>
                  <a:gd name="T21" fmla="*/ 30 h 37"/>
                  <a:gd name="T22" fmla="*/ 38 w 50"/>
                  <a:gd name="T23" fmla="*/ 37 h 37"/>
                  <a:gd name="T24" fmla="*/ 38 w 50"/>
                  <a:gd name="T25" fmla="*/ 37 h 37"/>
                  <a:gd name="T26" fmla="*/ 38 w 50"/>
                  <a:gd name="T27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0" h="37">
                    <a:moveTo>
                      <a:pt x="38" y="37"/>
                    </a:moveTo>
                    <a:lnTo>
                      <a:pt x="30" y="37"/>
                    </a:lnTo>
                    <a:lnTo>
                      <a:pt x="30" y="30"/>
                    </a:lnTo>
                    <a:lnTo>
                      <a:pt x="22" y="30"/>
                    </a:lnTo>
                    <a:lnTo>
                      <a:pt x="22" y="15"/>
                    </a:lnTo>
                    <a:lnTo>
                      <a:pt x="0" y="8"/>
                    </a:lnTo>
                    <a:lnTo>
                      <a:pt x="0" y="0"/>
                    </a:lnTo>
                    <a:lnTo>
                      <a:pt x="38" y="0"/>
                    </a:lnTo>
                    <a:lnTo>
                      <a:pt x="50" y="8"/>
                    </a:lnTo>
                    <a:lnTo>
                      <a:pt x="50" y="30"/>
                    </a:lnTo>
                    <a:lnTo>
                      <a:pt x="38" y="30"/>
                    </a:lnTo>
                    <a:lnTo>
                      <a:pt x="38" y="37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71" name="Freeform 308"/>
              <p:cNvSpPr>
                <a:spLocks/>
              </p:cNvSpPr>
              <p:nvPr/>
            </p:nvSpPr>
            <p:spPr bwMode="auto">
              <a:xfrm>
                <a:off x="4684713" y="3340100"/>
                <a:ext cx="222250" cy="241300"/>
              </a:xfrm>
              <a:custGeom>
                <a:avLst/>
                <a:gdLst>
                  <a:gd name="T0" fmla="*/ 115 w 127"/>
                  <a:gd name="T1" fmla="*/ 138 h 138"/>
                  <a:gd name="T2" fmla="*/ 127 w 127"/>
                  <a:gd name="T3" fmla="*/ 106 h 138"/>
                  <a:gd name="T4" fmla="*/ 120 w 127"/>
                  <a:gd name="T5" fmla="*/ 60 h 138"/>
                  <a:gd name="T6" fmla="*/ 127 w 127"/>
                  <a:gd name="T7" fmla="*/ 47 h 138"/>
                  <a:gd name="T8" fmla="*/ 115 w 127"/>
                  <a:gd name="T9" fmla="*/ 15 h 138"/>
                  <a:gd name="T10" fmla="*/ 94 w 127"/>
                  <a:gd name="T11" fmla="*/ 15 h 138"/>
                  <a:gd name="T12" fmla="*/ 72 w 127"/>
                  <a:gd name="T13" fmla="*/ 7 h 138"/>
                  <a:gd name="T14" fmla="*/ 72 w 127"/>
                  <a:gd name="T15" fmla="*/ 15 h 138"/>
                  <a:gd name="T16" fmla="*/ 57 w 127"/>
                  <a:gd name="T17" fmla="*/ 15 h 138"/>
                  <a:gd name="T18" fmla="*/ 48 w 127"/>
                  <a:gd name="T19" fmla="*/ 0 h 138"/>
                  <a:gd name="T20" fmla="*/ 0 w 127"/>
                  <a:gd name="T21" fmla="*/ 25 h 138"/>
                  <a:gd name="T22" fmla="*/ 8 w 127"/>
                  <a:gd name="T23" fmla="*/ 91 h 138"/>
                  <a:gd name="T24" fmla="*/ 35 w 127"/>
                  <a:gd name="T25" fmla="*/ 106 h 138"/>
                  <a:gd name="T26" fmla="*/ 42 w 127"/>
                  <a:gd name="T27" fmla="*/ 106 h 138"/>
                  <a:gd name="T28" fmla="*/ 57 w 127"/>
                  <a:gd name="T29" fmla="*/ 128 h 138"/>
                  <a:gd name="T30" fmla="*/ 72 w 127"/>
                  <a:gd name="T31" fmla="*/ 128 h 138"/>
                  <a:gd name="T32" fmla="*/ 78 w 127"/>
                  <a:gd name="T33" fmla="*/ 138 h 138"/>
                  <a:gd name="T34" fmla="*/ 94 w 127"/>
                  <a:gd name="T35" fmla="*/ 128 h 138"/>
                  <a:gd name="T36" fmla="*/ 115 w 127"/>
                  <a:gd name="T37" fmla="*/ 138 h 138"/>
                  <a:gd name="T38" fmla="*/ 115 w 127"/>
                  <a:gd name="T39" fmla="*/ 138 h 138"/>
                  <a:gd name="T40" fmla="*/ 115 w 127"/>
                  <a:gd name="T41" fmla="*/ 138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27" h="138">
                    <a:moveTo>
                      <a:pt x="115" y="138"/>
                    </a:moveTo>
                    <a:lnTo>
                      <a:pt x="127" y="106"/>
                    </a:lnTo>
                    <a:lnTo>
                      <a:pt x="120" y="60"/>
                    </a:lnTo>
                    <a:lnTo>
                      <a:pt x="127" y="47"/>
                    </a:lnTo>
                    <a:lnTo>
                      <a:pt x="115" y="15"/>
                    </a:lnTo>
                    <a:lnTo>
                      <a:pt x="94" y="15"/>
                    </a:lnTo>
                    <a:lnTo>
                      <a:pt x="72" y="7"/>
                    </a:lnTo>
                    <a:lnTo>
                      <a:pt x="72" y="15"/>
                    </a:lnTo>
                    <a:lnTo>
                      <a:pt x="57" y="15"/>
                    </a:lnTo>
                    <a:lnTo>
                      <a:pt x="48" y="0"/>
                    </a:lnTo>
                    <a:lnTo>
                      <a:pt x="0" y="25"/>
                    </a:lnTo>
                    <a:lnTo>
                      <a:pt x="8" y="91"/>
                    </a:lnTo>
                    <a:lnTo>
                      <a:pt x="35" y="106"/>
                    </a:lnTo>
                    <a:lnTo>
                      <a:pt x="42" y="106"/>
                    </a:lnTo>
                    <a:lnTo>
                      <a:pt x="57" y="128"/>
                    </a:lnTo>
                    <a:lnTo>
                      <a:pt x="72" y="128"/>
                    </a:lnTo>
                    <a:lnTo>
                      <a:pt x="78" y="138"/>
                    </a:lnTo>
                    <a:lnTo>
                      <a:pt x="94" y="128"/>
                    </a:lnTo>
                    <a:lnTo>
                      <a:pt x="115" y="138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72" name="Freeform 309"/>
              <p:cNvSpPr>
                <a:spLocks/>
              </p:cNvSpPr>
              <p:nvPr/>
            </p:nvSpPr>
            <p:spPr bwMode="auto">
              <a:xfrm>
                <a:off x="4468813" y="3340100"/>
                <a:ext cx="200025" cy="304800"/>
              </a:xfrm>
              <a:custGeom>
                <a:avLst/>
                <a:gdLst>
                  <a:gd name="T0" fmla="*/ 64 w 114"/>
                  <a:gd name="T1" fmla="*/ 25 h 175"/>
                  <a:gd name="T2" fmla="*/ 101 w 114"/>
                  <a:gd name="T3" fmla="*/ 7 h 175"/>
                  <a:gd name="T4" fmla="*/ 101 w 114"/>
                  <a:gd name="T5" fmla="*/ 15 h 175"/>
                  <a:gd name="T6" fmla="*/ 93 w 114"/>
                  <a:gd name="T7" fmla="*/ 15 h 175"/>
                  <a:gd name="T8" fmla="*/ 106 w 114"/>
                  <a:gd name="T9" fmla="*/ 25 h 175"/>
                  <a:gd name="T10" fmla="*/ 114 w 114"/>
                  <a:gd name="T11" fmla="*/ 91 h 175"/>
                  <a:gd name="T12" fmla="*/ 106 w 114"/>
                  <a:gd name="T13" fmla="*/ 91 h 175"/>
                  <a:gd name="T14" fmla="*/ 73 w 114"/>
                  <a:gd name="T15" fmla="*/ 107 h 175"/>
                  <a:gd name="T16" fmla="*/ 84 w 114"/>
                  <a:gd name="T17" fmla="*/ 129 h 175"/>
                  <a:gd name="T18" fmla="*/ 101 w 114"/>
                  <a:gd name="T19" fmla="*/ 146 h 175"/>
                  <a:gd name="T20" fmla="*/ 93 w 114"/>
                  <a:gd name="T21" fmla="*/ 151 h 175"/>
                  <a:gd name="T22" fmla="*/ 93 w 114"/>
                  <a:gd name="T23" fmla="*/ 168 h 175"/>
                  <a:gd name="T24" fmla="*/ 16 w 114"/>
                  <a:gd name="T25" fmla="*/ 175 h 175"/>
                  <a:gd name="T26" fmla="*/ 21 w 114"/>
                  <a:gd name="T27" fmla="*/ 146 h 175"/>
                  <a:gd name="T28" fmla="*/ 0 w 114"/>
                  <a:gd name="T29" fmla="*/ 129 h 175"/>
                  <a:gd name="T30" fmla="*/ 0 w 114"/>
                  <a:gd name="T31" fmla="*/ 67 h 175"/>
                  <a:gd name="T32" fmla="*/ 9 w 114"/>
                  <a:gd name="T33" fmla="*/ 60 h 175"/>
                  <a:gd name="T34" fmla="*/ 16 w 114"/>
                  <a:gd name="T35" fmla="*/ 39 h 175"/>
                  <a:gd name="T36" fmla="*/ 31 w 114"/>
                  <a:gd name="T37" fmla="*/ 39 h 175"/>
                  <a:gd name="T38" fmla="*/ 42 w 114"/>
                  <a:gd name="T39" fmla="*/ 15 h 175"/>
                  <a:gd name="T40" fmla="*/ 31 w 114"/>
                  <a:gd name="T41" fmla="*/ 15 h 175"/>
                  <a:gd name="T42" fmla="*/ 42 w 114"/>
                  <a:gd name="T43" fmla="*/ 7 h 175"/>
                  <a:gd name="T44" fmla="*/ 31 w 114"/>
                  <a:gd name="T45" fmla="*/ 0 h 175"/>
                  <a:gd name="T46" fmla="*/ 51 w 114"/>
                  <a:gd name="T47" fmla="*/ 0 h 175"/>
                  <a:gd name="T48" fmla="*/ 51 w 114"/>
                  <a:gd name="T49" fmla="*/ 7 h 175"/>
                  <a:gd name="T50" fmla="*/ 64 w 114"/>
                  <a:gd name="T51" fmla="*/ 15 h 175"/>
                  <a:gd name="T52" fmla="*/ 57 w 114"/>
                  <a:gd name="T53" fmla="*/ 25 h 175"/>
                  <a:gd name="T54" fmla="*/ 64 w 114"/>
                  <a:gd name="T55" fmla="*/ 25 h 175"/>
                  <a:gd name="T56" fmla="*/ 64 w 114"/>
                  <a:gd name="T57" fmla="*/ 25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14" h="175">
                    <a:moveTo>
                      <a:pt x="64" y="25"/>
                    </a:moveTo>
                    <a:lnTo>
                      <a:pt x="101" y="7"/>
                    </a:lnTo>
                    <a:lnTo>
                      <a:pt x="101" y="15"/>
                    </a:lnTo>
                    <a:lnTo>
                      <a:pt x="93" y="15"/>
                    </a:lnTo>
                    <a:lnTo>
                      <a:pt x="106" y="25"/>
                    </a:lnTo>
                    <a:lnTo>
                      <a:pt x="114" y="91"/>
                    </a:lnTo>
                    <a:lnTo>
                      <a:pt x="106" y="91"/>
                    </a:lnTo>
                    <a:lnTo>
                      <a:pt x="73" y="107"/>
                    </a:lnTo>
                    <a:lnTo>
                      <a:pt x="84" y="129"/>
                    </a:lnTo>
                    <a:lnTo>
                      <a:pt x="101" y="146"/>
                    </a:lnTo>
                    <a:lnTo>
                      <a:pt x="93" y="151"/>
                    </a:lnTo>
                    <a:lnTo>
                      <a:pt x="93" y="168"/>
                    </a:lnTo>
                    <a:lnTo>
                      <a:pt x="16" y="175"/>
                    </a:lnTo>
                    <a:lnTo>
                      <a:pt x="21" y="146"/>
                    </a:lnTo>
                    <a:lnTo>
                      <a:pt x="0" y="129"/>
                    </a:lnTo>
                    <a:lnTo>
                      <a:pt x="0" y="67"/>
                    </a:lnTo>
                    <a:lnTo>
                      <a:pt x="9" y="60"/>
                    </a:lnTo>
                    <a:lnTo>
                      <a:pt x="16" y="39"/>
                    </a:lnTo>
                    <a:lnTo>
                      <a:pt x="31" y="39"/>
                    </a:lnTo>
                    <a:lnTo>
                      <a:pt x="42" y="15"/>
                    </a:lnTo>
                    <a:lnTo>
                      <a:pt x="31" y="15"/>
                    </a:lnTo>
                    <a:lnTo>
                      <a:pt x="42" y="7"/>
                    </a:lnTo>
                    <a:lnTo>
                      <a:pt x="31" y="0"/>
                    </a:lnTo>
                    <a:lnTo>
                      <a:pt x="51" y="0"/>
                    </a:lnTo>
                    <a:lnTo>
                      <a:pt x="51" y="7"/>
                    </a:lnTo>
                    <a:lnTo>
                      <a:pt x="64" y="15"/>
                    </a:lnTo>
                    <a:lnTo>
                      <a:pt x="57" y="25"/>
                    </a:lnTo>
                    <a:lnTo>
                      <a:pt x="64" y="25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73" name="Freeform 310"/>
              <p:cNvSpPr>
                <a:spLocks/>
              </p:cNvSpPr>
              <p:nvPr/>
            </p:nvSpPr>
            <p:spPr bwMode="auto">
              <a:xfrm>
                <a:off x="4541838" y="3581400"/>
                <a:ext cx="177800" cy="90488"/>
              </a:xfrm>
              <a:custGeom>
                <a:avLst/>
                <a:gdLst>
                  <a:gd name="T0" fmla="*/ 0 w 101"/>
                  <a:gd name="T1" fmla="*/ 37 h 52"/>
                  <a:gd name="T2" fmla="*/ 15 w 101"/>
                  <a:gd name="T3" fmla="*/ 37 h 52"/>
                  <a:gd name="T4" fmla="*/ 51 w 101"/>
                  <a:gd name="T5" fmla="*/ 27 h 52"/>
                  <a:gd name="T6" fmla="*/ 51 w 101"/>
                  <a:gd name="T7" fmla="*/ 13 h 52"/>
                  <a:gd name="T8" fmla="*/ 59 w 101"/>
                  <a:gd name="T9" fmla="*/ 6 h 52"/>
                  <a:gd name="T10" fmla="*/ 72 w 101"/>
                  <a:gd name="T11" fmla="*/ 6 h 52"/>
                  <a:gd name="T12" fmla="*/ 72 w 101"/>
                  <a:gd name="T13" fmla="*/ 0 h 52"/>
                  <a:gd name="T14" fmla="*/ 101 w 101"/>
                  <a:gd name="T15" fmla="*/ 6 h 52"/>
                  <a:gd name="T16" fmla="*/ 101 w 101"/>
                  <a:gd name="T17" fmla="*/ 27 h 52"/>
                  <a:gd name="T18" fmla="*/ 92 w 101"/>
                  <a:gd name="T19" fmla="*/ 43 h 52"/>
                  <a:gd name="T20" fmla="*/ 59 w 101"/>
                  <a:gd name="T21" fmla="*/ 52 h 52"/>
                  <a:gd name="T22" fmla="*/ 42 w 101"/>
                  <a:gd name="T23" fmla="*/ 43 h 52"/>
                  <a:gd name="T24" fmla="*/ 10 w 101"/>
                  <a:gd name="T25" fmla="*/ 43 h 52"/>
                  <a:gd name="T26" fmla="*/ 0 w 101"/>
                  <a:gd name="T27" fmla="*/ 37 h 52"/>
                  <a:gd name="T28" fmla="*/ 0 w 101"/>
                  <a:gd name="T29" fmla="*/ 37 h 52"/>
                  <a:gd name="T30" fmla="*/ 0 w 101"/>
                  <a:gd name="T31" fmla="*/ 37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1" h="52">
                    <a:moveTo>
                      <a:pt x="0" y="37"/>
                    </a:moveTo>
                    <a:lnTo>
                      <a:pt x="15" y="37"/>
                    </a:lnTo>
                    <a:lnTo>
                      <a:pt x="51" y="27"/>
                    </a:lnTo>
                    <a:lnTo>
                      <a:pt x="51" y="13"/>
                    </a:lnTo>
                    <a:lnTo>
                      <a:pt x="59" y="6"/>
                    </a:lnTo>
                    <a:lnTo>
                      <a:pt x="72" y="6"/>
                    </a:lnTo>
                    <a:lnTo>
                      <a:pt x="72" y="0"/>
                    </a:lnTo>
                    <a:lnTo>
                      <a:pt x="101" y="6"/>
                    </a:lnTo>
                    <a:lnTo>
                      <a:pt x="101" y="27"/>
                    </a:lnTo>
                    <a:lnTo>
                      <a:pt x="92" y="43"/>
                    </a:lnTo>
                    <a:lnTo>
                      <a:pt x="59" y="52"/>
                    </a:lnTo>
                    <a:lnTo>
                      <a:pt x="42" y="43"/>
                    </a:lnTo>
                    <a:lnTo>
                      <a:pt x="10" y="43"/>
                    </a:lnTo>
                    <a:lnTo>
                      <a:pt x="0" y="37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74" name="Freeform 311"/>
              <p:cNvSpPr>
                <a:spLocks/>
              </p:cNvSpPr>
              <p:nvPr/>
            </p:nvSpPr>
            <p:spPr bwMode="auto">
              <a:xfrm>
                <a:off x="4206875" y="3495675"/>
                <a:ext cx="300038" cy="323850"/>
              </a:xfrm>
              <a:custGeom>
                <a:avLst/>
                <a:gdLst>
                  <a:gd name="T0" fmla="*/ 102 w 172"/>
                  <a:gd name="T1" fmla="*/ 0 h 185"/>
                  <a:gd name="T2" fmla="*/ 87 w 172"/>
                  <a:gd name="T3" fmla="*/ 8 h 185"/>
                  <a:gd name="T4" fmla="*/ 87 w 172"/>
                  <a:gd name="T5" fmla="*/ 32 h 185"/>
                  <a:gd name="T6" fmla="*/ 58 w 172"/>
                  <a:gd name="T7" fmla="*/ 47 h 185"/>
                  <a:gd name="T8" fmla="*/ 52 w 172"/>
                  <a:gd name="T9" fmla="*/ 47 h 185"/>
                  <a:gd name="T10" fmla="*/ 45 w 172"/>
                  <a:gd name="T11" fmla="*/ 39 h 185"/>
                  <a:gd name="T12" fmla="*/ 37 w 172"/>
                  <a:gd name="T13" fmla="*/ 39 h 185"/>
                  <a:gd name="T14" fmla="*/ 45 w 172"/>
                  <a:gd name="T15" fmla="*/ 54 h 185"/>
                  <a:gd name="T16" fmla="*/ 30 w 172"/>
                  <a:gd name="T17" fmla="*/ 62 h 185"/>
                  <a:gd name="T18" fmla="*/ 30 w 172"/>
                  <a:gd name="T19" fmla="*/ 54 h 185"/>
                  <a:gd name="T20" fmla="*/ 0 w 172"/>
                  <a:gd name="T21" fmla="*/ 62 h 185"/>
                  <a:gd name="T22" fmla="*/ 0 w 172"/>
                  <a:gd name="T23" fmla="*/ 76 h 185"/>
                  <a:gd name="T24" fmla="*/ 37 w 172"/>
                  <a:gd name="T25" fmla="*/ 84 h 185"/>
                  <a:gd name="T26" fmla="*/ 52 w 172"/>
                  <a:gd name="T27" fmla="*/ 106 h 185"/>
                  <a:gd name="T28" fmla="*/ 45 w 172"/>
                  <a:gd name="T29" fmla="*/ 168 h 185"/>
                  <a:gd name="T30" fmla="*/ 58 w 172"/>
                  <a:gd name="T31" fmla="*/ 178 h 185"/>
                  <a:gd name="T32" fmla="*/ 102 w 172"/>
                  <a:gd name="T33" fmla="*/ 185 h 185"/>
                  <a:gd name="T34" fmla="*/ 102 w 172"/>
                  <a:gd name="T35" fmla="*/ 178 h 185"/>
                  <a:gd name="T36" fmla="*/ 124 w 172"/>
                  <a:gd name="T37" fmla="*/ 168 h 185"/>
                  <a:gd name="T38" fmla="*/ 150 w 172"/>
                  <a:gd name="T39" fmla="*/ 178 h 185"/>
                  <a:gd name="T40" fmla="*/ 161 w 172"/>
                  <a:gd name="T41" fmla="*/ 178 h 185"/>
                  <a:gd name="T42" fmla="*/ 166 w 172"/>
                  <a:gd name="T43" fmla="*/ 160 h 185"/>
                  <a:gd name="T44" fmla="*/ 161 w 172"/>
                  <a:gd name="T45" fmla="*/ 138 h 185"/>
                  <a:gd name="T46" fmla="*/ 161 w 172"/>
                  <a:gd name="T47" fmla="*/ 101 h 185"/>
                  <a:gd name="T48" fmla="*/ 150 w 172"/>
                  <a:gd name="T49" fmla="*/ 106 h 185"/>
                  <a:gd name="T50" fmla="*/ 150 w 172"/>
                  <a:gd name="T51" fmla="*/ 101 h 185"/>
                  <a:gd name="T52" fmla="*/ 161 w 172"/>
                  <a:gd name="T53" fmla="*/ 84 h 185"/>
                  <a:gd name="T54" fmla="*/ 166 w 172"/>
                  <a:gd name="T55" fmla="*/ 84 h 185"/>
                  <a:gd name="T56" fmla="*/ 172 w 172"/>
                  <a:gd name="T57" fmla="*/ 54 h 185"/>
                  <a:gd name="T58" fmla="*/ 150 w 172"/>
                  <a:gd name="T59" fmla="*/ 39 h 185"/>
                  <a:gd name="T60" fmla="*/ 130 w 172"/>
                  <a:gd name="T61" fmla="*/ 39 h 185"/>
                  <a:gd name="T62" fmla="*/ 130 w 172"/>
                  <a:gd name="T63" fmla="*/ 32 h 185"/>
                  <a:gd name="T64" fmla="*/ 124 w 172"/>
                  <a:gd name="T65" fmla="*/ 32 h 185"/>
                  <a:gd name="T66" fmla="*/ 124 w 172"/>
                  <a:gd name="T67" fmla="*/ 15 h 185"/>
                  <a:gd name="T68" fmla="*/ 102 w 172"/>
                  <a:gd name="T69" fmla="*/ 8 h 185"/>
                  <a:gd name="T70" fmla="*/ 102 w 172"/>
                  <a:gd name="T71" fmla="*/ 0 h 185"/>
                  <a:gd name="T72" fmla="*/ 102 w 172"/>
                  <a:gd name="T73" fmla="*/ 0 h 185"/>
                  <a:gd name="T74" fmla="*/ 102 w 172"/>
                  <a:gd name="T75" fmla="*/ 0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72" h="185">
                    <a:moveTo>
                      <a:pt x="102" y="0"/>
                    </a:moveTo>
                    <a:lnTo>
                      <a:pt x="87" y="8"/>
                    </a:lnTo>
                    <a:lnTo>
                      <a:pt x="87" y="32"/>
                    </a:lnTo>
                    <a:lnTo>
                      <a:pt x="58" y="47"/>
                    </a:lnTo>
                    <a:lnTo>
                      <a:pt x="52" y="47"/>
                    </a:lnTo>
                    <a:lnTo>
                      <a:pt x="45" y="39"/>
                    </a:lnTo>
                    <a:lnTo>
                      <a:pt x="37" y="39"/>
                    </a:lnTo>
                    <a:lnTo>
                      <a:pt x="45" y="54"/>
                    </a:lnTo>
                    <a:lnTo>
                      <a:pt x="30" y="62"/>
                    </a:lnTo>
                    <a:lnTo>
                      <a:pt x="30" y="54"/>
                    </a:lnTo>
                    <a:lnTo>
                      <a:pt x="0" y="62"/>
                    </a:lnTo>
                    <a:lnTo>
                      <a:pt x="0" y="76"/>
                    </a:lnTo>
                    <a:lnTo>
                      <a:pt x="37" y="84"/>
                    </a:lnTo>
                    <a:lnTo>
                      <a:pt x="52" y="106"/>
                    </a:lnTo>
                    <a:lnTo>
                      <a:pt x="45" y="168"/>
                    </a:lnTo>
                    <a:lnTo>
                      <a:pt x="58" y="178"/>
                    </a:lnTo>
                    <a:lnTo>
                      <a:pt x="102" y="185"/>
                    </a:lnTo>
                    <a:lnTo>
                      <a:pt x="102" y="178"/>
                    </a:lnTo>
                    <a:lnTo>
                      <a:pt x="124" y="168"/>
                    </a:lnTo>
                    <a:lnTo>
                      <a:pt x="150" y="178"/>
                    </a:lnTo>
                    <a:lnTo>
                      <a:pt x="161" y="178"/>
                    </a:lnTo>
                    <a:lnTo>
                      <a:pt x="166" y="160"/>
                    </a:lnTo>
                    <a:lnTo>
                      <a:pt x="161" y="138"/>
                    </a:lnTo>
                    <a:lnTo>
                      <a:pt x="161" y="101"/>
                    </a:lnTo>
                    <a:lnTo>
                      <a:pt x="150" y="106"/>
                    </a:lnTo>
                    <a:lnTo>
                      <a:pt x="150" y="101"/>
                    </a:lnTo>
                    <a:lnTo>
                      <a:pt x="161" y="84"/>
                    </a:lnTo>
                    <a:lnTo>
                      <a:pt x="166" y="84"/>
                    </a:lnTo>
                    <a:lnTo>
                      <a:pt x="172" y="54"/>
                    </a:lnTo>
                    <a:lnTo>
                      <a:pt x="150" y="39"/>
                    </a:lnTo>
                    <a:lnTo>
                      <a:pt x="130" y="39"/>
                    </a:lnTo>
                    <a:lnTo>
                      <a:pt x="130" y="32"/>
                    </a:lnTo>
                    <a:lnTo>
                      <a:pt x="124" y="32"/>
                    </a:lnTo>
                    <a:lnTo>
                      <a:pt x="124" y="15"/>
                    </a:lnTo>
                    <a:lnTo>
                      <a:pt x="102" y="8"/>
                    </a:lnTo>
                    <a:lnTo>
                      <a:pt x="102" y="0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75" name="Freeform 312"/>
              <p:cNvSpPr>
                <a:spLocks/>
              </p:cNvSpPr>
              <p:nvPr/>
            </p:nvSpPr>
            <p:spPr bwMode="auto">
              <a:xfrm>
                <a:off x="4105275" y="3765550"/>
                <a:ext cx="280988" cy="261938"/>
              </a:xfrm>
              <a:custGeom>
                <a:avLst/>
                <a:gdLst>
                  <a:gd name="T0" fmla="*/ 8 w 159"/>
                  <a:gd name="T1" fmla="*/ 42 h 149"/>
                  <a:gd name="T2" fmla="*/ 43 w 159"/>
                  <a:gd name="T3" fmla="*/ 42 h 149"/>
                  <a:gd name="T4" fmla="*/ 43 w 159"/>
                  <a:gd name="T5" fmla="*/ 48 h 149"/>
                  <a:gd name="T6" fmla="*/ 30 w 159"/>
                  <a:gd name="T7" fmla="*/ 57 h 149"/>
                  <a:gd name="T8" fmla="*/ 30 w 159"/>
                  <a:gd name="T9" fmla="*/ 79 h 149"/>
                  <a:gd name="T10" fmla="*/ 23 w 159"/>
                  <a:gd name="T11" fmla="*/ 87 h 149"/>
                  <a:gd name="T12" fmla="*/ 30 w 159"/>
                  <a:gd name="T13" fmla="*/ 117 h 149"/>
                  <a:gd name="T14" fmla="*/ 23 w 159"/>
                  <a:gd name="T15" fmla="*/ 136 h 149"/>
                  <a:gd name="T16" fmla="*/ 52 w 159"/>
                  <a:gd name="T17" fmla="*/ 149 h 149"/>
                  <a:gd name="T18" fmla="*/ 57 w 159"/>
                  <a:gd name="T19" fmla="*/ 141 h 149"/>
                  <a:gd name="T20" fmla="*/ 94 w 159"/>
                  <a:gd name="T21" fmla="*/ 141 h 149"/>
                  <a:gd name="T22" fmla="*/ 129 w 159"/>
                  <a:gd name="T23" fmla="*/ 102 h 149"/>
                  <a:gd name="T24" fmla="*/ 115 w 159"/>
                  <a:gd name="T25" fmla="*/ 87 h 149"/>
                  <a:gd name="T26" fmla="*/ 135 w 159"/>
                  <a:gd name="T27" fmla="*/ 57 h 149"/>
                  <a:gd name="T28" fmla="*/ 159 w 159"/>
                  <a:gd name="T29" fmla="*/ 42 h 149"/>
                  <a:gd name="T30" fmla="*/ 159 w 159"/>
                  <a:gd name="T31" fmla="*/ 25 h 149"/>
                  <a:gd name="T32" fmla="*/ 115 w 159"/>
                  <a:gd name="T33" fmla="*/ 18 h 149"/>
                  <a:gd name="T34" fmla="*/ 100 w 159"/>
                  <a:gd name="T35" fmla="*/ 10 h 149"/>
                  <a:gd name="T36" fmla="*/ 15 w 159"/>
                  <a:gd name="T37" fmla="*/ 0 h 149"/>
                  <a:gd name="T38" fmla="*/ 8 w 159"/>
                  <a:gd name="T39" fmla="*/ 10 h 149"/>
                  <a:gd name="T40" fmla="*/ 0 w 159"/>
                  <a:gd name="T41" fmla="*/ 10 h 149"/>
                  <a:gd name="T42" fmla="*/ 0 w 159"/>
                  <a:gd name="T43" fmla="*/ 18 h 149"/>
                  <a:gd name="T44" fmla="*/ 8 w 159"/>
                  <a:gd name="T45" fmla="*/ 42 h 149"/>
                  <a:gd name="T46" fmla="*/ 8 w 159"/>
                  <a:gd name="T47" fmla="*/ 42 h 149"/>
                  <a:gd name="T48" fmla="*/ 8 w 159"/>
                  <a:gd name="T49" fmla="*/ 42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59" h="149">
                    <a:moveTo>
                      <a:pt x="8" y="42"/>
                    </a:moveTo>
                    <a:lnTo>
                      <a:pt x="43" y="42"/>
                    </a:lnTo>
                    <a:lnTo>
                      <a:pt x="43" y="48"/>
                    </a:lnTo>
                    <a:lnTo>
                      <a:pt x="30" y="57"/>
                    </a:lnTo>
                    <a:lnTo>
                      <a:pt x="30" y="79"/>
                    </a:lnTo>
                    <a:lnTo>
                      <a:pt x="23" y="87"/>
                    </a:lnTo>
                    <a:lnTo>
                      <a:pt x="30" y="117"/>
                    </a:lnTo>
                    <a:lnTo>
                      <a:pt x="23" y="136"/>
                    </a:lnTo>
                    <a:lnTo>
                      <a:pt x="52" y="149"/>
                    </a:lnTo>
                    <a:lnTo>
                      <a:pt x="57" y="141"/>
                    </a:lnTo>
                    <a:lnTo>
                      <a:pt x="94" y="141"/>
                    </a:lnTo>
                    <a:lnTo>
                      <a:pt x="129" y="102"/>
                    </a:lnTo>
                    <a:lnTo>
                      <a:pt x="115" y="87"/>
                    </a:lnTo>
                    <a:lnTo>
                      <a:pt x="135" y="57"/>
                    </a:lnTo>
                    <a:lnTo>
                      <a:pt x="159" y="42"/>
                    </a:lnTo>
                    <a:lnTo>
                      <a:pt x="159" y="25"/>
                    </a:lnTo>
                    <a:lnTo>
                      <a:pt x="115" y="18"/>
                    </a:lnTo>
                    <a:lnTo>
                      <a:pt x="100" y="10"/>
                    </a:lnTo>
                    <a:lnTo>
                      <a:pt x="15" y="0"/>
                    </a:lnTo>
                    <a:lnTo>
                      <a:pt x="8" y="10"/>
                    </a:lnTo>
                    <a:lnTo>
                      <a:pt x="0" y="10"/>
                    </a:lnTo>
                    <a:lnTo>
                      <a:pt x="0" y="18"/>
                    </a:lnTo>
                    <a:lnTo>
                      <a:pt x="8" y="42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76" name="Freeform 313"/>
              <p:cNvSpPr>
                <a:spLocks/>
              </p:cNvSpPr>
              <p:nvPr/>
            </p:nvSpPr>
            <p:spPr bwMode="auto">
              <a:xfrm>
                <a:off x="4105275" y="3840163"/>
                <a:ext cx="79375" cy="163512"/>
              </a:xfrm>
              <a:custGeom>
                <a:avLst/>
                <a:gdLst>
                  <a:gd name="T0" fmla="*/ 23 w 45"/>
                  <a:gd name="T1" fmla="*/ 94 h 94"/>
                  <a:gd name="T2" fmla="*/ 28 w 45"/>
                  <a:gd name="T3" fmla="*/ 77 h 94"/>
                  <a:gd name="T4" fmla="*/ 23 w 45"/>
                  <a:gd name="T5" fmla="*/ 47 h 94"/>
                  <a:gd name="T6" fmla="*/ 28 w 45"/>
                  <a:gd name="T7" fmla="*/ 40 h 94"/>
                  <a:gd name="T8" fmla="*/ 28 w 45"/>
                  <a:gd name="T9" fmla="*/ 18 h 94"/>
                  <a:gd name="T10" fmla="*/ 45 w 45"/>
                  <a:gd name="T11" fmla="*/ 8 h 94"/>
                  <a:gd name="T12" fmla="*/ 45 w 45"/>
                  <a:gd name="T13" fmla="*/ 0 h 94"/>
                  <a:gd name="T14" fmla="*/ 8 w 45"/>
                  <a:gd name="T15" fmla="*/ 0 h 94"/>
                  <a:gd name="T16" fmla="*/ 0 w 45"/>
                  <a:gd name="T17" fmla="*/ 64 h 94"/>
                  <a:gd name="T18" fmla="*/ 8 w 45"/>
                  <a:gd name="T19" fmla="*/ 64 h 94"/>
                  <a:gd name="T20" fmla="*/ 0 w 45"/>
                  <a:gd name="T21" fmla="*/ 94 h 94"/>
                  <a:gd name="T22" fmla="*/ 23 w 45"/>
                  <a:gd name="T23" fmla="*/ 94 h 94"/>
                  <a:gd name="T24" fmla="*/ 23 w 45"/>
                  <a:gd name="T25" fmla="*/ 94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5" h="94">
                    <a:moveTo>
                      <a:pt x="23" y="94"/>
                    </a:moveTo>
                    <a:lnTo>
                      <a:pt x="28" y="77"/>
                    </a:lnTo>
                    <a:lnTo>
                      <a:pt x="23" y="47"/>
                    </a:lnTo>
                    <a:lnTo>
                      <a:pt x="28" y="40"/>
                    </a:lnTo>
                    <a:lnTo>
                      <a:pt x="28" y="18"/>
                    </a:lnTo>
                    <a:lnTo>
                      <a:pt x="45" y="8"/>
                    </a:lnTo>
                    <a:lnTo>
                      <a:pt x="45" y="0"/>
                    </a:lnTo>
                    <a:lnTo>
                      <a:pt x="8" y="0"/>
                    </a:lnTo>
                    <a:lnTo>
                      <a:pt x="0" y="64"/>
                    </a:lnTo>
                    <a:lnTo>
                      <a:pt x="8" y="64"/>
                    </a:lnTo>
                    <a:lnTo>
                      <a:pt x="0" y="94"/>
                    </a:lnTo>
                    <a:lnTo>
                      <a:pt x="23" y="94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77" name="Freeform 314"/>
              <p:cNvSpPr>
                <a:spLocks/>
              </p:cNvSpPr>
              <p:nvPr/>
            </p:nvSpPr>
            <p:spPr bwMode="auto">
              <a:xfrm>
                <a:off x="4484688" y="3654425"/>
                <a:ext cx="273050" cy="328613"/>
              </a:xfrm>
              <a:custGeom>
                <a:avLst/>
                <a:gdLst>
                  <a:gd name="T0" fmla="*/ 7 w 156"/>
                  <a:gd name="T1" fmla="*/ 69 h 188"/>
                  <a:gd name="T2" fmla="*/ 22 w 156"/>
                  <a:gd name="T3" fmla="*/ 59 h 188"/>
                  <a:gd name="T4" fmla="*/ 43 w 156"/>
                  <a:gd name="T5" fmla="*/ 69 h 188"/>
                  <a:gd name="T6" fmla="*/ 57 w 156"/>
                  <a:gd name="T7" fmla="*/ 91 h 188"/>
                  <a:gd name="T8" fmla="*/ 65 w 156"/>
                  <a:gd name="T9" fmla="*/ 91 h 188"/>
                  <a:gd name="T10" fmla="*/ 77 w 156"/>
                  <a:gd name="T11" fmla="*/ 112 h 188"/>
                  <a:gd name="T12" fmla="*/ 92 w 156"/>
                  <a:gd name="T13" fmla="*/ 122 h 188"/>
                  <a:gd name="T14" fmla="*/ 107 w 156"/>
                  <a:gd name="T15" fmla="*/ 144 h 188"/>
                  <a:gd name="T16" fmla="*/ 122 w 156"/>
                  <a:gd name="T17" fmla="*/ 144 h 188"/>
                  <a:gd name="T18" fmla="*/ 120 w 156"/>
                  <a:gd name="T19" fmla="*/ 165 h 188"/>
                  <a:gd name="T20" fmla="*/ 111 w 156"/>
                  <a:gd name="T21" fmla="*/ 188 h 188"/>
                  <a:gd name="T22" fmla="*/ 129 w 156"/>
                  <a:gd name="T23" fmla="*/ 181 h 188"/>
                  <a:gd name="T24" fmla="*/ 136 w 156"/>
                  <a:gd name="T25" fmla="*/ 166 h 188"/>
                  <a:gd name="T26" fmla="*/ 136 w 156"/>
                  <a:gd name="T27" fmla="*/ 129 h 188"/>
                  <a:gd name="T28" fmla="*/ 147 w 156"/>
                  <a:gd name="T29" fmla="*/ 151 h 188"/>
                  <a:gd name="T30" fmla="*/ 156 w 156"/>
                  <a:gd name="T31" fmla="*/ 144 h 188"/>
                  <a:gd name="T32" fmla="*/ 122 w 156"/>
                  <a:gd name="T33" fmla="*/ 112 h 188"/>
                  <a:gd name="T34" fmla="*/ 129 w 156"/>
                  <a:gd name="T35" fmla="*/ 106 h 188"/>
                  <a:gd name="T36" fmla="*/ 122 w 156"/>
                  <a:gd name="T37" fmla="*/ 106 h 188"/>
                  <a:gd name="T38" fmla="*/ 99 w 156"/>
                  <a:gd name="T39" fmla="*/ 91 h 188"/>
                  <a:gd name="T40" fmla="*/ 92 w 156"/>
                  <a:gd name="T41" fmla="*/ 77 h 188"/>
                  <a:gd name="T42" fmla="*/ 77 w 156"/>
                  <a:gd name="T43" fmla="*/ 59 h 188"/>
                  <a:gd name="T44" fmla="*/ 77 w 156"/>
                  <a:gd name="T45" fmla="*/ 30 h 188"/>
                  <a:gd name="T46" fmla="*/ 92 w 156"/>
                  <a:gd name="T47" fmla="*/ 30 h 188"/>
                  <a:gd name="T48" fmla="*/ 92 w 156"/>
                  <a:gd name="T49" fmla="*/ 8 h 188"/>
                  <a:gd name="T50" fmla="*/ 77 w 156"/>
                  <a:gd name="T51" fmla="*/ 0 h 188"/>
                  <a:gd name="T52" fmla="*/ 50 w 156"/>
                  <a:gd name="T53" fmla="*/ 0 h 188"/>
                  <a:gd name="T54" fmla="*/ 43 w 156"/>
                  <a:gd name="T55" fmla="*/ 15 h 188"/>
                  <a:gd name="T56" fmla="*/ 35 w 156"/>
                  <a:gd name="T57" fmla="*/ 8 h 188"/>
                  <a:gd name="T58" fmla="*/ 35 w 156"/>
                  <a:gd name="T59" fmla="*/ 15 h 188"/>
                  <a:gd name="T60" fmla="*/ 22 w 156"/>
                  <a:gd name="T61" fmla="*/ 15 h 188"/>
                  <a:gd name="T62" fmla="*/ 7 w 156"/>
                  <a:gd name="T63" fmla="*/ 30 h 188"/>
                  <a:gd name="T64" fmla="*/ 0 w 156"/>
                  <a:gd name="T65" fmla="*/ 30 h 188"/>
                  <a:gd name="T66" fmla="*/ 0 w 156"/>
                  <a:gd name="T67" fmla="*/ 47 h 188"/>
                  <a:gd name="T68" fmla="*/ 7 w 156"/>
                  <a:gd name="T69" fmla="*/ 69 h 188"/>
                  <a:gd name="T70" fmla="*/ 7 w 156"/>
                  <a:gd name="T71" fmla="*/ 69 h 188"/>
                  <a:gd name="T72" fmla="*/ 7 w 156"/>
                  <a:gd name="T73" fmla="*/ 69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56" h="188">
                    <a:moveTo>
                      <a:pt x="7" y="69"/>
                    </a:moveTo>
                    <a:lnTo>
                      <a:pt x="22" y="59"/>
                    </a:lnTo>
                    <a:lnTo>
                      <a:pt x="43" y="69"/>
                    </a:lnTo>
                    <a:lnTo>
                      <a:pt x="57" y="91"/>
                    </a:lnTo>
                    <a:lnTo>
                      <a:pt x="65" y="91"/>
                    </a:lnTo>
                    <a:lnTo>
                      <a:pt x="77" y="112"/>
                    </a:lnTo>
                    <a:lnTo>
                      <a:pt x="92" y="122"/>
                    </a:lnTo>
                    <a:lnTo>
                      <a:pt x="107" y="144"/>
                    </a:lnTo>
                    <a:lnTo>
                      <a:pt x="122" y="144"/>
                    </a:lnTo>
                    <a:lnTo>
                      <a:pt x="120" y="165"/>
                    </a:lnTo>
                    <a:lnTo>
                      <a:pt x="111" y="188"/>
                    </a:lnTo>
                    <a:lnTo>
                      <a:pt x="129" y="181"/>
                    </a:lnTo>
                    <a:lnTo>
                      <a:pt x="136" y="166"/>
                    </a:lnTo>
                    <a:lnTo>
                      <a:pt x="136" y="129"/>
                    </a:lnTo>
                    <a:lnTo>
                      <a:pt x="147" y="151"/>
                    </a:lnTo>
                    <a:lnTo>
                      <a:pt x="156" y="144"/>
                    </a:lnTo>
                    <a:lnTo>
                      <a:pt x="122" y="112"/>
                    </a:lnTo>
                    <a:lnTo>
                      <a:pt x="129" y="106"/>
                    </a:lnTo>
                    <a:lnTo>
                      <a:pt x="122" y="106"/>
                    </a:lnTo>
                    <a:lnTo>
                      <a:pt x="99" y="91"/>
                    </a:lnTo>
                    <a:lnTo>
                      <a:pt x="92" y="77"/>
                    </a:lnTo>
                    <a:lnTo>
                      <a:pt x="77" y="59"/>
                    </a:lnTo>
                    <a:lnTo>
                      <a:pt x="77" y="30"/>
                    </a:lnTo>
                    <a:lnTo>
                      <a:pt x="92" y="30"/>
                    </a:lnTo>
                    <a:lnTo>
                      <a:pt x="92" y="8"/>
                    </a:lnTo>
                    <a:lnTo>
                      <a:pt x="77" y="0"/>
                    </a:lnTo>
                    <a:lnTo>
                      <a:pt x="50" y="0"/>
                    </a:lnTo>
                    <a:lnTo>
                      <a:pt x="43" y="15"/>
                    </a:lnTo>
                    <a:lnTo>
                      <a:pt x="35" y="8"/>
                    </a:lnTo>
                    <a:lnTo>
                      <a:pt x="35" y="15"/>
                    </a:lnTo>
                    <a:lnTo>
                      <a:pt x="22" y="15"/>
                    </a:lnTo>
                    <a:lnTo>
                      <a:pt x="7" y="30"/>
                    </a:lnTo>
                    <a:lnTo>
                      <a:pt x="0" y="30"/>
                    </a:lnTo>
                    <a:lnTo>
                      <a:pt x="0" y="47"/>
                    </a:lnTo>
                    <a:lnTo>
                      <a:pt x="7" y="69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78" name="Freeform 315"/>
              <p:cNvSpPr>
                <a:spLocks/>
              </p:cNvSpPr>
              <p:nvPr/>
            </p:nvSpPr>
            <p:spPr bwMode="auto">
              <a:xfrm>
                <a:off x="4818062" y="3600449"/>
                <a:ext cx="228601" cy="187325"/>
              </a:xfrm>
              <a:custGeom>
                <a:avLst/>
                <a:gdLst>
                  <a:gd name="T0" fmla="*/ 15 w 130"/>
                  <a:gd name="T1" fmla="*/ 79 h 108"/>
                  <a:gd name="T2" fmla="*/ 38 w 130"/>
                  <a:gd name="T3" fmla="*/ 79 h 108"/>
                  <a:gd name="T4" fmla="*/ 38 w 130"/>
                  <a:gd name="T5" fmla="*/ 93 h 108"/>
                  <a:gd name="T6" fmla="*/ 43 w 130"/>
                  <a:gd name="T7" fmla="*/ 100 h 108"/>
                  <a:gd name="T8" fmla="*/ 50 w 130"/>
                  <a:gd name="T9" fmla="*/ 100 h 108"/>
                  <a:gd name="T10" fmla="*/ 80 w 130"/>
                  <a:gd name="T11" fmla="*/ 108 h 108"/>
                  <a:gd name="T12" fmla="*/ 92 w 130"/>
                  <a:gd name="T13" fmla="*/ 93 h 108"/>
                  <a:gd name="T14" fmla="*/ 114 w 130"/>
                  <a:gd name="T15" fmla="*/ 100 h 108"/>
                  <a:gd name="T16" fmla="*/ 114 w 130"/>
                  <a:gd name="T17" fmla="*/ 93 h 108"/>
                  <a:gd name="T18" fmla="*/ 130 w 130"/>
                  <a:gd name="T19" fmla="*/ 79 h 108"/>
                  <a:gd name="T20" fmla="*/ 130 w 130"/>
                  <a:gd name="T21" fmla="*/ 71 h 108"/>
                  <a:gd name="T22" fmla="*/ 107 w 130"/>
                  <a:gd name="T23" fmla="*/ 71 h 108"/>
                  <a:gd name="T24" fmla="*/ 107 w 130"/>
                  <a:gd name="T25" fmla="*/ 31 h 108"/>
                  <a:gd name="T26" fmla="*/ 92 w 130"/>
                  <a:gd name="T27" fmla="*/ 0 h 108"/>
                  <a:gd name="T28" fmla="*/ 85 w 130"/>
                  <a:gd name="T29" fmla="*/ 0 h 108"/>
                  <a:gd name="T30" fmla="*/ 63 w 130"/>
                  <a:gd name="T31" fmla="*/ 17 h 108"/>
                  <a:gd name="T32" fmla="*/ 23 w 130"/>
                  <a:gd name="T33" fmla="*/ 17 h 108"/>
                  <a:gd name="T34" fmla="*/ 15 w 130"/>
                  <a:gd name="T35" fmla="*/ 48 h 108"/>
                  <a:gd name="T36" fmla="*/ 0 w 130"/>
                  <a:gd name="T37" fmla="*/ 48 h 108"/>
                  <a:gd name="T38" fmla="*/ 15 w 130"/>
                  <a:gd name="T39" fmla="*/ 79 h 108"/>
                  <a:gd name="T40" fmla="*/ 15 w 130"/>
                  <a:gd name="T41" fmla="*/ 79 h 108"/>
                  <a:gd name="T42" fmla="*/ 15 w 130"/>
                  <a:gd name="T43" fmla="*/ 79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30" h="108">
                    <a:moveTo>
                      <a:pt x="15" y="79"/>
                    </a:moveTo>
                    <a:lnTo>
                      <a:pt x="38" y="79"/>
                    </a:lnTo>
                    <a:lnTo>
                      <a:pt x="38" y="93"/>
                    </a:lnTo>
                    <a:lnTo>
                      <a:pt x="43" y="100"/>
                    </a:lnTo>
                    <a:lnTo>
                      <a:pt x="50" y="100"/>
                    </a:lnTo>
                    <a:lnTo>
                      <a:pt x="80" y="108"/>
                    </a:lnTo>
                    <a:lnTo>
                      <a:pt x="92" y="93"/>
                    </a:lnTo>
                    <a:lnTo>
                      <a:pt x="114" y="100"/>
                    </a:lnTo>
                    <a:lnTo>
                      <a:pt x="114" y="93"/>
                    </a:lnTo>
                    <a:lnTo>
                      <a:pt x="130" y="79"/>
                    </a:lnTo>
                    <a:lnTo>
                      <a:pt x="130" y="71"/>
                    </a:lnTo>
                    <a:lnTo>
                      <a:pt x="107" y="71"/>
                    </a:lnTo>
                    <a:lnTo>
                      <a:pt x="107" y="31"/>
                    </a:lnTo>
                    <a:lnTo>
                      <a:pt x="92" y="0"/>
                    </a:lnTo>
                    <a:lnTo>
                      <a:pt x="85" y="0"/>
                    </a:lnTo>
                    <a:lnTo>
                      <a:pt x="63" y="17"/>
                    </a:lnTo>
                    <a:lnTo>
                      <a:pt x="23" y="17"/>
                    </a:lnTo>
                    <a:lnTo>
                      <a:pt x="15" y="48"/>
                    </a:lnTo>
                    <a:lnTo>
                      <a:pt x="0" y="48"/>
                    </a:lnTo>
                    <a:lnTo>
                      <a:pt x="15" y="79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79" name="Freeform 316"/>
              <p:cNvSpPr>
                <a:spLocks/>
              </p:cNvSpPr>
              <p:nvPr/>
            </p:nvSpPr>
            <p:spPr bwMode="auto">
              <a:xfrm>
                <a:off x="4818062" y="3851275"/>
                <a:ext cx="150812" cy="128587"/>
              </a:xfrm>
              <a:custGeom>
                <a:avLst/>
                <a:gdLst>
                  <a:gd name="T0" fmla="*/ 15 w 85"/>
                  <a:gd name="T1" fmla="*/ 10 h 74"/>
                  <a:gd name="T2" fmla="*/ 42 w 85"/>
                  <a:gd name="T3" fmla="*/ 0 h 74"/>
                  <a:gd name="T4" fmla="*/ 57 w 85"/>
                  <a:gd name="T5" fmla="*/ 0 h 74"/>
                  <a:gd name="T6" fmla="*/ 80 w 85"/>
                  <a:gd name="T7" fmla="*/ 10 h 74"/>
                  <a:gd name="T8" fmla="*/ 85 w 85"/>
                  <a:gd name="T9" fmla="*/ 0 h 74"/>
                  <a:gd name="T10" fmla="*/ 80 w 85"/>
                  <a:gd name="T11" fmla="*/ 17 h 74"/>
                  <a:gd name="T12" fmla="*/ 57 w 85"/>
                  <a:gd name="T13" fmla="*/ 10 h 74"/>
                  <a:gd name="T14" fmla="*/ 48 w 85"/>
                  <a:gd name="T15" fmla="*/ 17 h 74"/>
                  <a:gd name="T16" fmla="*/ 48 w 85"/>
                  <a:gd name="T17" fmla="*/ 32 h 74"/>
                  <a:gd name="T18" fmla="*/ 42 w 85"/>
                  <a:gd name="T19" fmla="*/ 32 h 74"/>
                  <a:gd name="T20" fmla="*/ 37 w 85"/>
                  <a:gd name="T21" fmla="*/ 17 h 74"/>
                  <a:gd name="T22" fmla="*/ 37 w 85"/>
                  <a:gd name="T23" fmla="*/ 32 h 74"/>
                  <a:gd name="T24" fmla="*/ 42 w 85"/>
                  <a:gd name="T25" fmla="*/ 46 h 74"/>
                  <a:gd name="T26" fmla="*/ 57 w 85"/>
                  <a:gd name="T27" fmla="*/ 68 h 74"/>
                  <a:gd name="T28" fmla="*/ 48 w 85"/>
                  <a:gd name="T29" fmla="*/ 68 h 74"/>
                  <a:gd name="T30" fmla="*/ 48 w 85"/>
                  <a:gd name="T31" fmla="*/ 74 h 74"/>
                  <a:gd name="T32" fmla="*/ 37 w 85"/>
                  <a:gd name="T33" fmla="*/ 68 h 74"/>
                  <a:gd name="T34" fmla="*/ 15 w 85"/>
                  <a:gd name="T35" fmla="*/ 68 h 74"/>
                  <a:gd name="T36" fmla="*/ 0 w 85"/>
                  <a:gd name="T37" fmla="*/ 39 h 74"/>
                  <a:gd name="T38" fmla="*/ 15 w 85"/>
                  <a:gd name="T39" fmla="*/ 17 h 74"/>
                  <a:gd name="T40" fmla="*/ 15 w 85"/>
                  <a:gd name="T41" fmla="*/ 10 h 74"/>
                  <a:gd name="T42" fmla="*/ 15 w 85"/>
                  <a:gd name="T43" fmla="*/ 10 h 74"/>
                  <a:gd name="T44" fmla="*/ 15 w 85"/>
                  <a:gd name="T45" fmla="*/ 1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85" h="74">
                    <a:moveTo>
                      <a:pt x="15" y="10"/>
                    </a:moveTo>
                    <a:lnTo>
                      <a:pt x="42" y="0"/>
                    </a:lnTo>
                    <a:lnTo>
                      <a:pt x="57" y="0"/>
                    </a:lnTo>
                    <a:lnTo>
                      <a:pt x="80" y="10"/>
                    </a:lnTo>
                    <a:lnTo>
                      <a:pt x="85" y="0"/>
                    </a:lnTo>
                    <a:lnTo>
                      <a:pt x="80" y="17"/>
                    </a:lnTo>
                    <a:lnTo>
                      <a:pt x="57" y="10"/>
                    </a:lnTo>
                    <a:lnTo>
                      <a:pt x="48" y="17"/>
                    </a:lnTo>
                    <a:lnTo>
                      <a:pt x="48" y="32"/>
                    </a:lnTo>
                    <a:lnTo>
                      <a:pt x="42" y="32"/>
                    </a:lnTo>
                    <a:lnTo>
                      <a:pt x="37" y="17"/>
                    </a:lnTo>
                    <a:lnTo>
                      <a:pt x="37" y="32"/>
                    </a:lnTo>
                    <a:lnTo>
                      <a:pt x="42" y="46"/>
                    </a:lnTo>
                    <a:lnTo>
                      <a:pt x="57" y="68"/>
                    </a:lnTo>
                    <a:lnTo>
                      <a:pt x="48" y="68"/>
                    </a:lnTo>
                    <a:lnTo>
                      <a:pt x="48" y="74"/>
                    </a:lnTo>
                    <a:lnTo>
                      <a:pt x="37" y="68"/>
                    </a:lnTo>
                    <a:lnTo>
                      <a:pt x="15" y="68"/>
                    </a:lnTo>
                    <a:lnTo>
                      <a:pt x="0" y="39"/>
                    </a:lnTo>
                    <a:lnTo>
                      <a:pt x="15" y="17"/>
                    </a:lnTo>
                    <a:lnTo>
                      <a:pt x="15" y="10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80" name="Freeform 317"/>
              <p:cNvSpPr>
                <a:spLocks/>
              </p:cNvSpPr>
              <p:nvPr/>
            </p:nvSpPr>
            <p:spPr bwMode="auto">
              <a:xfrm>
                <a:off x="4576763" y="3302000"/>
                <a:ext cx="47625" cy="41275"/>
              </a:xfrm>
              <a:custGeom>
                <a:avLst/>
                <a:gdLst>
                  <a:gd name="T0" fmla="*/ 0 w 26"/>
                  <a:gd name="T1" fmla="*/ 13 h 24"/>
                  <a:gd name="T2" fmla="*/ 0 w 26"/>
                  <a:gd name="T3" fmla="*/ 24 h 24"/>
                  <a:gd name="T4" fmla="*/ 26 w 26"/>
                  <a:gd name="T5" fmla="*/ 24 h 24"/>
                  <a:gd name="T6" fmla="*/ 26 w 26"/>
                  <a:gd name="T7" fmla="*/ 0 h 24"/>
                  <a:gd name="T8" fmla="*/ 0 w 26"/>
                  <a:gd name="T9" fmla="*/ 13 h 24"/>
                  <a:gd name="T10" fmla="*/ 0 w 26"/>
                  <a:gd name="T11" fmla="*/ 13 h 24"/>
                  <a:gd name="T12" fmla="*/ 0 w 26"/>
                  <a:gd name="T13" fmla="*/ 1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24">
                    <a:moveTo>
                      <a:pt x="0" y="13"/>
                    </a:moveTo>
                    <a:lnTo>
                      <a:pt x="0" y="24"/>
                    </a:lnTo>
                    <a:lnTo>
                      <a:pt x="26" y="24"/>
                    </a:lnTo>
                    <a:lnTo>
                      <a:pt x="26" y="0"/>
                    </a:lnTo>
                    <a:lnTo>
                      <a:pt x="0" y="13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81" name="Freeform 318"/>
              <p:cNvSpPr>
                <a:spLocks/>
              </p:cNvSpPr>
              <p:nvPr/>
            </p:nvSpPr>
            <p:spPr bwMode="auto">
              <a:xfrm>
                <a:off x="4576763" y="3343275"/>
                <a:ext cx="47625" cy="49213"/>
              </a:xfrm>
              <a:custGeom>
                <a:avLst/>
                <a:gdLst>
                  <a:gd name="T0" fmla="*/ 0 w 26"/>
                  <a:gd name="T1" fmla="*/ 0 h 28"/>
                  <a:gd name="T2" fmla="*/ 0 w 26"/>
                  <a:gd name="T3" fmla="*/ 28 h 28"/>
                  <a:gd name="T4" fmla="*/ 26 w 26"/>
                  <a:gd name="T5" fmla="*/ 0 h 28"/>
                  <a:gd name="T6" fmla="*/ 0 w 26"/>
                  <a:gd name="T7" fmla="*/ 0 h 28"/>
                  <a:gd name="T8" fmla="*/ 0 w 26"/>
                  <a:gd name="T9" fmla="*/ 0 h 28"/>
                  <a:gd name="T10" fmla="*/ 0 w 26"/>
                  <a:gd name="T11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28">
                    <a:moveTo>
                      <a:pt x="0" y="0"/>
                    </a:moveTo>
                    <a:lnTo>
                      <a:pt x="0" y="28"/>
                    </a:lnTo>
                    <a:lnTo>
                      <a:pt x="2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82" name="Freeform 319"/>
              <p:cNvSpPr>
                <a:spLocks/>
              </p:cNvSpPr>
              <p:nvPr/>
            </p:nvSpPr>
            <p:spPr bwMode="auto">
              <a:xfrm>
                <a:off x="4156075" y="3175000"/>
                <a:ext cx="198438" cy="373063"/>
              </a:xfrm>
              <a:custGeom>
                <a:avLst/>
                <a:gdLst>
                  <a:gd name="T0" fmla="*/ 24 w 114"/>
                  <a:gd name="T1" fmla="*/ 213 h 213"/>
                  <a:gd name="T2" fmla="*/ 29 w 114"/>
                  <a:gd name="T3" fmla="*/ 198 h 213"/>
                  <a:gd name="T4" fmla="*/ 44 w 114"/>
                  <a:gd name="T5" fmla="*/ 213 h 213"/>
                  <a:gd name="T6" fmla="*/ 44 w 114"/>
                  <a:gd name="T7" fmla="*/ 198 h 213"/>
                  <a:gd name="T8" fmla="*/ 61 w 114"/>
                  <a:gd name="T9" fmla="*/ 191 h 213"/>
                  <a:gd name="T10" fmla="*/ 67 w 114"/>
                  <a:gd name="T11" fmla="*/ 198 h 213"/>
                  <a:gd name="T12" fmla="*/ 74 w 114"/>
                  <a:gd name="T13" fmla="*/ 191 h 213"/>
                  <a:gd name="T14" fmla="*/ 107 w 114"/>
                  <a:gd name="T15" fmla="*/ 191 h 213"/>
                  <a:gd name="T16" fmla="*/ 114 w 114"/>
                  <a:gd name="T17" fmla="*/ 183 h 213"/>
                  <a:gd name="T18" fmla="*/ 102 w 114"/>
                  <a:gd name="T19" fmla="*/ 183 h 213"/>
                  <a:gd name="T20" fmla="*/ 114 w 114"/>
                  <a:gd name="T21" fmla="*/ 154 h 213"/>
                  <a:gd name="T22" fmla="*/ 107 w 114"/>
                  <a:gd name="T23" fmla="*/ 149 h 213"/>
                  <a:gd name="T24" fmla="*/ 87 w 114"/>
                  <a:gd name="T25" fmla="*/ 149 h 213"/>
                  <a:gd name="T26" fmla="*/ 102 w 114"/>
                  <a:gd name="T27" fmla="*/ 141 h 213"/>
                  <a:gd name="T28" fmla="*/ 102 w 114"/>
                  <a:gd name="T29" fmla="*/ 133 h 213"/>
                  <a:gd name="T30" fmla="*/ 87 w 114"/>
                  <a:gd name="T31" fmla="*/ 109 h 213"/>
                  <a:gd name="T32" fmla="*/ 81 w 114"/>
                  <a:gd name="T33" fmla="*/ 102 h 213"/>
                  <a:gd name="T34" fmla="*/ 67 w 114"/>
                  <a:gd name="T35" fmla="*/ 74 h 213"/>
                  <a:gd name="T36" fmla="*/ 44 w 114"/>
                  <a:gd name="T37" fmla="*/ 65 h 213"/>
                  <a:gd name="T38" fmla="*/ 74 w 114"/>
                  <a:gd name="T39" fmla="*/ 30 h 213"/>
                  <a:gd name="T40" fmla="*/ 67 w 114"/>
                  <a:gd name="T41" fmla="*/ 22 h 213"/>
                  <a:gd name="T42" fmla="*/ 37 w 114"/>
                  <a:gd name="T43" fmla="*/ 30 h 213"/>
                  <a:gd name="T44" fmla="*/ 37 w 114"/>
                  <a:gd name="T45" fmla="*/ 13 h 213"/>
                  <a:gd name="T46" fmla="*/ 61 w 114"/>
                  <a:gd name="T47" fmla="*/ 0 h 213"/>
                  <a:gd name="T48" fmla="*/ 29 w 114"/>
                  <a:gd name="T49" fmla="*/ 0 h 213"/>
                  <a:gd name="T50" fmla="*/ 17 w 114"/>
                  <a:gd name="T51" fmla="*/ 30 h 213"/>
                  <a:gd name="T52" fmla="*/ 0 w 114"/>
                  <a:gd name="T53" fmla="*/ 30 h 213"/>
                  <a:gd name="T54" fmla="*/ 17 w 114"/>
                  <a:gd name="T55" fmla="*/ 35 h 213"/>
                  <a:gd name="T56" fmla="*/ 24 w 114"/>
                  <a:gd name="T57" fmla="*/ 35 h 213"/>
                  <a:gd name="T58" fmla="*/ 17 w 114"/>
                  <a:gd name="T59" fmla="*/ 59 h 213"/>
                  <a:gd name="T60" fmla="*/ 24 w 114"/>
                  <a:gd name="T61" fmla="*/ 59 h 213"/>
                  <a:gd name="T62" fmla="*/ 24 w 114"/>
                  <a:gd name="T63" fmla="*/ 65 h 213"/>
                  <a:gd name="T64" fmla="*/ 17 w 114"/>
                  <a:gd name="T65" fmla="*/ 74 h 213"/>
                  <a:gd name="T66" fmla="*/ 24 w 114"/>
                  <a:gd name="T67" fmla="*/ 74 h 213"/>
                  <a:gd name="T68" fmla="*/ 29 w 114"/>
                  <a:gd name="T69" fmla="*/ 82 h 213"/>
                  <a:gd name="T70" fmla="*/ 24 w 114"/>
                  <a:gd name="T71" fmla="*/ 96 h 213"/>
                  <a:gd name="T72" fmla="*/ 29 w 114"/>
                  <a:gd name="T73" fmla="*/ 102 h 213"/>
                  <a:gd name="T74" fmla="*/ 44 w 114"/>
                  <a:gd name="T75" fmla="*/ 96 h 213"/>
                  <a:gd name="T76" fmla="*/ 44 w 114"/>
                  <a:gd name="T77" fmla="*/ 109 h 213"/>
                  <a:gd name="T78" fmla="*/ 61 w 114"/>
                  <a:gd name="T79" fmla="*/ 109 h 213"/>
                  <a:gd name="T80" fmla="*/ 61 w 114"/>
                  <a:gd name="T81" fmla="*/ 133 h 213"/>
                  <a:gd name="T82" fmla="*/ 29 w 114"/>
                  <a:gd name="T83" fmla="*/ 133 h 213"/>
                  <a:gd name="T84" fmla="*/ 37 w 114"/>
                  <a:gd name="T85" fmla="*/ 141 h 213"/>
                  <a:gd name="T86" fmla="*/ 29 w 114"/>
                  <a:gd name="T87" fmla="*/ 149 h 213"/>
                  <a:gd name="T88" fmla="*/ 37 w 114"/>
                  <a:gd name="T89" fmla="*/ 149 h 213"/>
                  <a:gd name="T90" fmla="*/ 37 w 114"/>
                  <a:gd name="T91" fmla="*/ 154 h 213"/>
                  <a:gd name="T92" fmla="*/ 24 w 114"/>
                  <a:gd name="T93" fmla="*/ 161 h 213"/>
                  <a:gd name="T94" fmla="*/ 29 w 114"/>
                  <a:gd name="T95" fmla="*/ 175 h 213"/>
                  <a:gd name="T96" fmla="*/ 37 w 114"/>
                  <a:gd name="T97" fmla="*/ 175 h 213"/>
                  <a:gd name="T98" fmla="*/ 44 w 114"/>
                  <a:gd name="T99" fmla="*/ 183 h 213"/>
                  <a:gd name="T100" fmla="*/ 61 w 114"/>
                  <a:gd name="T101" fmla="*/ 175 h 213"/>
                  <a:gd name="T102" fmla="*/ 61 w 114"/>
                  <a:gd name="T103" fmla="*/ 183 h 213"/>
                  <a:gd name="T104" fmla="*/ 37 w 114"/>
                  <a:gd name="T105" fmla="*/ 183 h 213"/>
                  <a:gd name="T106" fmla="*/ 24 w 114"/>
                  <a:gd name="T107" fmla="*/ 213 h 213"/>
                  <a:gd name="T108" fmla="*/ 24 w 114"/>
                  <a:gd name="T109" fmla="*/ 213 h 213"/>
                  <a:gd name="T110" fmla="*/ 24 w 114"/>
                  <a:gd name="T111" fmla="*/ 213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4" h="213">
                    <a:moveTo>
                      <a:pt x="24" y="213"/>
                    </a:moveTo>
                    <a:lnTo>
                      <a:pt x="29" y="198"/>
                    </a:lnTo>
                    <a:lnTo>
                      <a:pt x="44" y="213"/>
                    </a:lnTo>
                    <a:lnTo>
                      <a:pt x="44" y="198"/>
                    </a:lnTo>
                    <a:lnTo>
                      <a:pt x="61" y="191"/>
                    </a:lnTo>
                    <a:lnTo>
                      <a:pt x="67" y="198"/>
                    </a:lnTo>
                    <a:lnTo>
                      <a:pt x="74" y="191"/>
                    </a:lnTo>
                    <a:lnTo>
                      <a:pt x="107" y="191"/>
                    </a:lnTo>
                    <a:lnTo>
                      <a:pt x="114" y="183"/>
                    </a:lnTo>
                    <a:lnTo>
                      <a:pt x="102" y="183"/>
                    </a:lnTo>
                    <a:lnTo>
                      <a:pt x="114" y="154"/>
                    </a:lnTo>
                    <a:lnTo>
                      <a:pt x="107" y="149"/>
                    </a:lnTo>
                    <a:lnTo>
                      <a:pt x="87" y="149"/>
                    </a:lnTo>
                    <a:lnTo>
                      <a:pt x="102" y="141"/>
                    </a:lnTo>
                    <a:lnTo>
                      <a:pt x="102" y="133"/>
                    </a:lnTo>
                    <a:lnTo>
                      <a:pt x="87" y="109"/>
                    </a:lnTo>
                    <a:lnTo>
                      <a:pt x="81" y="102"/>
                    </a:lnTo>
                    <a:lnTo>
                      <a:pt x="67" y="74"/>
                    </a:lnTo>
                    <a:lnTo>
                      <a:pt x="44" y="65"/>
                    </a:lnTo>
                    <a:lnTo>
                      <a:pt x="74" y="30"/>
                    </a:lnTo>
                    <a:lnTo>
                      <a:pt x="67" y="22"/>
                    </a:lnTo>
                    <a:lnTo>
                      <a:pt x="37" y="30"/>
                    </a:lnTo>
                    <a:lnTo>
                      <a:pt x="37" y="13"/>
                    </a:lnTo>
                    <a:lnTo>
                      <a:pt x="61" y="0"/>
                    </a:lnTo>
                    <a:lnTo>
                      <a:pt x="29" y="0"/>
                    </a:lnTo>
                    <a:lnTo>
                      <a:pt x="17" y="30"/>
                    </a:lnTo>
                    <a:lnTo>
                      <a:pt x="0" y="30"/>
                    </a:lnTo>
                    <a:lnTo>
                      <a:pt x="17" y="35"/>
                    </a:lnTo>
                    <a:lnTo>
                      <a:pt x="24" y="35"/>
                    </a:lnTo>
                    <a:lnTo>
                      <a:pt x="17" y="59"/>
                    </a:lnTo>
                    <a:lnTo>
                      <a:pt x="24" y="59"/>
                    </a:lnTo>
                    <a:lnTo>
                      <a:pt x="24" y="65"/>
                    </a:lnTo>
                    <a:lnTo>
                      <a:pt x="17" y="74"/>
                    </a:lnTo>
                    <a:lnTo>
                      <a:pt x="24" y="74"/>
                    </a:lnTo>
                    <a:lnTo>
                      <a:pt x="29" y="82"/>
                    </a:lnTo>
                    <a:lnTo>
                      <a:pt x="24" y="96"/>
                    </a:lnTo>
                    <a:lnTo>
                      <a:pt x="29" y="102"/>
                    </a:lnTo>
                    <a:lnTo>
                      <a:pt x="44" y="96"/>
                    </a:lnTo>
                    <a:lnTo>
                      <a:pt x="44" y="109"/>
                    </a:lnTo>
                    <a:lnTo>
                      <a:pt x="61" y="109"/>
                    </a:lnTo>
                    <a:lnTo>
                      <a:pt x="61" y="133"/>
                    </a:lnTo>
                    <a:lnTo>
                      <a:pt x="29" y="133"/>
                    </a:lnTo>
                    <a:lnTo>
                      <a:pt x="37" y="141"/>
                    </a:lnTo>
                    <a:lnTo>
                      <a:pt x="29" y="149"/>
                    </a:lnTo>
                    <a:lnTo>
                      <a:pt x="37" y="149"/>
                    </a:lnTo>
                    <a:lnTo>
                      <a:pt x="37" y="154"/>
                    </a:lnTo>
                    <a:lnTo>
                      <a:pt x="24" y="161"/>
                    </a:lnTo>
                    <a:lnTo>
                      <a:pt x="29" y="175"/>
                    </a:lnTo>
                    <a:lnTo>
                      <a:pt x="37" y="175"/>
                    </a:lnTo>
                    <a:lnTo>
                      <a:pt x="44" y="183"/>
                    </a:lnTo>
                    <a:lnTo>
                      <a:pt x="61" y="175"/>
                    </a:lnTo>
                    <a:lnTo>
                      <a:pt x="61" y="183"/>
                    </a:lnTo>
                    <a:lnTo>
                      <a:pt x="37" y="183"/>
                    </a:lnTo>
                    <a:lnTo>
                      <a:pt x="24" y="213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83" name="Freeform 320"/>
              <p:cNvSpPr>
                <a:spLocks/>
              </p:cNvSpPr>
              <p:nvPr/>
            </p:nvSpPr>
            <p:spPr bwMode="auto">
              <a:xfrm>
                <a:off x="4522788" y="3802063"/>
                <a:ext cx="41275" cy="66675"/>
              </a:xfrm>
              <a:custGeom>
                <a:avLst/>
                <a:gdLst>
                  <a:gd name="T0" fmla="*/ 0 w 23"/>
                  <a:gd name="T1" fmla="*/ 7 h 38"/>
                  <a:gd name="T2" fmla="*/ 0 w 23"/>
                  <a:gd name="T3" fmla="*/ 30 h 38"/>
                  <a:gd name="T4" fmla="*/ 23 w 23"/>
                  <a:gd name="T5" fmla="*/ 38 h 38"/>
                  <a:gd name="T6" fmla="*/ 23 w 23"/>
                  <a:gd name="T7" fmla="*/ 0 h 38"/>
                  <a:gd name="T8" fmla="*/ 0 w 23"/>
                  <a:gd name="T9" fmla="*/ 7 h 38"/>
                  <a:gd name="T10" fmla="*/ 0 w 23"/>
                  <a:gd name="T11" fmla="*/ 7 h 38"/>
                  <a:gd name="T12" fmla="*/ 0 w 23"/>
                  <a:gd name="T13" fmla="*/ 7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" h="38">
                    <a:moveTo>
                      <a:pt x="0" y="7"/>
                    </a:moveTo>
                    <a:lnTo>
                      <a:pt x="0" y="30"/>
                    </a:lnTo>
                    <a:lnTo>
                      <a:pt x="23" y="38"/>
                    </a:lnTo>
                    <a:lnTo>
                      <a:pt x="23" y="0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84" name="Freeform 321"/>
              <p:cNvSpPr>
                <a:spLocks/>
              </p:cNvSpPr>
              <p:nvPr/>
            </p:nvSpPr>
            <p:spPr bwMode="auto">
              <a:xfrm>
                <a:off x="4506913" y="3868738"/>
                <a:ext cx="50800" cy="76200"/>
              </a:xfrm>
              <a:custGeom>
                <a:avLst/>
                <a:gdLst>
                  <a:gd name="T0" fmla="*/ 0 w 29"/>
                  <a:gd name="T1" fmla="*/ 0 h 44"/>
                  <a:gd name="T2" fmla="*/ 9 w 29"/>
                  <a:gd name="T3" fmla="*/ 36 h 44"/>
                  <a:gd name="T4" fmla="*/ 9 w 29"/>
                  <a:gd name="T5" fmla="*/ 44 h 44"/>
                  <a:gd name="T6" fmla="*/ 20 w 29"/>
                  <a:gd name="T7" fmla="*/ 36 h 44"/>
                  <a:gd name="T8" fmla="*/ 29 w 29"/>
                  <a:gd name="T9" fmla="*/ 7 h 44"/>
                  <a:gd name="T10" fmla="*/ 20 w 29"/>
                  <a:gd name="T11" fmla="*/ 0 h 44"/>
                  <a:gd name="T12" fmla="*/ 0 w 29"/>
                  <a:gd name="T13" fmla="*/ 0 h 44"/>
                  <a:gd name="T14" fmla="*/ 0 w 29"/>
                  <a:gd name="T15" fmla="*/ 0 h 44"/>
                  <a:gd name="T16" fmla="*/ 0 w 29"/>
                  <a:gd name="T17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" h="44">
                    <a:moveTo>
                      <a:pt x="0" y="0"/>
                    </a:moveTo>
                    <a:lnTo>
                      <a:pt x="9" y="36"/>
                    </a:lnTo>
                    <a:lnTo>
                      <a:pt x="9" y="44"/>
                    </a:lnTo>
                    <a:lnTo>
                      <a:pt x="20" y="36"/>
                    </a:lnTo>
                    <a:lnTo>
                      <a:pt x="29" y="7"/>
                    </a:lnTo>
                    <a:lnTo>
                      <a:pt x="2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85" name="Freeform 322"/>
              <p:cNvSpPr>
                <a:spLocks/>
              </p:cNvSpPr>
              <p:nvPr/>
            </p:nvSpPr>
            <p:spPr bwMode="auto">
              <a:xfrm>
                <a:off x="4640262" y="3970338"/>
                <a:ext cx="79375" cy="50799"/>
              </a:xfrm>
              <a:custGeom>
                <a:avLst/>
                <a:gdLst>
                  <a:gd name="T0" fmla="*/ 0 w 45"/>
                  <a:gd name="T1" fmla="*/ 0 h 29"/>
                  <a:gd name="T2" fmla="*/ 0 w 45"/>
                  <a:gd name="T3" fmla="*/ 9 h 29"/>
                  <a:gd name="T4" fmla="*/ 31 w 45"/>
                  <a:gd name="T5" fmla="*/ 29 h 29"/>
                  <a:gd name="T6" fmla="*/ 45 w 45"/>
                  <a:gd name="T7" fmla="*/ 0 h 29"/>
                  <a:gd name="T8" fmla="*/ 0 w 45"/>
                  <a:gd name="T9" fmla="*/ 0 h 29"/>
                  <a:gd name="T10" fmla="*/ 0 w 45"/>
                  <a:gd name="T11" fmla="*/ 0 h 29"/>
                  <a:gd name="T12" fmla="*/ 0 w 45"/>
                  <a:gd name="T13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5" h="29">
                    <a:moveTo>
                      <a:pt x="0" y="0"/>
                    </a:moveTo>
                    <a:lnTo>
                      <a:pt x="0" y="9"/>
                    </a:lnTo>
                    <a:lnTo>
                      <a:pt x="31" y="29"/>
                    </a:lnTo>
                    <a:lnTo>
                      <a:pt x="4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86" name="Freeform 323"/>
              <p:cNvSpPr>
                <a:spLocks/>
              </p:cNvSpPr>
              <p:nvPr/>
            </p:nvSpPr>
            <p:spPr bwMode="auto">
              <a:xfrm>
                <a:off x="4816475" y="3970338"/>
                <a:ext cx="53975" cy="50800"/>
              </a:xfrm>
              <a:custGeom>
                <a:avLst/>
                <a:gdLst>
                  <a:gd name="T0" fmla="*/ 0 w 30"/>
                  <a:gd name="T1" fmla="*/ 9 h 29"/>
                  <a:gd name="T2" fmla="*/ 7 w 30"/>
                  <a:gd name="T3" fmla="*/ 9 h 29"/>
                  <a:gd name="T4" fmla="*/ 7 w 30"/>
                  <a:gd name="T5" fmla="*/ 29 h 29"/>
                  <a:gd name="T6" fmla="*/ 30 w 30"/>
                  <a:gd name="T7" fmla="*/ 29 h 29"/>
                  <a:gd name="T8" fmla="*/ 24 w 30"/>
                  <a:gd name="T9" fmla="*/ 9 h 29"/>
                  <a:gd name="T10" fmla="*/ 30 w 30"/>
                  <a:gd name="T11" fmla="*/ 20 h 29"/>
                  <a:gd name="T12" fmla="*/ 30 w 30"/>
                  <a:gd name="T13" fmla="*/ 9 h 29"/>
                  <a:gd name="T14" fmla="*/ 7 w 30"/>
                  <a:gd name="T15" fmla="*/ 0 h 29"/>
                  <a:gd name="T16" fmla="*/ 0 w 30"/>
                  <a:gd name="T17" fmla="*/ 9 h 29"/>
                  <a:gd name="T18" fmla="*/ 0 w 30"/>
                  <a:gd name="T19" fmla="*/ 9 h 29"/>
                  <a:gd name="T20" fmla="*/ 0 w 30"/>
                  <a:gd name="T21" fmla="*/ 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0" h="29">
                    <a:moveTo>
                      <a:pt x="0" y="9"/>
                    </a:moveTo>
                    <a:lnTo>
                      <a:pt x="7" y="9"/>
                    </a:lnTo>
                    <a:lnTo>
                      <a:pt x="7" y="29"/>
                    </a:lnTo>
                    <a:lnTo>
                      <a:pt x="30" y="29"/>
                    </a:lnTo>
                    <a:lnTo>
                      <a:pt x="24" y="9"/>
                    </a:lnTo>
                    <a:lnTo>
                      <a:pt x="30" y="20"/>
                    </a:lnTo>
                    <a:lnTo>
                      <a:pt x="30" y="9"/>
                    </a:lnTo>
                    <a:lnTo>
                      <a:pt x="7" y="0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87" name="Freeform 324"/>
              <p:cNvSpPr>
                <a:spLocks/>
              </p:cNvSpPr>
              <p:nvPr/>
            </p:nvSpPr>
            <p:spPr bwMode="auto">
              <a:xfrm>
                <a:off x="4371975" y="3906838"/>
                <a:ext cx="36513" cy="47625"/>
              </a:xfrm>
              <a:custGeom>
                <a:avLst/>
                <a:gdLst>
                  <a:gd name="T0" fmla="*/ 0 w 21"/>
                  <a:gd name="T1" fmla="*/ 14 h 27"/>
                  <a:gd name="T2" fmla="*/ 8 w 21"/>
                  <a:gd name="T3" fmla="*/ 27 h 27"/>
                  <a:gd name="T4" fmla="*/ 21 w 21"/>
                  <a:gd name="T5" fmla="*/ 14 h 27"/>
                  <a:gd name="T6" fmla="*/ 8 w 21"/>
                  <a:gd name="T7" fmla="*/ 0 h 27"/>
                  <a:gd name="T8" fmla="*/ 0 w 21"/>
                  <a:gd name="T9" fmla="*/ 14 h 27"/>
                  <a:gd name="T10" fmla="*/ 0 w 21"/>
                  <a:gd name="T11" fmla="*/ 14 h 27"/>
                  <a:gd name="T12" fmla="*/ 0 w 21"/>
                  <a:gd name="T13" fmla="*/ 1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" h="27">
                    <a:moveTo>
                      <a:pt x="0" y="14"/>
                    </a:moveTo>
                    <a:lnTo>
                      <a:pt x="8" y="27"/>
                    </a:lnTo>
                    <a:lnTo>
                      <a:pt x="21" y="14"/>
                    </a:lnTo>
                    <a:lnTo>
                      <a:pt x="8" y="0"/>
                    </a:lnTo>
                    <a:lnTo>
                      <a:pt x="0" y="14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88" name="Freeform 325"/>
              <p:cNvSpPr>
                <a:spLocks/>
              </p:cNvSpPr>
              <p:nvPr/>
            </p:nvSpPr>
            <p:spPr bwMode="auto">
              <a:xfrm>
                <a:off x="4781550" y="3819525"/>
                <a:ext cx="47625" cy="100013"/>
              </a:xfrm>
              <a:custGeom>
                <a:avLst/>
                <a:gdLst>
                  <a:gd name="T0" fmla="*/ 0 w 27"/>
                  <a:gd name="T1" fmla="*/ 0 h 57"/>
                  <a:gd name="T2" fmla="*/ 8 w 27"/>
                  <a:gd name="T3" fmla="*/ 0 h 57"/>
                  <a:gd name="T4" fmla="*/ 17 w 27"/>
                  <a:gd name="T5" fmla="*/ 13 h 57"/>
                  <a:gd name="T6" fmla="*/ 17 w 27"/>
                  <a:gd name="T7" fmla="*/ 22 h 57"/>
                  <a:gd name="T8" fmla="*/ 27 w 27"/>
                  <a:gd name="T9" fmla="*/ 30 h 57"/>
                  <a:gd name="T10" fmla="*/ 27 w 27"/>
                  <a:gd name="T11" fmla="*/ 35 h 57"/>
                  <a:gd name="T12" fmla="*/ 8 w 27"/>
                  <a:gd name="T13" fmla="*/ 57 h 57"/>
                  <a:gd name="T14" fmla="*/ 0 w 27"/>
                  <a:gd name="T15" fmla="*/ 50 h 57"/>
                  <a:gd name="T16" fmla="*/ 0 w 27"/>
                  <a:gd name="T17" fmla="*/ 0 h 57"/>
                  <a:gd name="T18" fmla="*/ 0 w 27"/>
                  <a:gd name="T19" fmla="*/ 0 h 57"/>
                  <a:gd name="T20" fmla="*/ 0 w 27"/>
                  <a:gd name="T21" fmla="*/ 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7" h="57">
                    <a:moveTo>
                      <a:pt x="0" y="0"/>
                    </a:moveTo>
                    <a:lnTo>
                      <a:pt x="8" y="0"/>
                    </a:lnTo>
                    <a:lnTo>
                      <a:pt x="17" y="13"/>
                    </a:lnTo>
                    <a:lnTo>
                      <a:pt x="17" y="22"/>
                    </a:lnTo>
                    <a:lnTo>
                      <a:pt x="27" y="30"/>
                    </a:lnTo>
                    <a:lnTo>
                      <a:pt x="27" y="35"/>
                    </a:lnTo>
                    <a:lnTo>
                      <a:pt x="8" y="57"/>
                    </a:lnTo>
                    <a:lnTo>
                      <a:pt x="0" y="5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89" name="Freeform 326"/>
              <p:cNvSpPr>
                <a:spLocks/>
              </p:cNvSpPr>
              <p:nvPr/>
            </p:nvSpPr>
            <p:spPr bwMode="auto">
              <a:xfrm>
                <a:off x="4859338" y="3759200"/>
                <a:ext cx="136525" cy="109538"/>
              </a:xfrm>
              <a:custGeom>
                <a:avLst/>
                <a:gdLst>
                  <a:gd name="T0" fmla="*/ 78 w 78"/>
                  <a:gd name="T1" fmla="*/ 9 h 62"/>
                  <a:gd name="T2" fmla="*/ 78 w 78"/>
                  <a:gd name="T3" fmla="*/ 17 h 62"/>
                  <a:gd name="T4" fmla="*/ 72 w 78"/>
                  <a:gd name="T5" fmla="*/ 17 h 62"/>
                  <a:gd name="T6" fmla="*/ 67 w 78"/>
                  <a:gd name="T7" fmla="*/ 32 h 62"/>
                  <a:gd name="T8" fmla="*/ 72 w 78"/>
                  <a:gd name="T9" fmla="*/ 47 h 62"/>
                  <a:gd name="T10" fmla="*/ 57 w 78"/>
                  <a:gd name="T11" fmla="*/ 47 h 62"/>
                  <a:gd name="T12" fmla="*/ 45 w 78"/>
                  <a:gd name="T13" fmla="*/ 62 h 62"/>
                  <a:gd name="T14" fmla="*/ 21 w 78"/>
                  <a:gd name="T15" fmla="*/ 56 h 62"/>
                  <a:gd name="T16" fmla="*/ 6 w 78"/>
                  <a:gd name="T17" fmla="*/ 56 h 62"/>
                  <a:gd name="T18" fmla="*/ 6 w 78"/>
                  <a:gd name="T19" fmla="*/ 47 h 62"/>
                  <a:gd name="T20" fmla="*/ 0 w 78"/>
                  <a:gd name="T21" fmla="*/ 32 h 62"/>
                  <a:gd name="T22" fmla="*/ 6 w 78"/>
                  <a:gd name="T23" fmla="*/ 25 h 62"/>
                  <a:gd name="T24" fmla="*/ 0 w 78"/>
                  <a:gd name="T25" fmla="*/ 9 h 62"/>
                  <a:gd name="T26" fmla="*/ 0 w 78"/>
                  <a:gd name="T27" fmla="*/ 0 h 62"/>
                  <a:gd name="T28" fmla="*/ 6 w 78"/>
                  <a:gd name="T29" fmla="*/ 9 h 62"/>
                  <a:gd name="T30" fmla="*/ 13 w 78"/>
                  <a:gd name="T31" fmla="*/ 9 h 62"/>
                  <a:gd name="T32" fmla="*/ 45 w 78"/>
                  <a:gd name="T33" fmla="*/ 17 h 62"/>
                  <a:gd name="T34" fmla="*/ 57 w 78"/>
                  <a:gd name="T35" fmla="*/ 0 h 62"/>
                  <a:gd name="T36" fmla="*/ 78 w 78"/>
                  <a:gd name="T37" fmla="*/ 9 h 62"/>
                  <a:gd name="T38" fmla="*/ 78 w 78"/>
                  <a:gd name="T39" fmla="*/ 9 h 62"/>
                  <a:gd name="T40" fmla="*/ 78 w 78"/>
                  <a:gd name="T41" fmla="*/ 9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8" h="62">
                    <a:moveTo>
                      <a:pt x="78" y="9"/>
                    </a:moveTo>
                    <a:lnTo>
                      <a:pt x="78" y="17"/>
                    </a:lnTo>
                    <a:lnTo>
                      <a:pt x="72" y="17"/>
                    </a:lnTo>
                    <a:lnTo>
                      <a:pt x="67" y="32"/>
                    </a:lnTo>
                    <a:lnTo>
                      <a:pt x="72" y="47"/>
                    </a:lnTo>
                    <a:lnTo>
                      <a:pt x="57" y="47"/>
                    </a:lnTo>
                    <a:lnTo>
                      <a:pt x="45" y="62"/>
                    </a:lnTo>
                    <a:lnTo>
                      <a:pt x="21" y="56"/>
                    </a:lnTo>
                    <a:lnTo>
                      <a:pt x="6" y="56"/>
                    </a:lnTo>
                    <a:lnTo>
                      <a:pt x="6" y="47"/>
                    </a:lnTo>
                    <a:lnTo>
                      <a:pt x="0" y="32"/>
                    </a:lnTo>
                    <a:lnTo>
                      <a:pt x="6" y="25"/>
                    </a:lnTo>
                    <a:lnTo>
                      <a:pt x="0" y="9"/>
                    </a:lnTo>
                    <a:lnTo>
                      <a:pt x="0" y="0"/>
                    </a:lnTo>
                    <a:lnTo>
                      <a:pt x="6" y="9"/>
                    </a:lnTo>
                    <a:lnTo>
                      <a:pt x="13" y="9"/>
                    </a:lnTo>
                    <a:lnTo>
                      <a:pt x="45" y="17"/>
                    </a:lnTo>
                    <a:lnTo>
                      <a:pt x="57" y="0"/>
                    </a:lnTo>
                    <a:lnTo>
                      <a:pt x="78" y="9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90" name="Freeform 327"/>
              <p:cNvSpPr>
                <a:spLocks/>
              </p:cNvSpPr>
              <p:nvPr/>
            </p:nvSpPr>
            <p:spPr bwMode="auto">
              <a:xfrm>
                <a:off x="4708525" y="3589338"/>
                <a:ext cx="150813" cy="120650"/>
              </a:xfrm>
              <a:custGeom>
                <a:avLst/>
                <a:gdLst>
                  <a:gd name="T0" fmla="*/ 29 w 86"/>
                  <a:gd name="T1" fmla="*/ 69 h 69"/>
                  <a:gd name="T2" fmla="*/ 49 w 86"/>
                  <a:gd name="T3" fmla="*/ 52 h 69"/>
                  <a:gd name="T4" fmla="*/ 64 w 86"/>
                  <a:gd name="T5" fmla="*/ 52 h 69"/>
                  <a:gd name="T6" fmla="*/ 71 w 86"/>
                  <a:gd name="T7" fmla="*/ 22 h 69"/>
                  <a:gd name="T8" fmla="*/ 86 w 86"/>
                  <a:gd name="T9" fmla="*/ 22 h 69"/>
                  <a:gd name="T10" fmla="*/ 71 w 86"/>
                  <a:gd name="T11" fmla="*/ 6 h 69"/>
                  <a:gd name="T12" fmla="*/ 55 w 86"/>
                  <a:gd name="T13" fmla="*/ 0 h 69"/>
                  <a:gd name="T14" fmla="*/ 20 w 86"/>
                  <a:gd name="T15" fmla="*/ 22 h 69"/>
                  <a:gd name="T16" fmla="*/ 7 w 86"/>
                  <a:gd name="T17" fmla="*/ 22 h 69"/>
                  <a:gd name="T18" fmla="*/ 0 w 86"/>
                  <a:gd name="T19" fmla="*/ 37 h 69"/>
                  <a:gd name="T20" fmla="*/ 0 w 86"/>
                  <a:gd name="T21" fmla="*/ 45 h 69"/>
                  <a:gd name="T22" fmla="*/ 20 w 86"/>
                  <a:gd name="T23" fmla="*/ 69 h 69"/>
                  <a:gd name="T24" fmla="*/ 29 w 86"/>
                  <a:gd name="T25" fmla="*/ 69 h 69"/>
                  <a:gd name="T26" fmla="*/ 29 w 86"/>
                  <a:gd name="T27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6" h="69">
                    <a:moveTo>
                      <a:pt x="29" y="69"/>
                    </a:moveTo>
                    <a:lnTo>
                      <a:pt x="49" y="52"/>
                    </a:lnTo>
                    <a:lnTo>
                      <a:pt x="64" y="52"/>
                    </a:lnTo>
                    <a:lnTo>
                      <a:pt x="71" y="22"/>
                    </a:lnTo>
                    <a:lnTo>
                      <a:pt x="86" y="22"/>
                    </a:lnTo>
                    <a:lnTo>
                      <a:pt x="71" y="6"/>
                    </a:lnTo>
                    <a:lnTo>
                      <a:pt x="55" y="0"/>
                    </a:lnTo>
                    <a:lnTo>
                      <a:pt x="20" y="22"/>
                    </a:lnTo>
                    <a:lnTo>
                      <a:pt x="7" y="22"/>
                    </a:lnTo>
                    <a:lnTo>
                      <a:pt x="0" y="37"/>
                    </a:lnTo>
                    <a:lnTo>
                      <a:pt x="0" y="45"/>
                    </a:lnTo>
                    <a:lnTo>
                      <a:pt x="20" y="69"/>
                    </a:lnTo>
                    <a:lnTo>
                      <a:pt x="29" y="69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91" name="Freeform 328"/>
              <p:cNvSpPr>
                <a:spLocks/>
              </p:cNvSpPr>
              <p:nvPr/>
            </p:nvSpPr>
            <p:spPr bwMode="auto">
              <a:xfrm>
                <a:off x="4641850" y="3671888"/>
                <a:ext cx="139700" cy="147637"/>
              </a:xfrm>
              <a:custGeom>
                <a:avLst/>
                <a:gdLst>
                  <a:gd name="T0" fmla="*/ 38 w 80"/>
                  <a:gd name="T1" fmla="*/ 0 h 84"/>
                  <a:gd name="T2" fmla="*/ 58 w 80"/>
                  <a:gd name="T3" fmla="*/ 23 h 84"/>
                  <a:gd name="T4" fmla="*/ 67 w 80"/>
                  <a:gd name="T5" fmla="*/ 23 h 84"/>
                  <a:gd name="T6" fmla="*/ 80 w 80"/>
                  <a:gd name="T7" fmla="*/ 30 h 84"/>
                  <a:gd name="T8" fmla="*/ 80 w 80"/>
                  <a:gd name="T9" fmla="*/ 38 h 84"/>
                  <a:gd name="T10" fmla="*/ 67 w 80"/>
                  <a:gd name="T11" fmla="*/ 38 h 84"/>
                  <a:gd name="T12" fmla="*/ 67 w 80"/>
                  <a:gd name="T13" fmla="*/ 30 h 84"/>
                  <a:gd name="T14" fmla="*/ 45 w 80"/>
                  <a:gd name="T15" fmla="*/ 23 h 84"/>
                  <a:gd name="T16" fmla="*/ 38 w 80"/>
                  <a:gd name="T17" fmla="*/ 30 h 84"/>
                  <a:gd name="T18" fmla="*/ 38 w 80"/>
                  <a:gd name="T19" fmla="*/ 23 h 84"/>
                  <a:gd name="T20" fmla="*/ 30 w 80"/>
                  <a:gd name="T21" fmla="*/ 30 h 84"/>
                  <a:gd name="T22" fmla="*/ 38 w 80"/>
                  <a:gd name="T23" fmla="*/ 38 h 84"/>
                  <a:gd name="T24" fmla="*/ 52 w 80"/>
                  <a:gd name="T25" fmla="*/ 69 h 84"/>
                  <a:gd name="T26" fmla="*/ 58 w 80"/>
                  <a:gd name="T27" fmla="*/ 77 h 84"/>
                  <a:gd name="T28" fmla="*/ 58 w 80"/>
                  <a:gd name="T29" fmla="*/ 84 h 84"/>
                  <a:gd name="T30" fmla="*/ 45 w 80"/>
                  <a:gd name="T31" fmla="*/ 69 h 84"/>
                  <a:gd name="T32" fmla="*/ 38 w 80"/>
                  <a:gd name="T33" fmla="*/ 69 h 84"/>
                  <a:gd name="T34" fmla="*/ 16 w 80"/>
                  <a:gd name="T35" fmla="*/ 52 h 84"/>
                  <a:gd name="T36" fmla="*/ 16 w 80"/>
                  <a:gd name="T37" fmla="*/ 30 h 84"/>
                  <a:gd name="T38" fmla="*/ 8 w 80"/>
                  <a:gd name="T39" fmla="*/ 30 h 84"/>
                  <a:gd name="T40" fmla="*/ 0 w 80"/>
                  <a:gd name="T41" fmla="*/ 38 h 84"/>
                  <a:gd name="T42" fmla="*/ 0 w 80"/>
                  <a:gd name="T43" fmla="*/ 23 h 84"/>
                  <a:gd name="T44" fmla="*/ 16 w 80"/>
                  <a:gd name="T45" fmla="*/ 23 h 84"/>
                  <a:gd name="T46" fmla="*/ 30 w 80"/>
                  <a:gd name="T47" fmla="*/ 0 h 84"/>
                  <a:gd name="T48" fmla="*/ 38 w 80"/>
                  <a:gd name="T49" fmla="*/ 0 h 84"/>
                  <a:gd name="T50" fmla="*/ 38 w 80"/>
                  <a:gd name="T51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80" h="84">
                    <a:moveTo>
                      <a:pt x="38" y="0"/>
                    </a:moveTo>
                    <a:lnTo>
                      <a:pt x="58" y="23"/>
                    </a:lnTo>
                    <a:lnTo>
                      <a:pt x="67" y="23"/>
                    </a:lnTo>
                    <a:lnTo>
                      <a:pt x="80" y="30"/>
                    </a:lnTo>
                    <a:lnTo>
                      <a:pt x="80" y="38"/>
                    </a:lnTo>
                    <a:lnTo>
                      <a:pt x="67" y="38"/>
                    </a:lnTo>
                    <a:lnTo>
                      <a:pt x="67" y="30"/>
                    </a:lnTo>
                    <a:lnTo>
                      <a:pt x="45" y="23"/>
                    </a:lnTo>
                    <a:lnTo>
                      <a:pt x="38" y="30"/>
                    </a:lnTo>
                    <a:lnTo>
                      <a:pt x="38" y="23"/>
                    </a:lnTo>
                    <a:lnTo>
                      <a:pt x="30" y="30"/>
                    </a:lnTo>
                    <a:lnTo>
                      <a:pt x="38" y="38"/>
                    </a:lnTo>
                    <a:lnTo>
                      <a:pt x="52" y="69"/>
                    </a:lnTo>
                    <a:lnTo>
                      <a:pt x="58" y="77"/>
                    </a:lnTo>
                    <a:lnTo>
                      <a:pt x="58" y="84"/>
                    </a:lnTo>
                    <a:lnTo>
                      <a:pt x="45" y="69"/>
                    </a:lnTo>
                    <a:lnTo>
                      <a:pt x="38" y="69"/>
                    </a:lnTo>
                    <a:lnTo>
                      <a:pt x="16" y="52"/>
                    </a:lnTo>
                    <a:lnTo>
                      <a:pt x="16" y="30"/>
                    </a:lnTo>
                    <a:lnTo>
                      <a:pt x="8" y="30"/>
                    </a:lnTo>
                    <a:lnTo>
                      <a:pt x="0" y="38"/>
                    </a:lnTo>
                    <a:lnTo>
                      <a:pt x="0" y="23"/>
                    </a:lnTo>
                    <a:lnTo>
                      <a:pt x="16" y="23"/>
                    </a:lnTo>
                    <a:lnTo>
                      <a:pt x="30" y="0"/>
                    </a:lnTo>
                    <a:lnTo>
                      <a:pt x="38" y="0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92" name="Freeform 329"/>
              <p:cNvSpPr>
                <a:spLocks/>
              </p:cNvSpPr>
              <p:nvPr/>
            </p:nvSpPr>
            <p:spPr bwMode="auto">
              <a:xfrm>
                <a:off x="4757738" y="3683000"/>
                <a:ext cx="112712" cy="158750"/>
              </a:xfrm>
              <a:custGeom>
                <a:avLst/>
                <a:gdLst>
                  <a:gd name="T0" fmla="*/ 13 w 63"/>
                  <a:gd name="T1" fmla="*/ 31 h 90"/>
                  <a:gd name="T2" fmla="*/ 13 w 63"/>
                  <a:gd name="T3" fmla="*/ 21 h 90"/>
                  <a:gd name="T4" fmla="*/ 0 w 63"/>
                  <a:gd name="T5" fmla="*/ 15 h 90"/>
                  <a:gd name="T6" fmla="*/ 20 w 63"/>
                  <a:gd name="T7" fmla="*/ 0 h 90"/>
                  <a:gd name="T8" fmla="*/ 35 w 63"/>
                  <a:gd name="T9" fmla="*/ 31 h 90"/>
                  <a:gd name="T10" fmla="*/ 57 w 63"/>
                  <a:gd name="T11" fmla="*/ 31 h 90"/>
                  <a:gd name="T12" fmla="*/ 57 w 63"/>
                  <a:gd name="T13" fmla="*/ 52 h 90"/>
                  <a:gd name="T14" fmla="*/ 63 w 63"/>
                  <a:gd name="T15" fmla="*/ 67 h 90"/>
                  <a:gd name="T16" fmla="*/ 57 w 63"/>
                  <a:gd name="T17" fmla="*/ 75 h 90"/>
                  <a:gd name="T18" fmla="*/ 35 w 63"/>
                  <a:gd name="T19" fmla="*/ 75 h 90"/>
                  <a:gd name="T20" fmla="*/ 26 w 63"/>
                  <a:gd name="T21" fmla="*/ 90 h 90"/>
                  <a:gd name="T22" fmla="*/ 20 w 63"/>
                  <a:gd name="T23" fmla="*/ 75 h 90"/>
                  <a:gd name="T24" fmla="*/ 20 w 63"/>
                  <a:gd name="T25" fmla="*/ 67 h 90"/>
                  <a:gd name="T26" fmla="*/ 13 w 63"/>
                  <a:gd name="T27" fmla="*/ 60 h 90"/>
                  <a:gd name="T28" fmla="*/ 13 w 63"/>
                  <a:gd name="T29" fmla="*/ 31 h 90"/>
                  <a:gd name="T30" fmla="*/ 13 w 63"/>
                  <a:gd name="T31" fmla="*/ 31 h 90"/>
                  <a:gd name="T32" fmla="*/ 13 w 63"/>
                  <a:gd name="T33" fmla="*/ 31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3" h="90">
                    <a:moveTo>
                      <a:pt x="13" y="31"/>
                    </a:moveTo>
                    <a:lnTo>
                      <a:pt x="13" y="21"/>
                    </a:lnTo>
                    <a:lnTo>
                      <a:pt x="0" y="15"/>
                    </a:lnTo>
                    <a:lnTo>
                      <a:pt x="20" y="0"/>
                    </a:lnTo>
                    <a:lnTo>
                      <a:pt x="35" y="31"/>
                    </a:lnTo>
                    <a:lnTo>
                      <a:pt x="57" y="31"/>
                    </a:lnTo>
                    <a:lnTo>
                      <a:pt x="57" y="52"/>
                    </a:lnTo>
                    <a:lnTo>
                      <a:pt x="63" y="67"/>
                    </a:lnTo>
                    <a:lnTo>
                      <a:pt x="57" y="75"/>
                    </a:lnTo>
                    <a:lnTo>
                      <a:pt x="35" y="75"/>
                    </a:lnTo>
                    <a:lnTo>
                      <a:pt x="26" y="90"/>
                    </a:lnTo>
                    <a:lnTo>
                      <a:pt x="20" y="75"/>
                    </a:lnTo>
                    <a:lnTo>
                      <a:pt x="20" y="67"/>
                    </a:lnTo>
                    <a:lnTo>
                      <a:pt x="13" y="60"/>
                    </a:lnTo>
                    <a:lnTo>
                      <a:pt x="13" y="31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93" name="Freeform 330"/>
              <p:cNvSpPr>
                <a:spLocks/>
              </p:cNvSpPr>
              <p:nvPr/>
            </p:nvSpPr>
            <p:spPr bwMode="auto">
              <a:xfrm>
                <a:off x="4806950" y="3819525"/>
                <a:ext cx="63500" cy="49213"/>
              </a:xfrm>
              <a:custGeom>
                <a:avLst/>
                <a:gdLst>
                  <a:gd name="T0" fmla="*/ 9 w 35"/>
                  <a:gd name="T1" fmla="*/ 28 h 28"/>
                  <a:gd name="T2" fmla="*/ 0 w 35"/>
                  <a:gd name="T3" fmla="*/ 20 h 28"/>
                  <a:gd name="T4" fmla="*/ 0 w 35"/>
                  <a:gd name="T5" fmla="*/ 13 h 28"/>
                  <a:gd name="T6" fmla="*/ 9 w 35"/>
                  <a:gd name="T7" fmla="*/ 0 h 28"/>
                  <a:gd name="T8" fmla="*/ 30 w 35"/>
                  <a:gd name="T9" fmla="*/ 0 h 28"/>
                  <a:gd name="T10" fmla="*/ 35 w 35"/>
                  <a:gd name="T11" fmla="*/ 13 h 28"/>
                  <a:gd name="T12" fmla="*/ 35 w 35"/>
                  <a:gd name="T13" fmla="*/ 20 h 28"/>
                  <a:gd name="T14" fmla="*/ 9 w 35"/>
                  <a:gd name="T15" fmla="*/ 28 h 28"/>
                  <a:gd name="T16" fmla="*/ 9 w 35"/>
                  <a:gd name="T17" fmla="*/ 28 h 28"/>
                  <a:gd name="T18" fmla="*/ 9 w 35"/>
                  <a:gd name="T19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5" h="28">
                    <a:moveTo>
                      <a:pt x="9" y="28"/>
                    </a:moveTo>
                    <a:lnTo>
                      <a:pt x="0" y="20"/>
                    </a:lnTo>
                    <a:lnTo>
                      <a:pt x="0" y="13"/>
                    </a:lnTo>
                    <a:lnTo>
                      <a:pt x="9" y="0"/>
                    </a:lnTo>
                    <a:lnTo>
                      <a:pt x="30" y="0"/>
                    </a:lnTo>
                    <a:lnTo>
                      <a:pt x="35" y="13"/>
                    </a:lnTo>
                    <a:lnTo>
                      <a:pt x="35" y="20"/>
                    </a:lnTo>
                    <a:lnTo>
                      <a:pt x="9" y="28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94" name="Freeform 331"/>
              <p:cNvSpPr>
                <a:spLocks/>
              </p:cNvSpPr>
              <p:nvPr/>
            </p:nvSpPr>
            <p:spPr bwMode="auto">
              <a:xfrm>
                <a:off x="4694238" y="3706813"/>
                <a:ext cx="87312" cy="92075"/>
              </a:xfrm>
              <a:custGeom>
                <a:avLst/>
                <a:gdLst>
                  <a:gd name="T0" fmla="*/ 10 w 50"/>
                  <a:gd name="T1" fmla="*/ 17 h 52"/>
                  <a:gd name="T2" fmla="*/ 22 w 50"/>
                  <a:gd name="T3" fmla="*/ 45 h 52"/>
                  <a:gd name="T4" fmla="*/ 28 w 50"/>
                  <a:gd name="T5" fmla="*/ 52 h 52"/>
                  <a:gd name="T6" fmla="*/ 37 w 50"/>
                  <a:gd name="T7" fmla="*/ 45 h 52"/>
                  <a:gd name="T8" fmla="*/ 50 w 50"/>
                  <a:gd name="T9" fmla="*/ 45 h 52"/>
                  <a:gd name="T10" fmla="*/ 50 w 50"/>
                  <a:gd name="T11" fmla="*/ 17 h 52"/>
                  <a:gd name="T12" fmla="*/ 37 w 50"/>
                  <a:gd name="T13" fmla="*/ 17 h 52"/>
                  <a:gd name="T14" fmla="*/ 37 w 50"/>
                  <a:gd name="T15" fmla="*/ 8 h 52"/>
                  <a:gd name="T16" fmla="*/ 15 w 50"/>
                  <a:gd name="T17" fmla="*/ 0 h 52"/>
                  <a:gd name="T18" fmla="*/ 10 w 50"/>
                  <a:gd name="T19" fmla="*/ 8 h 52"/>
                  <a:gd name="T20" fmla="*/ 10 w 50"/>
                  <a:gd name="T21" fmla="*/ 0 h 52"/>
                  <a:gd name="T22" fmla="*/ 0 w 50"/>
                  <a:gd name="T23" fmla="*/ 8 h 52"/>
                  <a:gd name="T24" fmla="*/ 10 w 50"/>
                  <a:gd name="T25" fmla="*/ 17 h 52"/>
                  <a:gd name="T26" fmla="*/ 10 w 50"/>
                  <a:gd name="T27" fmla="*/ 17 h 52"/>
                  <a:gd name="T28" fmla="*/ 10 w 50"/>
                  <a:gd name="T29" fmla="*/ 17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0" h="52">
                    <a:moveTo>
                      <a:pt x="10" y="17"/>
                    </a:moveTo>
                    <a:lnTo>
                      <a:pt x="22" y="45"/>
                    </a:lnTo>
                    <a:lnTo>
                      <a:pt x="28" y="52"/>
                    </a:lnTo>
                    <a:lnTo>
                      <a:pt x="37" y="45"/>
                    </a:lnTo>
                    <a:lnTo>
                      <a:pt x="50" y="45"/>
                    </a:lnTo>
                    <a:lnTo>
                      <a:pt x="50" y="17"/>
                    </a:lnTo>
                    <a:lnTo>
                      <a:pt x="37" y="17"/>
                    </a:lnTo>
                    <a:lnTo>
                      <a:pt x="37" y="8"/>
                    </a:lnTo>
                    <a:lnTo>
                      <a:pt x="15" y="0"/>
                    </a:lnTo>
                    <a:lnTo>
                      <a:pt x="10" y="8"/>
                    </a:lnTo>
                    <a:lnTo>
                      <a:pt x="10" y="0"/>
                    </a:lnTo>
                    <a:lnTo>
                      <a:pt x="0" y="8"/>
                    </a:lnTo>
                    <a:lnTo>
                      <a:pt x="10" y="17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95" name="Freeform 332"/>
              <p:cNvSpPr>
                <a:spLocks/>
              </p:cNvSpPr>
              <p:nvPr/>
            </p:nvSpPr>
            <p:spPr bwMode="auto">
              <a:xfrm>
                <a:off x="4603750" y="3498850"/>
                <a:ext cx="153988" cy="90488"/>
              </a:xfrm>
              <a:custGeom>
                <a:avLst/>
                <a:gdLst>
                  <a:gd name="T0" fmla="*/ 89 w 89"/>
                  <a:gd name="T1" fmla="*/ 37 h 52"/>
                  <a:gd name="T2" fmla="*/ 75 w 89"/>
                  <a:gd name="T3" fmla="*/ 15 h 52"/>
                  <a:gd name="T4" fmla="*/ 69 w 89"/>
                  <a:gd name="T5" fmla="*/ 15 h 52"/>
                  <a:gd name="T6" fmla="*/ 42 w 89"/>
                  <a:gd name="T7" fmla="*/ 0 h 52"/>
                  <a:gd name="T8" fmla="*/ 32 w 89"/>
                  <a:gd name="T9" fmla="*/ 0 h 52"/>
                  <a:gd name="T10" fmla="*/ 20 w 89"/>
                  <a:gd name="T11" fmla="*/ 8 h 52"/>
                  <a:gd name="T12" fmla="*/ 0 w 89"/>
                  <a:gd name="T13" fmla="*/ 15 h 52"/>
                  <a:gd name="T14" fmla="*/ 12 w 89"/>
                  <a:gd name="T15" fmla="*/ 37 h 52"/>
                  <a:gd name="T16" fmla="*/ 27 w 89"/>
                  <a:gd name="T17" fmla="*/ 52 h 52"/>
                  <a:gd name="T18" fmla="*/ 42 w 89"/>
                  <a:gd name="T19" fmla="*/ 52 h 52"/>
                  <a:gd name="T20" fmla="*/ 42 w 89"/>
                  <a:gd name="T21" fmla="*/ 45 h 52"/>
                  <a:gd name="T22" fmla="*/ 69 w 89"/>
                  <a:gd name="T23" fmla="*/ 52 h 52"/>
                  <a:gd name="T24" fmla="*/ 89 w 89"/>
                  <a:gd name="T25" fmla="*/ 37 h 52"/>
                  <a:gd name="T26" fmla="*/ 89 w 89"/>
                  <a:gd name="T27" fmla="*/ 37 h 52"/>
                  <a:gd name="T28" fmla="*/ 89 w 89"/>
                  <a:gd name="T29" fmla="*/ 37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9" h="52">
                    <a:moveTo>
                      <a:pt x="89" y="37"/>
                    </a:moveTo>
                    <a:lnTo>
                      <a:pt x="75" y="15"/>
                    </a:lnTo>
                    <a:lnTo>
                      <a:pt x="69" y="15"/>
                    </a:lnTo>
                    <a:lnTo>
                      <a:pt x="42" y="0"/>
                    </a:lnTo>
                    <a:lnTo>
                      <a:pt x="32" y="0"/>
                    </a:lnTo>
                    <a:lnTo>
                      <a:pt x="20" y="8"/>
                    </a:lnTo>
                    <a:lnTo>
                      <a:pt x="0" y="15"/>
                    </a:lnTo>
                    <a:lnTo>
                      <a:pt x="12" y="37"/>
                    </a:lnTo>
                    <a:lnTo>
                      <a:pt x="27" y="52"/>
                    </a:lnTo>
                    <a:lnTo>
                      <a:pt x="42" y="52"/>
                    </a:lnTo>
                    <a:lnTo>
                      <a:pt x="42" y="45"/>
                    </a:lnTo>
                    <a:lnTo>
                      <a:pt x="69" y="52"/>
                    </a:lnTo>
                    <a:lnTo>
                      <a:pt x="89" y="37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96" name="Freeform 333"/>
              <p:cNvSpPr>
                <a:spLocks/>
              </p:cNvSpPr>
              <p:nvPr/>
            </p:nvSpPr>
            <p:spPr bwMode="auto">
              <a:xfrm>
                <a:off x="4719638" y="3559175"/>
                <a:ext cx="139700" cy="69850"/>
              </a:xfrm>
              <a:custGeom>
                <a:avLst/>
                <a:gdLst>
                  <a:gd name="T0" fmla="*/ 79 w 79"/>
                  <a:gd name="T1" fmla="*/ 10 h 40"/>
                  <a:gd name="T2" fmla="*/ 57 w 79"/>
                  <a:gd name="T3" fmla="*/ 0 h 40"/>
                  <a:gd name="T4" fmla="*/ 42 w 79"/>
                  <a:gd name="T5" fmla="*/ 10 h 40"/>
                  <a:gd name="T6" fmla="*/ 35 w 79"/>
                  <a:gd name="T7" fmla="*/ 0 h 40"/>
                  <a:gd name="T8" fmla="*/ 22 w 79"/>
                  <a:gd name="T9" fmla="*/ 0 h 40"/>
                  <a:gd name="T10" fmla="*/ 0 w 79"/>
                  <a:gd name="T11" fmla="*/ 18 h 40"/>
                  <a:gd name="T12" fmla="*/ 0 w 79"/>
                  <a:gd name="T13" fmla="*/ 40 h 40"/>
                  <a:gd name="T14" fmla="*/ 13 w 79"/>
                  <a:gd name="T15" fmla="*/ 40 h 40"/>
                  <a:gd name="T16" fmla="*/ 48 w 79"/>
                  <a:gd name="T17" fmla="*/ 18 h 40"/>
                  <a:gd name="T18" fmla="*/ 64 w 79"/>
                  <a:gd name="T19" fmla="*/ 25 h 40"/>
                  <a:gd name="T20" fmla="*/ 79 w 79"/>
                  <a:gd name="T21" fmla="*/ 10 h 40"/>
                  <a:gd name="T22" fmla="*/ 79 w 79"/>
                  <a:gd name="T23" fmla="*/ 10 h 40"/>
                  <a:gd name="T24" fmla="*/ 79 w 79"/>
                  <a:gd name="T25" fmla="*/ 1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9" h="40">
                    <a:moveTo>
                      <a:pt x="79" y="10"/>
                    </a:moveTo>
                    <a:lnTo>
                      <a:pt x="57" y="0"/>
                    </a:lnTo>
                    <a:lnTo>
                      <a:pt x="42" y="10"/>
                    </a:lnTo>
                    <a:lnTo>
                      <a:pt x="35" y="0"/>
                    </a:lnTo>
                    <a:lnTo>
                      <a:pt x="22" y="0"/>
                    </a:lnTo>
                    <a:lnTo>
                      <a:pt x="0" y="18"/>
                    </a:lnTo>
                    <a:lnTo>
                      <a:pt x="0" y="40"/>
                    </a:lnTo>
                    <a:lnTo>
                      <a:pt x="13" y="40"/>
                    </a:lnTo>
                    <a:lnTo>
                      <a:pt x="48" y="18"/>
                    </a:lnTo>
                    <a:lnTo>
                      <a:pt x="64" y="25"/>
                    </a:lnTo>
                    <a:lnTo>
                      <a:pt x="79" y="10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97" name="Freeform 334"/>
              <p:cNvSpPr>
                <a:spLocks/>
              </p:cNvSpPr>
              <p:nvPr/>
            </p:nvSpPr>
            <p:spPr bwMode="auto">
              <a:xfrm>
                <a:off x="4471988" y="3644900"/>
                <a:ext cx="100012" cy="65088"/>
              </a:xfrm>
              <a:custGeom>
                <a:avLst/>
                <a:gdLst>
                  <a:gd name="T0" fmla="*/ 14 w 57"/>
                  <a:gd name="T1" fmla="*/ 37 h 37"/>
                  <a:gd name="T2" fmla="*/ 29 w 57"/>
                  <a:gd name="T3" fmla="*/ 20 h 37"/>
                  <a:gd name="T4" fmla="*/ 42 w 57"/>
                  <a:gd name="T5" fmla="*/ 20 h 37"/>
                  <a:gd name="T6" fmla="*/ 42 w 57"/>
                  <a:gd name="T7" fmla="*/ 15 h 37"/>
                  <a:gd name="T8" fmla="*/ 50 w 57"/>
                  <a:gd name="T9" fmla="*/ 20 h 37"/>
                  <a:gd name="T10" fmla="*/ 57 w 57"/>
                  <a:gd name="T11" fmla="*/ 6 h 37"/>
                  <a:gd name="T12" fmla="*/ 50 w 57"/>
                  <a:gd name="T13" fmla="*/ 6 h 37"/>
                  <a:gd name="T14" fmla="*/ 42 w 57"/>
                  <a:gd name="T15" fmla="*/ 0 h 37"/>
                  <a:gd name="T16" fmla="*/ 9 w 57"/>
                  <a:gd name="T17" fmla="*/ 0 h 37"/>
                  <a:gd name="T18" fmla="*/ 0 w 57"/>
                  <a:gd name="T19" fmla="*/ 15 h 37"/>
                  <a:gd name="T20" fmla="*/ 0 w 57"/>
                  <a:gd name="T21" fmla="*/ 20 h 37"/>
                  <a:gd name="T22" fmla="*/ 9 w 57"/>
                  <a:gd name="T23" fmla="*/ 15 h 37"/>
                  <a:gd name="T24" fmla="*/ 9 w 57"/>
                  <a:gd name="T25" fmla="*/ 37 h 37"/>
                  <a:gd name="T26" fmla="*/ 14 w 57"/>
                  <a:gd name="T27" fmla="*/ 37 h 37"/>
                  <a:gd name="T28" fmla="*/ 14 w 57"/>
                  <a:gd name="T2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7" h="37">
                    <a:moveTo>
                      <a:pt x="14" y="37"/>
                    </a:moveTo>
                    <a:lnTo>
                      <a:pt x="29" y="20"/>
                    </a:lnTo>
                    <a:lnTo>
                      <a:pt x="42" y="20"/>
                    </a:lnTo>
                    <a:lnTo>
                      <a:pt x="42" y="15"/>
                    </a:lnTo>
                    <a:lnTo>
                      <a:pt x="50" y="20"/>
                    </a:lnTo>
                    <a:lnTo>
                      <a:pt x="57" y="6"/>
                    </a:lnTo>
                    <a:lnTo>
                      <a:pt x="50" y="6"/>
                    </a:lnTo>
                    <a:lnTo>
                      <a:pt x="42" y="0"/>
                    </a:lnTo>
                    <a:lnTo>
                      <a:pt x="9" y="0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9" y="15"/>
                    </a:lnTo>
                    <a:lnTo>
                      <a:pt x="9" y="37"/>
                    </a:lnTo>
                    <a:lnTo>
                      <a:pt x="14" y="37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98" name="Freeform 335"/>
              <p:cNvSpPr>
                <a:spLocks/>
              </p:cNvSpPr>
              <p:nvPr/>
            </p:nvSpPr>
            <p:spPr bwMode="auto">
              <a:xfrm>
                <a:off x="4641850" y="3651250"/>
                <a:ext cx="66675" cy="55563"/>
              </a:xfrm>
              <a:custGeom>
                <a:avLst/>
                <a:gdLst>
                  <a:gd name="T0" fmla="*/ 38 w 38"/>
                  <a:gd name="T1" fmla="*/ 10 h 32"/>
                  <a:gd name="T2" fmla="*/ 30 w 38"/>
                  <a:gd name="T3" fmla="*/ 10 h 32"/>
                  <a:gd name="T4" fmla="*/ 15 w 38"/>
                  <a:gd name="T5" fmla="*/ 32 h 32"/>
                  <a:gd name="T6" fmla="*/ 0 w 38"/>
                  <a:gd name="T7" fmla="*/ 32 h 32"/>
                  <a:gd name="T8" fmla="*/ 0 w 38"/>
                  <a:gd name="T9" fmla="*/ 10 h 32"/>
                  <a:gd name="T10" fmla="*/ 38 w 38"/>
                  <a:gd name="T11" fmla="*/ 0 h 32"/>
                  <a:gd name="T12" fmla="*/ 38 w 38"/>
                  <a:gd name="T13" fmla="*/ 10 h 32"/>
                  <a:gd name="T14" fmla="*/ 38 w 38"/>
                  <a:gd name="T15" fmla="*/ 10 h 32"/>
                  <a:gd name="T16" fmla="*/ 38 w 38"/>
                  <a:gd name="T17" fmla="*/ 1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8" h="32">
                    <a:moveTo>
                      <a:pt x="38" y="10"/>
                    </a:moveTo>
                    <a:lnTo>
                      <a:pt x="30" y="10"/>
                    </a:lnTo>
                    <a:lnTo>
                      <a:pt x="15" y="32"/>
                    </a:lnTo>
                    <a:lnTo>
                      <a:pt x="0" y="32"/>
                    </a:lnTo>
                    <a:lnTo>
                      <a:pt x="0" y="10"/>
                    </a:lnTo>
                    <a:lnTo>
                      <a:pt x="38" y="0"/>
                    </a:lnTo>
                    <a:lnTo>
                      <a:pt x="38" y="10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99" name="Freeform 336"/>
              <p:cNvSpPr>
                <a:spLocks/>
              </p:cNvSpPr>
              <p:nvPr/>
            </p:nvSpPr>
            <p:spPr bwMode="auto">
              <a:xfrm>
                <a:off x="4740275" y="3790950"/>
                <a:ext cx="52388" cy="50800"/>
              </a:xfrm>
              <a:custGeom>
                <a:avLst/>
                <a:gdLst>
                  <a:gd name="T0" fmla="*/ 0 w 30"/>
                  <a:gd name="T1" fmla="*/ 13 h 28"/>
                  <a:gd name="T2" fmla="*/ 21 w 30"/>
                  <a:gd name="T3" fmla="*/ 28 h 28"/>
                  <a:gd name="T4" fmla="*/ 21 w 30"/>
                  <a:gd name="T5" fmla="*/ 13 h 28"/>
                  <a:gd name="T6" fmla="*/ 30 w 30"/>
                  <a:gd name="T7" fmla="*/ 13 h 28"/>
                  <a:gd name="T8" fmla="*/ 30 w 30"/>
                  <a:gd name="T9" fmla="*/ 6 h 28"/>
                  <a:gd name="T10" fmla="*/ 21 w 30"/>
                  <a:gd name="T11" fmla="*/ 0 h 28"/>
                  <a:gd name="T12" fmla="*/ 8 w 30"/>
                  <a:gd name="T13" fmla="*/ 0 h 28"/>
                  <a:gd name="T14" fmla="*/ 0 w 30"/>
                  <a:gd name="T15" fmla="*/ 6 h 28"/>
                  <a:gd name="T16" fmla="*/ 0 w 30"/>
                  <a:gd name="T17" fmla="*/ 13 h 28"/>
                  <a:gd name="T18" fmla="*/ 0 w 30"/>
                  <a:gd name="T19" fmla="*/ 13 h 28"/>
                  <a:gd name="T20" fmla="*/ 0 w 30"/>
                  <a:gd name="T21" fmla="*/ 13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0" h="28">
                    <a:moveTo>
                      <a:pt x="0" y="13"/>
                    </a:moveTo>
                    <a:lnTo>
                      <a:pt x="21" y="28"/>
                    </a:lnTo>
                    <a:lnTo>
                      <a:pt x="21" y="13"/>
                    </a:lnTo>
                    <a:lnTo>
                      <a:pt x="30" y="13"/>
                    </a:lnTo>
                    <a:lnTo>
                      <a:pt x="30" y="6"/>
                    </a:lnTo>
                    <a:lnTo>
                      <a:pt x="21" y="0"/>
                    </a:lnTo>
                    <a:lnTo>
                      <a:pt x="8" y="0"/>
                    </a:lnTo>
                    <a:lnTo>
                      <a:pt x="0" y="6"/>
                    </a:lnTo>
                    <a:lnTo>
                      <a:pt x="0" y="13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</p:grpSp>
        <p:sp>
          <p:nvSpPr>
            <p:cNvPr id="243" name="Freeform 281"/>
            <p:cNvSpPr>
              <a:spLocks/>
            </p:cNvSpPr>
            <p:nvPr/>
          </p:nvSpPr>
          <p:spPr bwMode="auto">
            <a:xfrm>
              <a:off x="6644107" y="2964561"/>
              <a:ext cx="295237" cy="296145"/>
            </a:xfrm>
            <a:custGeom>
              <a:avLst/>
              <a:gdLst>
                <a:gd name="T0" fmla="*/ 245 w 294"/>
                <a:gd name="T1" fmla="*/ 242 h 296"/>
                <a:gd name="T2" fmla="*/ 252 w 294"/>
                <a:gd name="T3" fmla="*/ 233 h 296"/>
                <a:gd name="T4" fmla="*/ 268 w 294"/>
                <a:gd name="T5" fmla="*/ 228 h 296"/>
                <a:gd name="T6" fmla="*/ 274 w 294"/>
                <a:gd name="T7" fmla="*/ 212 h 296"/>
                <a:gd name="T8" fmla="*/ 287 w 294"/>
                <a:gd name="T9" fmla="*/ 198 h 296"/>
                <a:gd name="T10" fmla="*/ 294 w 294"/>
                <a:gd name="T11" fmla="*/ 198 h 296"/>
                <a:gd name="T12" fmla="*/ 294 w 294"/>
                <a:gd name="T13" fmla="*/ 168 h 296"/>
                <a:gd name="T14" fmla="*/ 280 w 294"/>
                <a:gd name="T15" fmla="*/ 153 h 296"/>
                <a:gd name="T16" fmla="*/ 268 w 294"/>
                <a:gd name="T17" fmla="*/ 153 h 296"/>
                <a:gd name="T18" fmla="*/ 268 w 294"/>
                <a:gd name="T19" fmla="*/ 159 h 296"/>
                <a:gd name="T20" fmla="*/ 223 w 294"/>
                <a:gd name="T21" fmla="*/ 159 h 296"/>
                <a:gd name="T22" fmla="*/ 210 w 294"/>
                <a:gd name="T23" fmla="*/ 153 h 296"/>
                <a:gd name="T24" fmla="*/ 223 w 294"/>
                <a:gd name="T25" fmla="*/ 138 h 296"/>
                <a:gd name="T26" fmla="*/ 210 w 294"/>
                <a:gd name="T27" fmla="*/ 119 h 296"/>
                <a:gd name="T28" fmla="*/ 210 w 294"/>
                <a:gd name="T29" fmla="*/ 91 h 296"/>
                <a:gd name="T30" fmla="*/ 190 w 294"/>
                <a:gd name="T31" fmla="*/ 60 h 296"/>
                <a:gd name="T32" fmla="*/ 161 w 294"/>
                <a:gd name="T33" fmla="*/ 55 h 296"/>
                <a:gd name="T34" fmla="*/ 146 w 294"/>
                <a:gd name="T35" fmla="*/ 60 h 296"/>
                <a:gd name="T36" fmla="*/ 139 w 294"/>
                <a:gd name="T37" fmla="*/ 55 h 296"/>
                <a:gd name="T38" fmla="*/ 121 w 294"/>
                <a:gd name="T39" fmla="*/ 43 h 296"/>
                <a:gd name="T40" fmla="*/ 121 w 294"/>
                <a:gd name="T41" fmla="*/ 37 h 296"/>
                <a:gd name="T42" fmla="*/ 83 w 294"/>
                <a:gd name="T43" fmla="*/ 8 h 296"/>
                <a:gd name="T44" fmla="*/ 64 w 294"/>
                <a:gd name="T45" fmla="*/ 0 h 296"/>
                <a:gd name="T46" fmla="*/ 36 w 294"/>
                <a:gd name="T47" fmla="*/ 22 h 296"/>
                <a:gd name="T48" fmla="*/ 42 w 294"/>
                <a:gd name="T49" fmla="*/ 30 h 296"/>
                <a:gd name="T50" fmla="*/ 36 w 294"/>
                <a:gd name="T51" fmla="*/ 43 h 296"/>
                <a:gd name="T52" fmla="*/ 27 w 294"/>
                <a:gd name="T53" fmla="*/ 43 h 296"/>
                <a:gd name="T54" fmla="*/ 21 w 294"/>
                <a:gd name="T55" fmla="*/ 55 h 296"/>
                <a:gd name="T56" fmla="*/ 0 w 294"/>
                <a:gd name="T57" fmla="*/ 55 h 296"/>
                <a:gd name="T58" fmla="*/ 0 w 294"/>
                <a:gd name="T59" fmla="*/ 75 h 296"/>
                <a:gd name="T60" fmla="*/ 14 w 294"/>
                <a:gd name="T61" fmla="*/ 75 h 296"/>
                <a:gd name="T62" fmla="*/ 42 w 294"/>
                <a:gd name="T63" fmla="*/ 129 h 296"/>
                <a:gd name="T64" fmla="*/ 57 w 294"/>
                <a:gd name="T65" fmla="*/ 138 h 296"/>
                <a:gd name="T66" fmla="*/ 64 w 294"/>
                <a:gd name="T67" fmla="*/ 159 h 296"/>
                <a:gd name="T68" fmla="*/ 64 w 294"/>
                <a:gd name="T69" fmla="*/ 181 h 296"/>
                <a:gd name="T70" fmla="*/ 83 w 294"/>
                <a:gd name="T71" fmla="*/ 205 h 296"/>
                <a:gd name="T72" fmla="*/ 106 w 294"/>
                <a:gd name="T73" fmla="*/ 250 h 296"/>
                <a:gd name="T74" fmla="*/ 113 w 294"/>
                <a:gd name="T75" fmla="*/ 257 h 296"/>
                <a:gd name="T76" fmla="*/ 121 w 294"/>
                <a:gd name="T77" fmla="*/ 250 h 296"/>
                <a:gd name="T78" fmla="*/ 146 w 294"/>
                <a:gd name="T79" fmla="*/ 279 h 296"/>
                <a:gd name="T80" fmla="*/ 153 w 294"/>
                <a:gd name="T81" fmla="*/ 296 h 296"/>
                <a:gd name="T82" fmla="*/ 210 w 294"/>
                <a:gd name="T83" fmla="*/ 250 h 296"/>
                <a:gd name="T84" fmla="*/ 245 w 294"/>
                <a:gd name="T85" fmla="*/ 242 h 296"/>
                <a:gd name="T86" fmla="*/ 245 w 294"/>
                <a:gd name="T87" fmla="*/ 242 h 296"/>
                <a:gd name="T88" fmla="*/ 245 w 294"/>
                <a:gd name="T89" fmla="*/ 242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94" h="296">
                  <a:moveTo>
                    <a:pt x="245" y="242"/>
                  </a:moveTo>
                  <a:lnTo>
                    <a:pt x="252" y="233"/>
                  </a:lnTo>
                  <a:lnTo>
                    <a:pt x="268" y="228"/>
                  </a:lnTo>
                  <a:lnTo>
                    <a:pt x="274" y="212"/>
                  </a:lnTo>
                  <a:lnTo>
                    <a:pt x="287" y="198"/>
                  </a:lnTo>
                  <a:lnTo>
                    <a:pt x="294" y="198"/>
                  </a:lnTo>
                  <a:lnTo>
                    <a:pt x="294" y="168"/>
                  </a:lnTo>
                  <a:lnTo>
                    <a:pt x="280" y="153"/>
                  </a:lnTo>
                  <a:lnTo>
                    <a:pt x="268" y="153"/>
                  </a:lnTo>
                  <a:lnTo>
                    <a:pt x="268" y="159"/>
                  </a:lnTo>
                  <a:lnTo>
                    <a:pt x="223" y="159"/>
                  </a:lnTo>
                  <a:lnTo>
                    <a:pt x="210" y="153"/>
                  </a:lnTo>
                  <a:lnTo>
                    <a:pt x="223" y="138"/>
                  </a:lnTo>
                  <a:lnTo>
                    <a:pt x="210" y="119"/>
                  </a:lnTo>
                  <a:lnTo>
                    <a:pt x="210" y="91"/>
                  </a:lnTo>
                  <a:lnTo>
                    <a:pt x="190" y="60"/>
                  </a:lnTo>
                  <a:lnTo>
                    <a:pt x="161" y="55"/>
                  </a:lnTo>
                  <a:lnTo>
                    <a:pt x="146" y="60"/>
                  </a:lnTo>
                  <a:lnTo>
                    <a:pt x="139" y="55"/>
                  </a:lnTo>
                  <a:lnTo>
                    <a:pt x="121" y="43"/>
                  </a:lnTo>
                  <a:lnTo>
                    <a:pt x="121" y="37"/>
                  </a:lnTo>
                  <a:lnTo>
                    <a:pt x="83" y="8"/>
                  </a:lnTo>
                  <a:lnTo>
                    <a:pt x="64" y="0"/>
                  </a:lnTo>
                  <a:lnTo>
                    <a:pt x="36" y="22"/>
                  </a:lnTo>
                  <a:lnTo>
                    <a:pt x="42" y="30"/>
                  </a:lnTo>
                  <a:lnTo>
                    <a:pt x="36" y="43"/>
                  </a:lnTo>
                  <a:lnTo>
                    <a:pt x="27" y="43"/>
                  </a:lnTo>
                  <a:lnTo>
                    <a:pt x="21" y="55"/>
                  </a:lnTo>
                  <a:lnTo>
                    <a:pt x="0" y="55"/>
                  </a:lnTo>
                  <a:lnTo>
                    <a:pt x="0" y="75"/>
                  </a:lnTo>
                  <a:lnTo>
                    <a:pt x="14" y="75"/>
                  </a:lnTo>
                  <a:lnTo>
                    <a:pt x="42" y="129"/>
                  </a:lnTo>
                  <a:lnTo>
                    <a:pt x="57" y="138"/>
                  </a:lnTo>
                  <a:lnTo>
                    <a:pt x="64" y="159"/>
                  </a:lnTo>
                  <a:lnTo>
                    <a:pt x="64" y="181"/>
                  </a:lnTo>
                  <a:lnTo>
                    <a:pt x="83" y="205"/>
                  </a:lnTo>
                  <a:lnTo>
                    <a:pt x="106" y="250"/>
                  </a:lnTo>
                  <a:lnTo>
                    <a:pt x="113" y="257"/>
                  </a:lnTo>
                  <a:lnTo>
                    <a:pt x="121" y="250"/>
                  </a:lnTo>
                  <a:lnTo>
                    <a:pt x="146" y="279"/>
                  </a:lnTo>
                  <a:lnTo>
                    <a:pt x="153" y="296"/>
                  </a:lnTo>
                  <a:lnTo>
                    <a:pt x="210" y="250"/>
                  </a:lnTo>
                  <a:lnTo>
                    <a:pt x="245" y="242"/>
                  </a:lnTo>
                  <a:close/>
                </a:path>
              </a:pathLst>
            </a:custGeom>
            <a:solidFill>
              <a:srgbClr val="00529C"/>
            </a:solidFill>
            <a:ln w="6350">
              <a:solidFill>
                <a:srgbClr val="BCBDC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GB" dirty="0"/>
            </a:p>
          </p:txBody>
        </p:sp>
      </p:grpSp>
      <p:sp>
        <p:nvSpPr>
          <p:cNvPr id="39979" name="Title 1"/>
          <p:cNvSpPr txBox="1">
            <a:spLocks/>
          </p:cNvSpPr>
          <p:nvPr/>
        </p:nvSpPr>
        <p:spPr bwMode="auto">
          <a:xfrm>
            <a:off x="5212435" y="4279006"/>
            <a:ext cx="3702965" cy="19490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>
            <a:defPPr>
              <a:defRPr lang="tr-TR"/>
            </a:defPPr>
            <a:lvl1pPr algn="ctr">
              <a:defRPr sz="2600" b="1">
                <a:solidFill>
                  <a:srgbClr val="10253F"/>
                </a:solidFill>
                <a:latin typeface="Arial Narrow" pitchFamily="34" charset="0"/>
              </a:defRPr>
            </a:lvl1pPr>
          </a:lstStyle>
          <a:p>
            <a:r>
              <a:rPr lang="tr-TR" dirty="0"/>
              <a:t>Antalya Airport is </a:t>
            </a:r>
            <a:r>
              <a:rPr lang="en-US" dirty="0"/>
              <a:t>the </a:t>
            </a:r>
            <a:r>
              <a:rPr lang="tr-TR" dirty="0"/>
              <a:t>14</a:t>
            </a:r>
            <a:r>
              <a:rPr lang="tr-TR" baseline="30000" dirty="0"/>
              <a:t>th</a:t>
            </a:r>
            <a:r>
              <a:rPr lang="tr-TR" dirty="0"/>
              <a:t>                </a:t>
            </a:r>
          </a:p>
          <a:p>
            <a:r>
              <a:rPr lang="en-US" dirty="0"/>
              <a:t>biggest airport </a:t>
            </a:r>
            <a:r>
              <a:rPr lang="tr-TR" dirty="0"/>
              <a:t>in Europe in </a:t>
            </a:r>
            <a:r>
              <a:rPr lang="tr-TR" dirty="0" smtClean="0"/>
              <a:t>2014 </a:t>
            </a:r>
            <a:r>
              <a:rPr lang="tr-TR" dirty="0"/>
              <a:t>in terms of total pax</a:t>
            </a:r>
            <a:r>
              <a:rPr lang="en-US" dirty="0"/>
              <a:t> </a:t>
            </a:r>
            <a:endParaRPr lang="tr-TR" b="0" dirty="0" smtClean="0"/>
          </a:p>
          <a:p>
            <a:endParaRPr lang="tr-TR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91ECD-3C5D-4903-BA94-648BA1B5202F}" type="slidenum">
              <a:rPr lang="tr-TR" smtClean="0"/>
              <a:pPr/>
              <a:t>13</a:t>
            </a:fld>
            <a:endParaRPr lang="tr-TR" dirty="0"/>
          </a:p>
        </p:txBody>
      </p:sp>
      <p:graphicFrame>
        <p:nvGraphicFramePr>
          <p:cNvPr id="280" name="Group 8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6907255"/>
              </p:ext>
            </p:extLst>
          </p:nvPr>
        </p:nvGraphicFramePr>
        <p:xfrm>
          <a:off x="270793" y="1301722"/>
          <a:ext cx="3509119" cy="4900737"/>
        </p:xfrm>
        <a:graphic>
          <a:graphicData uri="http://schemas.openxmlformats.org/drawingml/2006/table">
            <a:tbl>
              <a:tblPr/>
              <a:tblGrid>
                <a:gridCol w="2236730"/>
                <a:gridCol w="1272389"/>
              </a:tblGrid>
              <a:tr h="341878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Airports</a:t>
                      </a:r>
                      <a:endParaRPr kumimoji="0" lang="tr-TR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52A4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014 (m pax)</a:t>
                      </a:r>
                      <a:endParaRPr kumimoji="0" lang="tr-TR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52A45"/>
                    </a:solidFill>
                  </a:tcPr>
                </a:tc>
              </a:tr>
              <a:tr h="338009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1. London Heathrow (LHR)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254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2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73.4</a:t>
                      </a:r>
                      <a:endParaRPr kumimoji="0" lang="de-DE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254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38009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2. Paris (CDG) 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2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63.8</a:t>
                      </a:r>
                      <a:endParaRPr kumimoji="0" lang="de-DE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38009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3. Frankfurt (FRA)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2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59.6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38009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4. Istanbul (IST ) 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2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56.9</a:t>
                      </a:r>
                      <a:endParaRPr kumimoji="0" lang="de-DE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17921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5. Amstersdam (AMS)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54.9</a:t>
                      </a:r>
                      <a:r>
                        <a:rPr kumimoji="0" lang="de-DE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 </a:t>
                      </a:r>
                      <a:endParaRPr kumimoji="0" lang="tr-TR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17921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6. Madrid (MAD)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41.8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38009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7. Munich (MUC)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2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39.7</a:t>
                      </a:r>
                      <a:endParaRPr kumimoji="0" lang="de-DE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17921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8. Rome (FCO) 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38.5</a:t>
                      </a:r>
                      <a:r>
                        <a:rPr kumimoji="0" lang="de-DE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 </a:t>
                      </a:r>
                      <a:endParaRPr kumimoji="0" lang="tr-TR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17921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9. London Gatwick(LGW)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38.1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17921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10. Barcelona (BCN) 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37.6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98244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11. Moscow (DME)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charset="0"/>
                        </a:rPr>
                        <a:t>33.0</a:t>
                      </a:r>
                      <a:endParaRPr kumimoji="0" lang="en-US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151656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12. </a:t>
                      </a:r>
                      <a:r>
                        <a:rPr kumimoji="0" lang="tr-TR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charset="0"/>
                        </a:rPr>
                        <a:t>Moscow (SVO)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31.6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14533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tr-TR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charset="0"/>
                        </a:rPr>
                        <a:t>13.</a:t>
                      </a: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 Paris (ORY)</a:t>
                      </a:r>
                      <a:r>
                        <a:rPr kumimoji="0" lang="tr-TR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charset="0"/>
                        </a:rPr>
                        <a:t> 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charset="0"/>
                        </a:rPr>
                        <a:t>28.9</a:t>
                      </a:r>
                      <a:endParaRPr kumimoji="0" lang="en-US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17921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14. Antalya (AYT) </a:t>
                      </a:r>
                      <a:endParaRPr kumimoji="0" lang="de-DE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28.0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tr-TR" dirty="0" smtClean="0"/>
              <a:t>Antalya Airport in Europe</a:t>
            </a:r>
            <a:endParaRPr lang="en-GB" dirty="0"/>
          </a:p>
        </p:txBody>
      </p:sp>
      <p:sp>
        <p:nvSpPr>
          <p:cNvPr id="281" name="Oval 280"/>
          <p:cNvSpPr>
            <a:spLocks noChangeAspect="1"/>
          </p:cNvSpPr>
          <p:nvPr/>
        </p:nvSpPr>
        <p:spPr>
          <a:xfrm>
            <a:off x="6579133" y="2853081"/>
            <a:ext cx="62627" cy="62627"/>
          </a:xfrm>
          <a:prstGeom prst="ellipse">
            <a:avLst/>
          </a:prstGeom>
          <a:solidFill>
            <a:srgbClr val="C0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1" name="Textfeld 56"/>
          <p:cNvSpPr txBox="1"/>
          <p:nvPr/>
        </p:nvSpPr>
        <p:spPr>
          <a:xfrm>
            <a:off x="46611" y="6345717"/>
            <a:ext cx="5514097" cy="497806"/>
          </a:xfrm>
          <a:prstGeom prst="rect">
            <a:avLst/>
          </a:prstGeom>
          <a:noFill/>
        </p:spPr>
        <p:txBody>
          <a:bodyPr wrap="square" lIns="0" tIns="48376" rIns="96751" bIns="48376" rtlCol="0">
            <a:spAutoFit/>
          </a:bodyPr>
          <a:lstStyle/>
          <a:p>
            <a:pPr indent="-237744" fontAlgn="auto">
              <a:spcBef>
                <a:spcPts val="0"/>
              </a:spcBef>
              <a:spcAft>
                <a:spcPts val="0"/>
              </a:spcAft>
            </a:pPr>
            <a:r>
              <a:rPr lang="tr-TR" sz="800" dirty="0" smtClean="0">
                <a:solidFill>
                  <a:schemeClr val="bg1"/>
                </a:solidFill>
                <a:latin typeface="Arial"/>
              </a:rPr>
              <a:t>Source</a:t>
            </a:r>
            <a:r>
              <a:rPr lang="de-DE" sz="800" dirty="0" smtClean="0">
                <a:solidFill>
                  <a:schemeClr val="bg1"/>
                </a:solidFill>
                <a:latin typeface="Arial"/>
              </a:rPr>
              <a:t>: </a:t>
            </a:r>
            <a:r>
              <a:rPr lang="tr-TR" sz="800" dirty="0" smtClean="0">
                <a:solidFill>
                  <a:schemeClr val="bg1"/>
                </a:solidFill>
                <a:latin typeface="Arial"/>
              </a:rPr>
              <a:t>ACI; </a:t>
            </a:r>
            <a:r>
              <a:rPr lang="nn-NO" sz="800" dirty="0" smtClean="0">
                <a:solidFill>
                  <a:schemeClr val="bg1"/>
                </a:solidFill>
                <a:latin typeface="Arial"/>
              </a:rPr>
              <a:t>ICF </a:t>
            </a:r>
            <a:r>
              <a:rPr lang="nn-NO" sz="800" dirty="0">
                <a:solidFill>
                  <a:schemeClr val="bg1"/>
                </a:solidFill>
                <a:latin typeface="Arial"/>
              </a:rPr>
              <a:t>internal data for AYT pax</a:t>
            </a:r>
          </a:p>
          <a:p>
            <a:pPr indent="-237744" fontAlgn="auto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42" name="Freeform 19"/>
          <p:cNvSpPr>
            <a:spLocks/>
          </p:cNvSpPr>
          <p:nvPr/>
        </p:nvSpPr>
        <p:spPr bwMode="auto">
          <a:xfrm rot="18523026">
            <a:off x="2942787" y="4109658"/>
            <a:ext cx="4236735" cy="558790"/>
          </a:xfrm>
          <a:custGeom>
            <a:avLst/>
            <a:gdLst>
              <a:gd name="T0" fmla="*/ 2147483647 w 2732"/>
              <a:gd name="T1" fmla="*/ 2147483647 h 1794"/>
              <a:gd name="T2" fmla="*/ 2147483647 w 2732"/>
              <a:gd name="T3" fmla="*/ 2147483647 h 1794"/>
              <a:gd name="T4" fmla="*/ 2147483647 w 2732"/>
              <a:gd name="T5" fmla="*/ 2147483647 h 1794"/>
              <a:gd name="T6" fmla="*/ 2147483647 w 2732"/>
              <a:gd name="T7" fmla="*/ 2147483647 h 1794"/>
              <a:gd name="T8" fmla="*/ 2147483647 w 2732"/>
              <a:gd name="T9" fmla="*/ 2147483647 h 1794"/>
              <a:gd name="T10" fmla="*/ 2147483647 w 2732"/>
              <a:gd name="T11" fmla="*/ 2147483647 h 1794"/>
              <a:gd name="T12" fmla="*/ 2147483647 w 2732"/>
              <a:gd name="T13" fmla="*/ 2147483647 h 1794"/>
              <a:gd name="T14" fmla="*/ 2147483647 w 2732"/>
              <a:gd name="T15" fmla="*/ 2147483647 h 1794"/>
              <a:gd name="T16" fmla="*/ 2147483647 w 2732"/>
              <a:gd name="T17" fmla="*/ 2147483647 h 1794"/>
              <a:gd name="T18" fmla="*/ 2147483647 w 2732"/>
              <a:gd name="T19" fmla="*/ 2147483647 h 1794"/>
              <a:gd name="T20" fmla="*/ 2147483647 w 2732"/>
              <a:gd name="T21" fmla="*/ 2147483647 h 1794"/>
              <a:gd name="T22" fmla="*/ 2147483647 w 2732"/>
              <a:gd name="T23" fmla="*/ 2147483647 h 1794"/>
              <a:gd name="T24" fmla="*/ 2147483647 w 2732"/>
              <a:gd name="T25" fmla="*/ 2147483647 h 1794"/>
              <a:gd name="T26" fmla="*/ 2147483647 w 2732"/>
              <a:gd name="T27" fmla="*/ 2147483647 h 1794"/>
              <a:gd name="T28" fmla="*/ 2147483647 w 2732"/>
              <a:gd name="T29" fmla="*/ 2147483647 h 1794"/>
              <a:gd name="T30" fmla="*/ 2147483647 w 2732"/>
              <a:gd name="T31" fmla="*/ 2147483647 h 1794"/>
              <a:gd name="T32" fmla="*/ 2147483647 w 2732"/>
              <a:gd name="T33" fmla="*/ 0 h 1794"/>
              <a:gd name="T34" fmla="*/ 2147483647 w 2732"/>
              <a:gd name="T35" fmla="*/ 2147483647 h 1794"/>
              <a:gd name="T36" fmla="*/ 2147483647 w 2732"/>
              <a:gd name="T37" fmla="*/ 2147483647 h 1794"/>
              <a:gd name="T38" fmla="*/ 2147483647 w 2732"/>
              <a:gd name="T39" fmla="*/ 2147483647 h 1794"/>
              <a:gd name="T40" fmla="*/ 2147483647 w 2732"/>
              <a:gd name="T41" fmla="*/ 2147483647 h 1794"/>
              <a:gd name="T42" fmla="*/ 2147483647 w 2732"/>
              <a:gd name="T43" fmla="*/ 2147483647 h 1794"/>
              <a:gd name="T44" fmla="*/ 2147483647 w 2732"/>
              <a:gd name="T45" fmla="*/ 2147483647 h 1794"/>
              <a:gd name="T46" fmla="*/ 2147483647 w 2732"/>
              <a:gd name="T47" fmla="*/ 2147483647 h 1794"/>
              <a:gd name="T48" fmla="*/ 2147483647 w 2732"/>
              <a:gd name="T49" fmla="*/ 2147483647 h 1794"/>
              <a:gd name="T50" fmla="*/ 2147483647 w 2732"/>
              <a:gd name="T51" fmla="*/ 2147483647 h 1794"/>
              <a:gd name="T52" fmla="*/ 2147483647 w 2732"/>
              <a:gd name="T53" fmla="*/ 2147483647 h 1794"/>
              <a:gd name="T54" fmla="*/ 2147483647 w 2732"/>
              <a:gd name="T55" fmla="*/ 2147483647 h 1794"/>
              <a:gd name="T56" fmla="*/ 2147483647 w 2732"/>
              <a:gd name="T57" fmla="*/ 2147483647 h 1794"/>
              <a:gd name="T58" fmla="*/ 2147483647 w 2732"/>
              <a:gd name="T59" fmla="*/ 2147483647 h 1794"/>
              <a:gd name="T60" fmla="*/ 2147483647 w 2732"/>
              <a:gd name="T61" fmla="*/ 2147483647 h 1794"/>
              <a:gd name="T62" fmla="*/ 2147483647 w 2732"/>
              <a:gd name="T63" fmla="*/ 2147483647 h 1794"/>
              <a:gd name="T64" fmla="*/ 2147483647 w 2732"/>
              <a:gd name="T65" fmla="*/ 2147483647 h 179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2732"/>
              <a:gd name="T100" fmla="*/ 0 h 1794"/>
              <a:gd name="T101" fmla="*/ 2732 w 2732"/>
              <a:gd name="T102" fmla="*/ 1794 h 1794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2732" h="1794">
                <a:moveTo>
                  <a:pt x="2732" y="1794"/>
                </a:moveTo>
                <a:lnTo>
                  <a:pt x="2732" y="1794"/>
                </a:lnTo>
                <a:lnTo>
                  <a:pt x="2678" y="1728"/>
                </a:lnTo>
                <a:lnTo>
                  <a:pt x="2614" y="1654"/>
                </a:lnTo>
                <a:lnTo>
                  <a:pt x="2528" y="1556"/>
                </a:lnTo>
                <a:lnTo>
                  <a:pt x="2422" y="1440"/>
                </a:lnTo>
                <a:lnTo>
                  <a:pt x="2300" y="1310"/>
                </a:lnTo>
                <a:lnTo>
                  <a:pt x="2232" y="1242"/>
                </a:lnTo>
                <a:lnTo>
                  <a:pt x="2160" y="1172"/>
                </a:lnTo>
                <a:lnTo>
                  <a:pt x="2086" y="1102"/>
                </a:lnTo>
                <a:lnTo>
                  <a:pt x="2010" y="1030"/>
                </a:lnTo>
                <a:lnTo>
                  <a:pt x="1930" y="958"/>
                </a:lnTo>
                <a:lnTo>
                  <a:pt x="1848" y="886"/>
                </a:lnTo>
                <a:lnTo>
                  <a:pt x="1764" y="816"/>
                </a:lnTo>
                <a:lnTo>
                  <a:pt x="1678" y="748"/>
                </a:lnTo>
                <a:lnTo>
                  <a:pt x="1590" y="682"/>
                </a:lnTo>
                <a:lnTo>
                  <a:pt x="1500" y="618"/>
                </a:lnTo>
                <a:lnTo>
                  <a:pt x="1410" y="558"/>
                </a:lnTo>
                <a:lnTo>
                  <a:pt x="1320" y="500"/>
                </a:lnTo>
                <a:lnTo>
                  <a:pt x="1230" y="448"/>
                </a:lnTo>
                <a:lnTo>
                  <a:pt x="1138" y="402"/>
                </a:lnTo>
                <a:lnTo>
                  <a:pt x="1092" y="380"/>
                </a:lnTo>
                <a:lnTo>
                  <a:pt x="1046" y="360"/>
                </a:lnTo>
                <a:lnTo>
                  <a:pt x="1002" y="342"/>
                </a:lnTo>
                <a:lnTo>
                  <a:pt x="956" y="324"/>
                </a:lnTo>
                <a:lnTo>
                  <a:pt x="912" y="310"/>
                </a:lnTo>
                <a:lnTo>
                  <a:pt x="866" y="296"/>
                </a:lnTo>
                <a:lnTo>
                  <a:pt x="822" y="284"/>
                </a:lnTo>
                <a:lnTo>
                  <a:pt x="778" y="274"/>
                </a:lnTo>
                <a:lnTo>
                  <a:pt x="734" y="266"/>
                </a:lnTo>
                <a:lnTo>
                  <a:pt x="690" y="260"/>
                </a:lnTo>
                <a:lnTo>
                  <a:pt x="646" y="256"/>
                </a:lnTo>
                <a:lnTo>
                  <a:pt x="604" y="254"/>
                </a:lnTo>
                <a:lnTo>
                  <a:pt x="604" y="0"/>
                </a:lnTo>
                <a:lnTo>
                  <a:pt x="0" y="724"/>
                </a:lnTo>
                <a:lnTo>
                  <a:pt x="590" y="1460"/>
                </a:lnTo>
                <a:lnTo>
                  <a:pt x="590" y="1124"/>
                </a:lnTo>
                <a:lnTo>
                  <a:pt x="598" y="1122"/>
                </a:lnTo>
                <a:lnTo>
                  <a:pt x="626" y="1114"/>
                </a:lnTo>
                <a:lnTo>
                  <a:pt x="672" y="1106"/>
                </a:lnTo>
                <a:lnTo>
                  <a:pt x="734" y="1096"/>
                </a:lnTo>
                <a:lnTo>
                  <a:pt x="772" y="1092"/>
                </a:lnTo>
                <a:lnTo>
                  <a:pt x="814" y="1088"/>
                </a:lnTo>
                <a:lnTo>
                  <a:pt x="860" y="1086"/>
                </a:lnTo>
                <a:lnTo>
                  <a:pt x="912" y="1086"/>
                </a:lnTo>
                <a:lnTo>
                  <a:pt x="966" y="1088"/>
                </a:lnTo>
                <a:lnTo>
                  <a:pt x="1024" y="1090"/>
                </a:lnTo>
                <a:lnTo>
                  <a:pt x="1088" y="1096"/>
                </a:lnTo>
                <a:lnTo>
                  <a:pt x="1154" y="1104"/>
                </a:lnTo>
                <a:lnTo>
                  <a:pt x="1224" y="1114"/>
                </a:lnTo>
                <a:lnTo>
                  <a:pt x="1300" y="1128"/>
                </a:lnTo>
                <a:lnTo>
                  <a:pt x="1378" y="1144"/>
                </a:lnTo>
                <a:lnTo>
                  <a:pt x="1460" y="1164"/>
                </a:lnTo>
                <a:lnTo>
                  <a:pt x="1546" y="1190"/>
                </a:lnTo>
                <a:lnTo>
                  <a:pt x="1636" y="1218"/>
                </a:lnTo>
                <a:lnTo>
                  <a:pt x="1730" y="1252"/>
                </a:lnTo>
                <a:lnTo>
                  <a:pt x="1828" y="1288"/>
                </a:lnTo>
                <a:lnTo>
                  <a:pt x="1928" y="1332"/>
                </a:lnTo>
                <a:lnTo>
                  <a:pt x="2032" y="1380"/>
                </a:lnTo>
                <a:lnTo>
                  <a:pt x="2140" y="1434"/>
                </a:lnTo>
                <a:lnTo>
                  <a:pt x="2252" y="1492"/>
                </a:lnTo>
                <a:lnTo>
                  <a:pt x="2368" y="1558"/>
                </a:lnTo>
                <a:lnTo>
                  <a:pt x="2486" y="1630"/>
                </a:lnTo>
                <a:lnTo>
                  <a:pt x="2608" y="1710"/>
                </a:lnTo>
                <a:lnTo>
                  <a:pt x="2732" y="1794"/>
                </a:lnTo>
                <a:close/>
              </a:path>
            </a:pathLst>
          </a:custGeom>
          <a:solidFill>
            <a:srgbClr val="152A45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0383022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1752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68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71" name="Group 470"/>
          <p:cNvGrpSpPr/>
          <p:nvPr/>
        </p:nvGrpSpPr>
        <p:grpSpPr>
          <a:xfrm>
            <a:off x="3919752" y="1399351"/>
            <a:ext cx="4829168" cy="3037761"/>
            <a:chOff x="3919752" y="1399351"/>
            <a:chExt cx="4829168" cy="3037761"/>
          </a:xfrm>
        </p:grpSpPr>
        <p:grpSp>
          <p:nvGrpSpPr>
            <p:cNvPr id="475" name="Group 474"/>
            <p:cNvGrpSpPr/>
            <p:nvPr/>
          </p:nvGrpSpPr>
          <p:grpSpPr>
            <a:xfrm>
              <a:off x="3919752" y="1399351"/>
              <a:ext cx="4829168" cy="3037761"/>
              <a:chOff x="369888" y="1406525"/>
              <a:chExt cx="8439150" cy="5308600"/>
            </a:xfrm>
            <a:solidFill>
              <a:schemeClr val="tx2">
                <a:lumMod val="60000"/>
                <a:lumOff val="40000"/>
              </a:schemeClr>
            </a:solidFill>
          </p:grpSpPr>
          <p:sp>
            <p:nvSpPr>
              <p:cNvPr id="476" name="Freeform 110"/>
              <p:cNvSpPr>
                <a:spLocks/>
              </p:cNvSpPr>
              <p:nvPr/>
            </p:nvSpPr>
            <p:spPr bwMode="auto">
              <a:xfrm>
                <a:off x="2647950" y="1406525"/>
                <a:ext cx="1241425" cy="1504950"/>
              </a:xfrm>
              <a:custGeom>
                <a:avLst/>
                <a:gdLst>
                  <a:gd name="T0" fmla="*/ 325 w 707"/>
                  <a:gd name="T1" fmla="*/ 859 h 861"/>
                  <a:gd name="T2" fmla="*/ 323 w 707"/>
                  <a:gd name="T3" fmla="*/ 858 h 861"/>
                  <a:gd name="T4" fmla="*/ 312 w 707"/>
                  <a:gd name="T5" fmla="*/ 854 h 861"/>
                  <a:gd name="T6" fmla="*/ 315 w 707"/>
                  <a:gd name="T7" fmla="*/ 849 h 861"/>
                  <a:gd name="T8" fmla="*/ 280 w 707"/>
                  <a:gd name="T9" fmla="*/ 843 h 861"/>
                  <a:gd name="T10" fmla="*/ 265 w 707"/>
                  <a:gd name="T11" fmla="*/ 775 h 861"/>
                  <a:gd name="T12" fmla="*/ 243 w 707"/>
                  <a:gd name="T13" fmla="*/ 782 h 861"/>
                  <a:gd name="T14" fmla="*/ 231 w 707"/>
                  <a:gd name="T15" fmla="*/ 748 h 861"/>
                  <a:gd name="T16" fmla="*/ 231 w 707"/>
                  <a:gd name="T17" fmla="*/ 728 h 861"/>
                  <a:gd name="T18" fmla="*/ 250 w 707"/>
                  <a:gd name="T19" fmla="*/ 678 h 861"/>
                  <a:gd name="T20" fmla="*/ 214 w 707"/>
                  <a:gd name="T21" fmla="*/ 616 h 861"/>
                  <a:gd name="T22" fmla="*/ 245 w 707"/>
                  <a:gd name="T23" fmla="*/ 606 h 861"/>
                  <a:gd name="T24" fmla="*/ 238 w 707"/>
                  <a:gd name="T25" fmla="*/ 602 h 861"/>
                  <a:gd name="T26" fmla="*/ 246 w 707"/>
                  <a:gd name="T27" fmla="*/ 585 h 861"/>
                  <a:gd name="T28" fmla="*/ 208 w 707"/>
                  <a:gd name="T29" fmla="*/ 530 h 861"/>
                  <a:gd name="T30" fmla="*/ 181 w 707"/>
                  <a:gd name="T31" fmla="*/ 470 h 861"/>
                  <a:gd name="T32" fmla="*/ 77 w 707"/>
                  <a:gd name="T33" fmla="*/ 439 h 861"/>
                  <a:gd name="T34" fmla="*/ 37 w 707"/>
                  <a:gd name="T35" fmla="*/ 390 h 861"/>
                  <a:gd name="T36" fmla="*/ 34 w 707"/>
                  <a:gd name="T37" fmla="*/ 365 h 861"/>
                  <a:gd name="T38" fmla="*/ 0 w 707"/>
                  <a:gd name="T39" fmla="*/ 338 h 861"/>
                  <a:gd name="T40" fmla="*/ 106 w 707"/>
                  <a:gd name="T41" fmla="*/ 236 h 861"/>
                  <a:gd name="T42" fmla="*/ 117 w 707"/>
                  <a:gd name="T43" fmla="*/ 142 h 861"/>
                  <a:gd name="T44" fmla="*/ 189 w 707"/>
                  <a:gd name="T45" fmla="*/ 126 h 861"/>
                  <a:gd name="T46" fmla="*/ 218 w 707"/>
                  <a:gd name="T47" fmla="*/ 148 h 861"/>
                  <a:gd name="T48" fmla="*/ 265 w 707"/>
                  <a:gd name="T49" fmla="*/ 125 h 861"/>
                  <a:gd name="T50" fmla="*/ 309 w 707"/>
                  <a:gd name="T51" fmla="*/ 112 h 861"/>
                  <a:gd name="T52" fmla="*/ 350 w 707"/>
                  <a:gd name="T53" fmla="*/ 83 h 861"/>
                  <a:gd name="T54" fmla="*/ 310 w 707"/>
                  <a:gd name="T55" fmla="*/ 36 h 861"/>
                  <a:gd name="T56" fmla="*/ 441 w 707"/>
                  <a:gd name="T57" fmla="*/ 4 h 861"/>
                  <a:gd name="T58" fmla="*/ 487 w 707"/>
                  <a:gd name="T59" fmla="*/ 30 h 861"/>
                  <a:gd name="T60" fmla="*/ 533 w 707"/>
                  <a:gd name="T61" fmla="*/ 63 h 861"/>
                  <a:gd name="T62" fmla="*/ 539 w 707"/>
                  <a:gd name="T63" fmla="*/ 108 h 861"/>
                  <a:gd name="T64" fmla="*/ 581 w 707"/>
                  <a:gd name="T65" fmla="*/ 115 h 861"/>
                  <a:gd name="T66" fmla="*/ 653 w 707"/>
                  <a:gd name="T67" fmla="*/ 142 h 861"/>
                  <a:gd name="T68" fmla="*/ 600 w 707"/>
                  <a:gd name="T69" fmla="*/ 210 h 861"/>
                  <a:gd name="T70" fmla="*/ 615 w 707"/>
                  <a:gd name="T71" fmla="*/ 256 h 861"/>
                  <a:gd name="T72" fmla="*/ 628 w 707"/>
                  <a:gd name="T73" fmla="*/ 281 h 861"/>
                  <a:gd name="T74" fmla="*/ 605 w 707"/>
                  <a:gd name="T75" fmla="*/ 326 h 861"/>
                  <a:gd name="T76" fmla="*/ 608 w 707"/>
                  <a:gd name="T77" fmla="*/ 362 h 861"/>
                  <a:gd name="T78" fmla="*/ 610 w 707"/>
                  <a:gd name="T79" fmla="*/ 427 h 861"/>
                  <a:gd name="T80" fmla="*/ 622 w 707"/>
                  <a:gd name="T81" fmla="*/ 466 h 861"/>
                  <a:gd name="T82" fmla="*/ 593 w 707"/>
                  <a:gd name="T83" fmla="*/ 490 h 861"/>
                  <a:gd name="T84" fmla="*/ 536 w 707"/>
                  <a:gd name="T85" fmla="*/ 538 h 861"/>
                  <a:gd name="T86" fmla="*/ 553 w 707"/>
                  <a:gd name="T87" fmla="*/ 574 h 861"/>
                  <a:gd name="T88" fmla="*/ 598 w 707"/>
                  <a:gd name="T89" fmla="*/ 622 h 861"/>
                  <a:gd name="T90" fmla="*/ 528 w 707"/>
                  <a:gd name="T91" fmla="*/ 582 h 861"/>
                  <a:gd name="T92" fmla="*/ 541 w 707"/>
                  <a:gd name="T93" fmla="*/ 626 h 861"/>
                  <a:gd name="T94" fmla="*/ 491 w 707"/>
                  <a:gd name="T95" fmla="*/ 683 h 861"/>
                  <a:gd name="T96" fmla="*/ 489 w 707"/>
                  <a:gd name="T97" fmla="*/ 690 h 861"/>
                  <a:gd name="T98" fmla="*/ 472 w 707"/>
                  <a:gd name="T99" fmla="*/ 679 h 861"/>
                  <a:gd name="T100" fmla="*/ 449 w 707"/>
                  <a:gd name="T101" fmla="*/ 721 h 861"/>
                  <a:gd name="T102" fmla="*/ 417 w 707"/>
                  <a:gd name="T103" fmla="*/ 738 h 861"/>
                  <a:gd name="T104" fmla="*/ 417 w 707"/>
                  <a:gd name="T105" fmla="*/ 733 h 861"/>
                  <a:gd name="T106" fmla="*/ 372 w 707"/>
                  <a:gd name="T107" fmla="*/ 762 h 861"/>
                  <a:gd name="T108" fmla="*/ 367 w 707"/>
                  <a:gd name="T109" fmla="*/ 790 h 861"/>
                  <a:gd name="T110" fmla="*/ 360 w 707"/>
                  <a:gd name="T111" fmla="*/ 806 h 8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707" h="861">
                    <a:moveTo>
                      <a:pt x="365" y="809"/>
                    </a:moveTo>
                    <a:lnTo>
                      <a:pt x="367" y="809"/>
                    </a:lnTo>
                    <a:lnTo>
                      <a:pt x="325" y="859"/>
                    </a:lnTo>
                    <a:lnTo>
                      <a:pt x="327" y="859"/>
                    </a:lnTo>
                    <a:lnTo>
                      <a:pt x="323" y="861"/>
                    </a:lnTo>
                    <a:lnTo>
                      <a:pt x="323" y="858"/>
                    </a:lnTo>
                    <a:lnTo>
                      <a:pt x="320" y="861"/>
                    </a:lnTo>
                    <a:lnTo>
                      <a:pt x="322" y="851"/>
                    </a:lnTo>
                    <a:lnTo>
                      <a:pt x="312" y="854"/>
                    </a:lnTo>
                    <a:lnTo>
                      <a:pt x="318" y="851"/>
                    </a:lnTo>
                    <a:lnTo>
                      <a:pt x="313" y="851"/>
                    </a:lnTo>
                    <a:lnTo>
                      <a:pt x="315" y="849"/>
                    </a:lnTo>
                    <a:lnTo>
                      <a:pt x="290" y="854"/>
                    </a:lnTo>
                    <a:lnTo>
                      <a:pt x="297" y="849"/>
                    </a:lnTo>
                    <a:lnTo>
                      <a:pt x="280" y="843"/>
                    </a:lnTo>
                    <a:lnTo>
                      <a:pt x="288" y="839"/>
                    </a:lnTo>
                    <a:lnTo>
                      <a:pt x="250" y="792"/>
                    </a:lnTo>
                    <a:lnTo>
                      <a:pt x="265" y="775"/>
                    </a:lnTo>
                    <a:lnTo>
                      <a:pt x="258" y="774"/>
                    </a:lnTo>
                    <a:lnTo>
                      <a:pt x="266" y="772"/>
                    </a:lnTo>
                    <a:lnTo>
                      <a:pt x="243" y="782"/>
                    </a:lnTo>
                    <a:lnTo>
                      <a:pt x="241" y="757"/>
                    </a:lnTo>
                    <a:lnTo>
                      <a:pt x="240" y="760"/>
                    </a:lnTo>
                    <a:lnTo>
                      <a:pt x="231" y="748"/>
                    </a:lnTo>
                    <a:lnTo>
                      <a:pt x="228" y="742"/>
                    </a:lnTo>
                    <a:lnTo>
                      <a:pt x="233" y="737"/>
                    </a:lnTo>
                    <a:lnTo>
                      <a:pt x="231" y="728"/>
                    </a:lnTo>
                    <a:lnTo>
                      <a:pt x="256" y="688"/>
                    </a:lnTo>
                    <a:lnTo>
                      <a:pt x="253" y="679"/>
                    </a:lnTo>
                    <a:lnTo>
                      <a:pt x="250" y="678"/>
                    </a:lnTo>
                    <a:lnTo>
                      <a:pt x="251" y="681"/>
                    </a:lnTo>
                    <a:lnTo>
                      <a:pt x="256" y="669"/>
                    </a:lnTo>
                    <a:lnTo>
                      <a:pt x="214" y="616"/>
                    </a:lnTo>
                    <a:lnTo>
                      <a:pt x="260" y="626"/>
                    </a:lnTo>
                    <a:lnTo>
                      <a:pt x="253" y="619"/>
                    </a:lnTo>
                    <a:lnTo>
                      <a:pt x="245" y="606"/>
                    </a:lnTo>
                    <a:lnTo>
                      <a:pt x="241" y="602"/>
                    </a:lnTo>
                    <a:lnTo>
                      <a:pt x="248" y="597"/>
                    </a:lnTo>
                    <a:lnTo>
                      <a:pt x="238" y="602"/>
                    </a:lnTo>
                    <a:lnTo>
                      <a:pt x="245" y="592"/>
                    </a:lnTo>
                    <a:lnTo>
                      <a:pt x="233" y="594"/>
                    </a:lnTo>
                    <a:lnTo>
                      <a:pt x="246" y="585"/>
                    </a:lnTo>
                    <a:lnTo>
                      <a:pt x="233" y="579"/>
                    </a:lnTo>
                    <a:lnTo>
                      <a:pt x="204" y="594"/>
                    </a:lnTo>
                    <a:lnTo>
                      <a:pt x="208" y="530"/>
                    </a:lnTo>
                    <a:lnTo>
                      <a:pt x="198" y="518"/>
                    </a:lnTo>
                    <a:lnTo>
                      <a:pt x="199" y="520"/>
                    </a:lnTo>
                    <a:lnTo>
                      <a:pt x="181" y="470"/>
                    </a:lnTo>
                    <a:lnTo>
                      <a:pt x="144" y="431"/>
                    </a:lnTo>
                    <a:lnTo>
                      <a:pt x="67" y="427"/>
                    </a:lnTo>
                    <a:lnTo>
                      <a:pt x="77" y="439"/>
                    </a:lnTo>
                    <a:lnTo>
                      <a:pt x="40" y="417"/>
                    </a:lnTo>
                    <a:lnTo>
                      <a:pt x="55" y="405"/>
                    </a:lnTo>
                    <a:lnTo>
                      <a:pt x="37" y="390"/>
                    </a:lnTo>
                    <a:lnTo>
                      <a:pt x="84" y="380"/>
                    </a:lnTo>
                    <a:lnTo>
                      <a:pt x="74" y="363"/>
                    </a:lnTo>
                    <a:lnTo>
                      <a:pt x="34" y="365"/>
                    </a:lnTo>
                    <a:lnTo>
                      <a:pt x="39" y="358"/>
                    </a:lnTo>
                    <a:lnTo>
                      <a:pt x="27" y="360"/>
                    </a:lnTo>
                    <a:lnTo>
                      <a:pt x="0" y="338"/>
                    </a:lnTo>
                    <a:lnTo>
                      <a:pt x="49" y="296"/>
                    </a:lnTo>
                    <a:lnTo>
                      <a:pt x="67" y="262"/>
                    </a:lnTo>
                    <a:lnTo>
                      <a:pt x="106" y="236"/>
                    </a:lnTo>
                    <a:lnTo>
                      <a:pt x="60" y="227"/>
                    </a:lnTo>
                    <a:lnTo>
                      <a:pt x="109" y="174"/>
                    </a:lnTo>
                    <a:lnTo>
                      <a:pt x="117" y="142"/>
                    </a:lnTo>
                    <a:lnTo>
                      <a:pt x="142" y="123"/>
                    </a:lnTo>
                    <a:lnTo>
                      <a:pt x="178" y="158"/>
                    </a:lnTo>
                    <a:lnTo>
                      <a:pt x="189" y="126"/>
                    </a:lnTo>
                    <a:lnTo>
                      <a:pt x="208" y="91"/>
                    </a:lnTo>
                    <a:lnTo>
                      <a:pt x="225" y="124"/>
                    </a:lnTo>
                    <a:lnTo>
                      <a:pt x="218" y="148"/>
                    </a:lnTo>
                    <a:lnTo>
                      <a:pt x="260" y="138"/>
                    </a:lnTo>
                    <a:lnTo>
                      <a:pt x="248" y="121"/>
                    </a:lnTo>
                    <a:lnTo>
                      <a:pt x="265" y="125"/>
                    </a:lnTo>
                    <a:lnTo>
                      <a:pt x="248" y="79"/>
                    </a:lnTo>
                    <a:lnTo>
                      <a:pt x="285" y="86"/>
                    </a:lnTo>
                    <a:lnTo>
                      <a:pt x="309" y="112"/>
                    </a:lnTo>
                    <a:lnTo>
                      <a:pt x="307" y="92"/>
                    </a:lnTo>
                    <a:lnTo>
                      <a:pt x="308" y="59"/>
                    </a:lnTo>
                    <a:lnTo>
                      <a:pt x="350" y="83"/>
                    </a:lnTo>
                    <a:lnTo>
                      <a:pt x="352" y="61"/>
                    </a:lnTo>
                    <a:lnTo>
                      <a:pt x="374" y="88"/>
                    </a:lnTo>
                    <a:lnTo>
                      <a:pt x="310" y="36"/>
                    </a:lnTo>
                    <a:lnTo>
                      <a:pt x="387" y="61"/>
                    </a:lnTo>
                    <a:lnTo>
                      <a:pt x="412" y="14"/>
                    </a:lnTo>
                    <a:lnTo>
                      <a:pt x="441" y="4"/>
                    </a:lnTo>
                    <a:lnTo>
                      <a:pt x="473" y="0"/>
                    </a:lnTo>
                    <a:lnTo>
                      <a:pt x="501" y="8"/>
                    </a:lnTo>
                    <a:lnTo>
                      <a:pt x="487" y="30"/>
                    </a:lnTo>
                    <a:lnTo>
                      <a:pt x="495" y="38"/>
                    </a:lnTo>
                    <a:lnTo>
                      <a:pt x="548" y="32"/>
                    </a:lnTo>
                    <a:lnTo>
                      <a:pt x="533" y="63"/>
                    </a:lnTo>
                    <a:lnTo>
                      <a:pt x="561" y="63"/>
                    </a:lnTo>
                    <a:lnTo>
                      <a:pt x="590" y="73"/>
                    </a:lnTo>
                    <a:lnTo>
                      <a:pt x="539" y="108"/>
                    </a:lnTo>
                    <a:lnTo>
                      <a:pt x="523" y="116"/>
                    </a:lnTo>
                    <a:lnTo>
                      <a:pt x="549" y="128"/>
                    </a:lnTo>
                    <a:lnTo>
                      <a:pt x="581" y="115"/>
                    </a:lnTo>
                    <a:lnTo>
                      <a:pt x="585" y="174"/>
                    </a:lnTo>
                    <a:lnTo>
                      <a:pt x="613" y="142"/>
                    </a:lnTo>
                    <a:lnTo>
                      <a:pt x="653" y="142"/>
                    </a:lnTo>
                    <a:lnTo>
                      <a:pt x="707" y="147"/>
                    </a:lnTo>
                    <a:lnTo>
                      <a:pt x="631" y="176"/>
                    </a:lnTo>
                    <a:lnTo>
                      <a:pt x="600" y="210"/>
                    </a:lnTo>
                    <a:lnTo>
                      <a:pt x="631" y="206"/>
                    </a:lnTo>
                    <a:lnTo>
                      <a:pt x="660" y="212"/>
                    </a:lnTo>
                    <a:lnTo>
                      <a:pt x="615" y="256"/>
                    </a:lnTo>
                    <a:lnTo>
                      <a:pt x="642" y="237"/>
                    </a:lnTo>
                    <a:lnTo>
                      <a:pt x="618" y="289"/>
                    </a:lnTo>
                    <a:lnTo>
                      <a:pt x="628" y="281"/>
                    </a:lnTo>
                    <a:lnTo>
                      <a:pt x="625" y="286"/>
                    </a:lnTo>
                    <a:lnTo>
                      <a:pt x="623" y="284"/>
                    </a:lnTo>
                    <a:lnTo>
                      <a:pt x="605" y="326"/>
                    </a:lnTo>
                    <a:lnTo>
                      <a:pt x="600" y="362"/>
                    </a:lnTo>
                    <a:lnTo>
                      <a:pt x="627" y="365"/>
                    </a:lnTo>
                    <a:lnTo>
                      <a:pt x="608" y="362"/>
                    </a:lnTo>
                    <a:lnTo>
                      <a:pt x="615" y="367"/>
                    </a:lnTo>
                    <a:lnTo>
                      <a:pt x="610" y="369"/>
                    </a:lnTo>
                    <a:lnTo>
                      <a:pt x="610" y="427"/>
                    </a:lnTo>
                    <a:lnTo>
                      <a:pt x="605" y="421"/>
                    </a:lnTo>
                    <a:lnTo>
                      <a:pt x="620" y="429"/>
                    </a:lnTo>
                    <a:lnTo>
                      <a:pt x="622" y="466"/>
                    </a:lnTo>
                    <a:lnTo>
                      <a:pt x="591" y="454"/>
                    </a:lnTo>
                    <a:lnTo>
                      <a:pt x="627" y="496"/>
                    </a:lnTo>
                    <a:lnTo>
                      <a:pt x="593" y="490"/>
                    </a:lnTo>
                    <a:lnTo>
                      <a:pt x="610" y="527"/>
                    </a:lnTo>
                    <a:lnTo>
                      <a:pt x="558" y="521"/>
                    </a:lnTo>
                    <a:lnTo>
                      <a:pt x="536" y="538"/>
                    </a:lnTo>
                    <a:lnTo>
                      <a:pt x="558" y="542"/>
                    </a:lnTo>
                    <a:lnTo>
                      <a:pt x="538" y="553"/>
                    </a:lnTo>
                    <a:lnTo>
                      <a:pt x="553" y="574"/>
                    </a:lnTo>
                    <a:lnTo>
                      <a:pt x="586" y="599"/>
                    </a:lnTo>
                    <a:lnTo>
                      <a:pt x="596" y="592"/>
                    </a:lnTo>
                    <a:lnTo>
                      <a:pt x="598" y="622"/>
                    </a:lnTo>
                    <a:lnTo>
                      <a:pt x="586" y="612"/>
                    </a:lnTo>
                    <a:lnTo>
                      <a:pt x="586" y="622"/>
                    </a:lnTo>
                    <a:lnTo>
                      <a:pt x="528" y="582"/>
                    </a:lnTo>
                    <a:lnTo>
                      <a:pt x="551" y="600"/>
                    </a:lnTo>
                    <a:lnTo>
                      <a:pt x="513" y="622"/>
                    </a:lnTo>
                    <a:lnTo>
                      <a:pt x="541" y="626"/>
                    </a:lnTo>
                    <a:lnTo>
                      <a:pt x="516" y="634"/>
                    </a:lnTo>
                    <a:lnTo>
                      <a:pt x="591" y="631"/>
                    </a:lnTo>
                    <a:lnTo>
                      <a:pt x="491" y="683"/>
                    </a:lnTo>
                    <a:lnTo>
                      <a:pt x="494" y="688"/>
                    </a:lnTo>
                    <a:lnTo>
                      <a:pt x="489" y="686"/>
                    </a:lnTo>
                    <a:lnTo>
                      <a:pt x="489" y="690"/>
                    </a:lnTo>
                    <a:lnTo>
                      <a:pt x="479" y="685"/>
                    </a:lnTo>
                    <a:lnTo>
                      <a:pt x="481" y="685"/>
                    </a:lnTo>
                    <a:lnTo>
                      <a:pt x="472" y="679"/>
                    </a:lnTo>
                    <a:lnTo>
                      <a:pt x="471" y="674"/>
                    </a:lnTo>
                    <a:lnTo>
                      <a:pt x="451" y="725"/>
                    </a:lnTo>
                    <a:lnTo>
                      <a:pt x="449" y="721"/>
                    </a:lnTo>
                    <a:lnTo>
                      <a:pt x="441" y="733"/>
                    </a:lnTo>
                    <a:lnTo>
                      <a:pt x="429" y="742"/>
                    </a:lnTo>
                    <a:lnTo>
                      <a:pt x="417" y="738"/>
                    </a:lnTo>
                    <a:lnTo>
                      <a:pt x="414" y="742"/>
                    </a:lnTo>
                    <a:lnTo>
                      <a:pt x="416" y="745"/>
                    </a:lnTo>
                    <a:lnTo>
                      <a:pt x="417" y="733"/>
                    </a:lnTo>
                    <a:lnTo>
                      <a:pt x="407" y="732"/>
                    </a:lnTo>
                    <a:lnTo>
                      <a:pt x="399" y="750"/>
                    </a:lnTo>
                    <a:lnTo>
                      <a:pt x="372" y="762"/>
                    </a:lnTo>
                    <a:lnTo>
                      <a:pt x="367" y="780"/>
                    </a:lnTo>
                    <a:lnTo>
                      <a:pt x="377" y="792"/>
                    </a:lnTo>
                    <a:lnTo>
                      <a:pt x="367" y="790"/>
                    </a:lnTo>
                    <a:lnTo>
                      <a:pt x="365" y="802"/>
                    </a:lnTo>
                    <a:lnTo>
                      <a:pt x="369" y="807"/>
                    </a:lnTo>
                    <a:lnTo>
                      <a:pt x="360" y="806"/>
                    </a:lnTo>
                    <a:lnTo>
                      <a:pt x="365" y="809"/>
                    </a:lnTo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477" name="Freeform 111"/>
              <p:cNvSpPr>
                <a:spLocks/>
              </p:cNvSpPr>
              <p:nvPr/>
            </p:nvSpPr>
            <p:spPr bwMode="auto">
              <a:xfrm>
                <a:off x="2254250" y="1414463"/>
                <a:ext cx="647700" cy="614362"/>
              </a:xfrm>
              <a:custGeom>
                <a:avLst/>
                <a:gdLst>
                  <a:gd name="T0" fmla="*/ 84 w 368"/>
                  <a:gd name="T1" fmla="*/ 351 h 351"/>
                  <a:gd name="T2" fmla="*/ 110 w 368"/>
                  <a:gd name="T3" fmla="*/ 346 h 351"/>
                  <a:gd name="T4" fmla="*/ 152 w 368"/>
                  <a:gd name="T5" fmla="*/ 339 h 351"/>
                  <a:gd name="T6" fmla="*/ 162 w 368"/>
                  <a:gd name="T7" fmla="*/ 323 h 351"/>
                  <a:gd name="T8" fmla="*/ 139 w 368"/>
                  <a:gd name="T9" fmla="*/ 314 h 351"/>
                  <a:gd name="T10" fmla="*/ 201 w 368"/>
                  <a:gd name="T11" fmla="*/ 265 h 351"/>
                  <a:gd name="T12" fmla="*/ 186 w 368"/>
                  <a:gd name="T13" fmla="*/ 240 h 351"/>
                  <a:gd name="T14" fmla="*/ 208 w 368"/>
                  <a:gd name="T15" fmla="*/ 228 h 351"/>
                  <a:gd name="T16" fmla="*/ 246 w 368"/>
                  <a:gd name="T17" fmla="*/ 193 h 351"/>
                  <a:gd name="T18" fmla="*/ 253 w 368"/>
                  <a:gd name="T19" fmla="*/ 181 h 351"/>
                  <a:gd name="T20" fmla="*/ 255 w 368"/>
                  <a:gd name="T21" fmla="*/ 161 h 351"/>
                  <a:gd name="T22" fmla="*/ 328 w 368"/>
                  <a:gd name="T23" fmla="*/ 96 h 351"/>
                  <a:gd name="T24" fmla="*/ 298 w 368"/>
                  <a:gd name="T25" fmla="*/ 97 h 351"/>
                  <a:gd name="T26" fmla="*/ 368 w 368"/>
                  <a:gd name="T27" fmla="*/ 45 h 351"/>
                  <a:gd name="T28" fmla="*/ 317 w 368"/>
                  <a:gd name="T29" fmla="*/ 17 h 351"/>
                  <a:gd name="T30" fmla="*/ 301 w 368"/>
                  <a:gd name="T31" fmla="*/ 0 h 351"/>
                  <a:gd name="T32" fmla="*/ 139 w 368"/>
                  <a:gd name="T33" fmla="*/ 20 h 351"/>
                  <a:gd name="T34" fmla="*/ 126 w 368"/>
                  <a:gd name="T35" fmla="*/ 35 h 351"/>
                  <a:gd name="T36" fmla="*/ 100 w 368"/>
                  <a:gd name="T37" fmla="*/ 39 h 351"/>
                  <a:gd name="T38" fmla="*/ 94 w 368"/>
                  <a:gd name="T39" fmla="*/ 52 h 351"/>
                  <a:gd name="T40" fmla="*/ 62 w 368"/>
                  <a:gd name="T41" fmla="*/ 40 h 351"/>
                  <a:gd name="T42" fmla="*/ 69 w 368"/>
                  <a:gd name="T43" fmla="*/ 67 h 351"/>
                  <a:gd name="T44" fmla="*/ 28 w 368"/>
                  <a:gd name="T45" fmla="*/ 77 h 351"/>
                  <a:gd name="T46" fmla="*/ 23 w 368"/>
                  <a:gd name="T47" fmla="*/ 81 h 351"/>
                  <a:gd name="T48" fmla="*/ 27 w 368"/>
                  <a:gd name="T49" fmla="*/ 92 h 351"/>
                  <a:gd name="T50" fmla="*/ 43 w 368"/>
                  <a:gd name="T51" fmla="*/ 94 h 351"/>
                  <a:gd name="T52" fmla="*/ 35 w 368"/>
                  <a:gd name="T53" fmla="*/ 114 h 351"/>
                  <a:gd name="T54" fmla="*/ 62 w 368"/>
                  <a:gd name="T55" fmla="*/ 129 h 351"/>
                  <a:gd name="T56" fmla="*/ 75 w 368"/>
                  <a:gd name="T57" fmla="*/ 128 h 351"/>
                  <a:gd name="T58" fmla="*/ 79 w 368"/>
                  <a:gd name="T59" fmla="*/ 153 h 351"/>
                  <a:gd name="T60" fmla="*/ 95 w 368"/>
                  <a:gd name="T61" fmla="*/ 143 h 351"/>
                  <a:gd name="T62" fmla="*/ 114 w 368"/>
                  <a:gd name="T63" fmla="*/ 134 h 351"/>
                  <a:gd name="T64" fmla="*/ 100 w 368"/>
                  <a:gd name="T65" fmla="*/ 160 h 351"/>
                  <a:gd name="T66" fmla="*/ 169 w 368"/>
                  <a:gd name="T67" fmla="*/ 101 h 351"/>
                  <a:gd name="T68" fmla="*/ 100 w 368"/>
                  <a:gd name="T69" fmla="*/ 168 h 351"/>
                  <a:gd name="T70" fmla="*/ 62 w 368"/>
                  <a:gd name="T71" fmla="*/ 170 h 351"/>
                  <a:gd name="T72" fmla="*/ 82 w 368"/>
                  <a:gd name="T73" fmla="*/ 230 h 351"/>
                  <a:gd name="T74" fmla="*/ 52 w 368"/>
                  <a:gd name="T75" fmla="*/ 276 h 351"/>
                  <a:gd name="T76" fmla="*/ 70 w 368"/>
                  <a:gd name="T77" fmla="*/ 276 h 351"/>
                  <a:gd name="T78" fmla="*/ 80 w 368"/>
                  <a:gd name="T79" fmla="*/ 279 h 351"/>
                  <a:gd name="T80" fmla="*/ 80 w 368"/>
                  <a:gd name="T81" fmla="*/ 296 h 351"/>
                  <a:gd name="T82" fmla="*/ 82 w 368"/>
                  <a:gd name="T83" fmla="*/ 299 h 351"/>
                  <a:gd name="T84" fmla="*/ 87 w 368"/>
                  <a:gd name="T85" fmla="*/ 309 h 351"/>
                  <a:gd name="T86" fmla="*/ 52 w 368"/>
                  <a:gd name="T87" fmla="*/ 311 h 351"/>
                  <a:gd name="T88" fmla="*/ 33 w 368"/>
                  <a:gd name="T89" fmla="*/ 339 h 351"/>
                  <a:gd name="T90" fmla="*/ 35 w 368"/>
                  <a:gd name="T91" fmla="*/ 331 h 351"/>
                  <a:gd name="T92" fmla="*/ 47 w 368"/>
                  <a:gd name="T93" fmla="*/ 339 h 351"/>
                  <a:gd name="T94" fmla="*/ 59 w 368"/>
                  <a:gd name="T95" fmla="*/ 348 h 3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68" h="351">
                    <a:moveTo>
                      <a:pt x="59" y="348"/>
                    </a:moveTo>
                    <a:lnTo>
                      <a:pt x="84" y="351"/>
                    </a:lnTo>
                    <a:lnTo>
                      <a:pt x="77" y="339"/>
                    </a:lnTo>
                    <a:lnTo>
                      <a:pt x="110" y="346"/>
                    </a:lnTo>
                    <a:lnTo>
                      <a:pt x="109" y="334"/>
                    </a:lnTo>
                    <a:lnTo>
                      <a:pt x="152" y="339"/>
                    </a:lnTo>
                    <a:lnTo>
                      <a:pt x="154" y="344"/>
                    </a:lnTo>
                    <a:lnTo>
                      <a:pt x="162" y="323"/>
                    </a:lnTo>
                    <a:lnTo>
                      <a:pt x="136" y="319"/>
                    </a:lnTo>
                    <a:lnTo>
                      <a:pt x="139" y="314"/>
                    </a:lnTo>
                    <a:lnTo>
                      <a:pt x="126" y="311"/>
                    </a:lnTo>
                    <a:lnTo>
                      <a:pt x="201" y="265"/>
                    </a:lnTo>
                    <a:lnTo>
                      <a:pt x="184" y="259"/>
                    </a:lnTo>
                    <a:lnTo>
                      <a:pt x="186" y="240"/>
                    </a:lnTo>
                    <a:lnTo>
                      <a:pt x="191" y="235"/>
                    </a:lnTo>
                    <a:lnTo>
                      <a:pt x="208" y="228"/>
                    </a:lnTo>
                    <a:lnTo>
                      <a:pt x="172" y="222"/>
                    </a:lnTo>
                    <a:lnTo>
                      <a:pt x="246" y="193"/>
                    </a:lnTo>
                    <a:lnTo>
                      <a:pt x="241" y="191"/>
                    </a:lnTo>
                    <a:lnTo>
                      <a:pt x="253" y="181"/>
                    </a:lnTo>
                    <a:lnTo>
                      <a:pt x="229" y="183"/>
                    </a:lnTo>
                    <a:lnTo>
                      <a:pt x="255" y="161"/>
                    </a:lnTo>
                    <a:lnTo>
                      <a:pt x="255" y="168"/>
                    </a:lnTo>
                    <a:lnTo>
                      <a:pt x="328" y="96"/>
                    </a:lnTo>
                    <a:lnTo>
                      <a:pt x="260" y="126"/>
                    </a:lnTo>
                    <a:lnTo>
                      <a:pt x="298" y="97"/>
                    </a:lnTo>
                    <a:lnTo>
                      <a:pt x="273" y="99"/>
                    </a:lnTo>
                    <a:lnTo>
                      <a:pt x="368" y="45"/>
                    </a:lnTo>
                    <a:lnTo>
                      <a:pt x="323" y="3"/>
                    </a:lnTo>
                    <a:lnTo>
                      <a:pt x="317" y="17"/>
                    </a:lnTo>
                    <a:lnTo>
                      <a:pt x="273" y="25"/>
                    </a:lnTo>
                    <a:lnTo>
                      <a:pt x="301" y="0"/>
                    </a:lnTo>
                    <a:lnTo>
                      <a:pt x="131" y="2"/>
                    </a:lnTo>
                    <a:lnTo>
                      <a:pt x="139" y="20"/>
                    </a:lnTo>
                    <a:lnTo>
                      <a:pt x="112" y="13"/>
                    </a:lnTo>
                    <a:lnTo>
                      <a:pt x="126" y="35"/>
                    </a:lnTo>
                    <a:lnTo>
                      <a:pt x="110" y="35"/>
                    </a:lnTo>
                    <a:lnTo>
                      <a:pt x="100" y="39"/>
                    </a:lnTo>
                    <a:lnTo>
                      <a:pt x="122" y="64"/>
                    </a:lnTo>
                    <a:lnTo>
                      <a:pt x="94" y="52"/>
                    </a:lnTo>
                    <a:lnTo>
                      <a:pt x="102" y="62"/>
                    </a:lnTo>
                    <a:lnTo>
                      <a:pt x="62" y="40"/>
                    </a:lnTo>
                    <a:lnTo>
                      <a:pt x="52" y="57"/>
                    </a:lnTo>
                    <a:lnTo>
                      <a:pt x="69" y="67"/>
                    </a:lnTo>
                    <a:lnTo>
                      <a:pt x="69" y="74"/>
                    </a:lnTo>
                    <a:lnTo>
                      <a:pt x="28" y="77"/>
                    </a:lnTo>
                    <a:lnTo>
                      <a:pt x="23" y="72"/>
                    </a:lnTo>
                    <a:lnTo>
                      <a:pt x="23" y="81"/>
                    </a:lnTo>
                    <a:lnTo>
                      <a:pt x="0" y="94"/>
                    </a:lnTo>
                    <a:lnTo>
                      <a:pt x="27" y="92"/>
                    </a:lnTo>
                    <a:lnTo>
                      <a:pt x="15" y="107"/>
                    </a:lnTo>
                    <a:lnTo>
                      <a:pt x="43" y="94"/>
                    </a:lnTo>
                    <a:lnTo>
                      <a:pt x="23" y="109"/>
                    </a:lnTo>
                    <a:lnTo>
                      <a:pt x="35" y="114"/>
                    </a:lnTo>
                    <a:lnTo>
                      <a:pt x="22" y="124"/>
                    </a:lnTo>
                    <a:lnTo>
                      <a:pt x="62" y="129"/>
                    </a:lnTo>
                    <a:lnTo>
                      <a:pt x="28" y="136"/>
                    </a:lnTo>
                    <a:lnTo>
                      <a:pt x="75" y="128"/>
                    </a:lnTo>
                    <a:lnTo>
                      <a:pt x="67" y="156"/>
                    </a:lnTo>
                    <a:lnTo>
                      <a:pt x="79" y="153"/>
                    </a:lnTo>
                    <a:lnTo>
                      <a:pt x="77" y="158"/>
                    </a:lnTo>
                    <a:lnTo>
                      <a:pt x="95" y="143"/>
                    </a:lnTo>
                    <a:lnTo>
                      <a:pt x="94" y="151"/>
                    </a:lnTo>
                    <a:lnTo>
                      <a:pt x="114" y="134"/>
                    </a:lnTo>
                    <a:lnTo>
                      <a:pt x="117" y="141"/>
                    </a:lnTo>
                    <a:lnTo>
                      <a:pt x="100" y="160"/>
                    </a:lnTo>
                    <a:lnTo>
                      <a:pt x="139" y="118"/>
                    </a:lnTo>
                    <a:lnTo>
                      <a:pt x="169" y="101"/>
                    </a:lnTo>
                    <a:lnTo>
                      <a:pt x="183" y="139"/>
                    </a:lnTo>
                    <a:lnTo>
                      <a:pt x="100" y="168"/>
                    </a:lnTo>
                    <a:lnTo>
                      <a:pt x="141" y="202"/>
                    </a:lnTo>
                    <a:lnTo>
                      <a:pt x="62" y="170"/>
                    </a:lnTo>
                    <a:lnTo>
                      <a:pt x="92" y="223"/>
                    </a:lnTo>
                    <a:lnTo>
                      <a:pt x="82" y="230"/>
                    </a:lnTo>
                    <a:lnTo>
                      <a:pt x="112" y="255"/>
                    </a:lnTo>
                    <a:lnTo>
                      <a:pt x="52" y="276"/>
                    </a:lnTo>
                    <a:lnTo>
                      <a:pt x="69" y="264"/>
                    </a:lnTo>
                    <a:lnTo>
                      <a:pt x="70" y="276"/>
                    </a:lnTo>
                    <a:lnTo>
                      <a:pt x="84" y="254"/>
                    </a:lnTo>
                    <a:lnTo>
                      <a:pt x="80" y="279"/>
                    </a:lnTo>
                    <a:lnTo>
                      <a:pt x="70" y="284"/>
                    </a:lnTo>
                    <a:lnTo>
                      <a:pt x="80" y="296"/>
                    </a:lnTo>
                    <a:lnTo>
                      <a:pt x="84" y="291"/>
                    </a:lnTo>
                    <a:lnTo>
                      <a:pt x="82" y="299"/>
                    </a:lnTo>
                    <a:lnTo>
                      <a:pt x="112" y="279"/>
                    </a:lnTo>
                    <a:lnTo>
                      <a:pt x="87" y="309"/>
                    </a:lnTo>
                    <a:lnTo>
                      <a:pt x="38" y="289"/>
                    </a:lnTo>
                    <a:lnTo>
                      <a:pt x="52" y="311"/>
                    </a:lnTo>
                    <a:lnTo>
                      <a:pt x="55" y="311"/>
                    </a:lnTo>
                    <a:lnTo>
                      <a:pt x="33" y="339"/>
                    </a:lnTo>
                    <a:lnTo>
                      <a:pt x="33" y="344"/>
                    </a:lnTo>
                    <a:lnTo>
                      <a:pt x="35" y="331"/>
                    </a:lnTo>
                    <a:lnTo>
                      <a:pt x="45" y="348"/>
                    </a:lnTo>
                    <a:lnTo>
                      <a:pt x="47" y="339"/>
                    </a:lnTo>
                    <a:lnTo>
                      <a:pt x="59" y="338"/>
                    </a:lnTo>
                    <a:lnTo>
                      <a:pt x="59" y="348"/>
                    </a:lnTo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478" name="Freeform 112"/>
              <p:cNvSpPr>
                <a:spLocks/>
              </p:cNvSpPr>
              <p:nvPr/>
            </p:nvSpPr>
            <p:spPr bwMode="auto">
              <a:xfrm>
                <a:off x="2159000" y="1608138"/>
                <a:ext cx="219075" cy="288925"/>
              </a:xfrm>
              <a:custGeom>
                <a:avLst/>
                <a:gdLst>
                  <a:gd name="T0" fmla="*/ 11 w 125"/>
                  <a:gd name="T1" fmla="*/ 42 h 165"/>
                  <a:gd name="T2" fmla="*/ 31 w 125"/>
                  <a:gd name="T3" fmla="*/ 45 h 165"/>
                  <a:gd name="T4" fmla="*/ 18 w 125"/>
                  <a:gd name="T5" fmla="*/ 17 h 165"/>
                  <a:gd name="T6" fmla="*/ 43 w 125"/>
                  <a:gd name="T7" fmla="*/ 10 h 165"/>
                  <a:gd name="T8" fmla="*/ 20 w 125"/>
                  <a:gd name="T9" fmla="*/ 0 h 165"/>
                  <a:gd name="T10" fmla="*/ 97 w 125"/>
                  <a:gd name="T11" fmla="*/ 67 h 165"/>
                  <a:gd name="T12" fmla="*/ 93 w 125"/>
                  <a:gd name="T13" fmla="*/ 50 h 165"/>
                  <a:gd name="T14" fmla="*/ 120 w 125"/>
                  <a:gd name="T15" fmla="*/ 99 h 165"/>
                  <a:gd name="T16" fmla="*/ 125 w 125"/>
                  <a:gd name="T17" fmla="*/ 92 h 165"/>
                  <a:gd name="T18" fmla="*/ 102 w 125"/>
                  <a:gd name="T19" fmla="*/ 139 h 165"/>
                  <a:gd name="T20" fmla="*/ 97 w 125"/>
                  <a:gd name="T21" fmla="*/ 119 h 165"/>
                  <a:gd name="T22" fmla="*/ 97 w 125"/>
                  <a:gd name="T23" fmla="*/ 149 h 165"/>
                  <a:gd name="T24" fmla="*/ 88 w 125"/>
                  <a:gd name="T25" fmla="*/ 141 h 165"/>
                  <a:gd name="T26" fmla="*/ 90 w 125"/>
                  <a:gd name="T27" fmla="*/ 163 h 165"/>
                  <a:gd name="T28" fmla="*/ 73 w 125"/>
                  <a:gd name="T29" fmla="*/ 143 h 165"/>
                  <a:gd name="T30" fmla="*/ 82 w 125"/>
                  <a:gd name="T31" fmla="*/ 165 h 165"/>
                  <a:gd name="T32" fmla="*/ 67 w 125"/>
                  <a:gd name="T33" fmla="*/ 158 h 165"/>
                  <a:gd name="T34" fmla="*/ 73 w 125"/>
                  <a:gd name="T35" fmla="*/ 165 h 165"/>
                  <a:gd name="T36" fmla="*/ 40 w 125"/>
                  <a:gd name="T37" fmla="*/ 148 h 165"/>
                  <a:gd name="T38" fmla="*/ 55 w 125"/>
                  <a:gd name="T39" fmla="*/ 146 h 165"/>
                  <a:gd name="T40" fmla="*/ 30 w 125"/>
                  <a:gd name="T41" fmla="*/ 124 h 165"/>
                  <a:gd name="T42" fmla="*/ 40 w 125"/>
                  <a:gd name="T43" fmla="*/ 101 h 165"/>
                  <a:gd name="T44" fmla="*/ 30 w 125"/>
                  <a:gd name="T45" fmla="*/ 109 h 165"/>
                  <a:gd name="T46" fmla="*/ 33 w 125"/>
                  <a:gd name="T47" fmla="*/ 104 h 165"/>
                  <a:gd name="T48" fmla="*/ 28 w 125"/>
                  <a:gd name="T49" fmla="*/ 89 h 165"/>
                  <a:gd name="T50" fmla="*/ 0 w 125"/>
                  <a:gd name="T51" fmla="*/ 65 h 165"/>
                  <a:gd name="T52" fmla="*/ 25 w 125"/>
                  <a:gd name="T53" fmla="*/ 75 h 165"/>
                  <a:gd name="T54" fmla="*/ 31 w 125"/>
                  <a:gd name="T55" fmla="*/ 65 h 165"/>
                  <a:gd name="T56" fmla="*/ 0 w 125"/>
                  <a:gd name="T57" fmla="*/ 54 h 165"/>
                  <a:gd name="T58" fmla="*/ 16 w 125"/>
                  <a:gd name="T59" fmla="*/ 54 h 165"/>
                  <a:gd name="T60" fmla="*/ 11 w 125"/>
                  <a:gd name="T61" fmla="*/ 42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25" h="165">
                    <a:moveTo>
                      <a:pt x="11" y="42"/>
                    </a:moveTo>
                    <a:lnTo>
                      <a:pt x="31" y="45"/>
                    </a:lnTo>
                    <a:lnTo>
                      <a:pt x="18" y="17"/>
                    </a:lnTo>
                    <a:lnTo>
                      <a:pt x="43" y="10"/>
                    </a:lnTo>
                    <a:lnTo>
                      <a:pt x="20" y="0"/>
                    </a:lnTo>
                    <a:lnTo>
                      <a:pt x="97" y="67"/>
                    </a:lnTo>
                    <a:lnTo>
                      <a:pt x="93" y="50"/>
                    </a:lnTo>
                    <a:lnTo>
                      <a:pt x="120" y="99"/>
                    </a:lnTo>
                    <a:lnTo>
                      <a:pt x="125" y="92"/>
                    </a:lnTo>
                    <a:lnTo>
                      <a:pt x="102" y="139"/>
                    </a:lnTo>
                    <a:lnTo>
                      <a:pt x="97" y="119"/>
                    </a:lnTo>
                    <a:lnTo>
                      <a:pt x="97" y="149"/>
                    </a:lnTo>
                    <a:lnTo>
                      <a:pt x="88" y="141"/>
                    </a:lnTo>
                    <a:lnTo>
                      <a:pt x="90" y="163"/>
                    </a:lnTo>
                    <a:lnTo>
                      <a:pt x="73" y="143"/>
                    </a:lnTo>
                    <a:lnTo>
                      <a:pt x="82" y="165"/>
                    </a:lnTo>
                    <a:lnTo>
                      <a:pt x="67" y="158"/>
                    </a:lnTo>
                    <a:lnTo>
                      <a:pt x="73" y="165"/>
                    </a:lnTo>
                    <a:lnTo>
                      <a:pt x="40" y="148"/>
                    </a:lnTo>
                    <a:lnTo>
                      <a:pt x="55" y="146"/>
                    </a:lnTo>
                    <a:lnTo>
                      <a:pt x="30" y="124"/>
                    </a:lnTo>
                    <a:lnTo>
                      <a:pt x="40" y="101"/>
                    </a:lnTo>
                    <a:lnTo>
                      <a:pt x="30" y="109"/>
                    </a:lnTo>
                    <a:lnTo>
                      <a:pt x="33" y="104"/>
                    </a:lnTo>
                    <a:lnTo>
                      <a:pt x="28" y="89"/>
                    </a:lnTo>
                    <a:lnTo>
                      <a:pt x="0" y="65"/>
                    </a:lnTo>
                    <a:lnTo>
                      <a:pt x="25" y="75"/>
                    </a:lnTo>
                    <a:lnTo>
                      <a:pt x="31" y="65"/>
                    </a:lnTo>
                    <a:lnTo>
                      <a:pt x="0" y="54"/>
                    </a:lnTo>
                    <a:lnTo>
                      <a:pt x="16" y="54"/>
                    </a:lnTo>
                    <a:lnTo>
                      <a:pt x="11" y="42"/>
                    </a:lnTo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479" name="Freeform 113"/>
              <p:cNvSpPr>
                <a:spLocks/>
              </p:cNvSpPr>
              <p:nvPr/>
            </p:nvSpPr>
            <p:spPr bwMode="auto">
              <a:xfrm>
                <a:off x="1865313" y="2014538"/>
                <a:ext cx="111125" cy="128587"/>
              </a:xfrm>
              <a:custGeom>
                <a:avLst/>
                <a:gdLst>
                  <a:gd name="T0" fmla="*/ 27 w 64"/>
                  <a:gd name="T1" fmla="*/ 74 h 74"/>
                  <a:gd name="T2" fmla="*/ 0 w 64"/>
                  <a:gd name="T3" fmla="*/ 35 h 74"/>
                  <a:gd name="T4" fmla="*/ 25 w 64"/>
                  <a:gd name="T5" fmla="*/ 38 h 74"/>
                  <a:gd name="T6" fmla="*/ 27 w 64"/>
                  <a:gd name="T7" fmla="*/ 27 h 74"/>
                  <a:gd name="T8" fmla="*/ 10 w 64"/>
                  <a:gd name="T9" fmla="*/ 15 h 74"/>
                  <a:gd name="T10" fmla="*/ 18 w 64"/>
                  <a:gd name="T11" fmla="*/ 17 h 74"/>
                  <a:gd name="T12" fmla="*/ 12 w 64"/>
                  <a:gd name="T13" fmla="*/ 7 h 74"/>
                  <a:gd name="T14" fmla="*/ 20 w 64"/>
                  <a:gd name="T15" fmla="*/ 0 h 74"/>
                  <a:gd name="T16" fmla="*/ 44 w 64"/>
                  <a:gd name="T17" fmla="*/ 37 h 74"/>
                  <a:gd name="T18" fmla="*/ 64 w 64"/>
                  <a:gd name="T19" fmla="*/ 42 h 74"/>
                  <a:gd name="T20" fmla="*/ 27 w 64"/>
                  <a:gd name="T21" fmla="*/ 74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4" h="74">
                    <a:moveTo>
                      <a:pt x="27" y="74"/>
                    </a:moveTo>
                    <a:lnTo>
                      <a:pt x="0" y="35"/>
                    </a:lnTo>
                    <a:lnTo>
                      <a:pt x="25" y="38"/>
                    </a:lnTo>
                    <a:lnTo>
                      <a:pt x="27" y="27"/>
                    </a:lnTo>
                    <a:lnTo>
                      <a:pt x="10" y="15"/>
                    </a:lnTo>
                    <a:lnTo>
                      <a:pt x="18" y="17"/>
                    </a:lnTo>
                    <a:lnTo>
                      <a:pt x="12" y="7"/>
                    </a:lnTo>
                    <a:lnTo>
                      <a:pt x="20" y="0"/>
                    </a:lnTo>
                    <a:lnTo>
                      <a:pt x="44" y="37"/>
                    </a:lnTo>
                    <a:lnTo>
                      <a:pt x="64" y="42"/>
                    </a:lnTo>
                    <a:lnTo>
                      <a:pt x="27" y="74"/>
                    </a:lnTo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480" name="Freeform 114"/>
              <p:cNvSpPr>
                <a:spLocks/>
              </p:cNvSpPr>
              <p:nvPr/>
            </p:nvSpPr>
            <p:spPr bwMode="auto">
              <a:xfrm>
                <a:off x="2016125" y="1931988"/>
                <a:ext cx="112713" cy="120650"/>
              </a:xfrm>
              <a:custGeom>
                <a:avLst/>
                <a:gdLst>
                  <a:gd name="T0" fmla="*/ 62 w 64"/>
                  <a:gd name="T1" fmla="*/ 28 h 69"/>
                  <a:gd name="T2" fmla="*/ 64 w 64"/>
                  <a:gd name="T3" fmla="*/ 52 h 69"/>
                  <a:gd name="T4" fmla="*/ 59 w 64"/>
                  <a:gd name="T5" fmla="*/ 43 h 69"/>
                  <a:gd name="T6" fmla="*/ 61 w 64"/>
                  <a:gd name="T7" fmla="*/ 62 h 69"/>
                  <a:gd name="T8" fmla="*/ 55 w 64"/>
                  <a:gd name="T9" fmla="*/ 60 h 69"/>
                  <a:gd name="T10" fmla="*/ 39 w 64"/>
                  <a:gd name="T11" fmla="*/ 64 h 69"/>
                  <a:gd name="T12" fmla="*/ 30 w 64"/>
                  <a:gd name="T13" fmla="*/ 69 h 69"/>
                  <a:gd name="T14" fmla="*/ 0 w 64"/>
                  <a:gd name="T15" fmla="*/ 43 h 69"/>
                  <a:gd name="T16" fmla="*/ 19 w 64"/>
                  <a:gd name="T17" fmla="*/ 37 h 69"/>
                  <a:gd name="T18" fmla="*/ 12 w 64"/>
                  <a:gd name="T19" fmla="*/ 10 h 69"/>
                  <a:gd name="T20" fmla="*/ 37 w 64"/>
                  <a:gd name="T21" fmla="*/ 28 h 69"/>
                  <a:gd name="T22" fmla="*/ 20 w 64"/>
                  <a:gd name="T23" fmla="*/ 8 h 69"/>
                  <a:gd name="T24" fmla="*/ 49 w 64"/>
                  <a:gd name="T25" fmla="*/ 0 h 69"/>
                  <a:gd name="T26" fmla="*/ 62 w 64"/>
                  <a:gd name="T27" fmla="*/ 28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4" h="69">
                    <a:moveTo>
                      <a:pt x="62" y="28"/>
                    </a:moveTo>
                    <a:lnTo>
                      <a:pt x="64" y="52"/>
                    </a:lnTo>
                    <a:lnTo>
                      <a:pt x="59" y="43"/>
                    </a:lnTo>
                    <a:lnTo>
                      <a:pt x="61" y="62"/>
                    </a:lnTo>
                    <a:lnTo>
                      <a:pt x="55" y="60"/>
                    </a:lnTo>
                    <a:lnTo>
                      <a:pt x="39" y="64"/>
                    </a:lnTo>
                    <a:lnTo>
                      <a:pt x="30" y="69"/>
                    </a:lnTo>
                    <a:lnTo>
                      <a:pt x="0" y="43"/>
                    </a:lnTo>
                    <a:lnTo>
                      <a:pt x="19" y="37"/>
                    </a:lnTo>
                    <a:lnTo>
                      <a:pt x="12" y="10"/>
                    </a:lnTo>
                    <a:lnTo>
                      <a:pt x="37" y="28"/>
                    </a:lnTo>
                    <a:lnTo>
                      <a:pt x="20" y="8"/>
                    </a:lnTo>
                    <a:lnTo>
                      <a:pt x="49" y="0"/>
                    </a:lnTo>
                    <a:lnTo>
                      <a:pt x="62" y="28"/>
                    </a:lnTo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481" name="Freeform 115"/>
              <p:cNvSpPr>
                <a:spLocks/>
              </p:cNvSpPr>
              <p:nvPr/>
            </p:nvSpPr>
            <p:spPr bwMode="auto">
              <a:xfrm>
                <a:off x="2114550" y="1835150"/>
                <a:ext cx="66675" cy="73025"/>
              </a:xfrm>
              <a:custGeom>
                <a:avLst/>
                <a:gdLst>
                  <a:gd name="T0" fmla="*/ 39 w 39"/>
                  <a:gd name="T1" fmla="*/ 42 h 42"/>
                  <a:gd name="T2" fmla="*/ 0 w 39"/>
                  <a:gd name="T3" fmla="*/ 0 h 42"/>
                  <a:gd name="T4" fmla="*/ 39 w 39"/>
                  <a:gd name="T5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9" h="42">
                    <a:moveTo>
                      <a:pt x="39" y="42"/>
                    </a:moveTo>
                    <a:lnTo>
                      <a:pt x="0" y="0"/>
                    </a:lnTo>
                    <a:lnTo>
                      <a:pt x="39" y="42"/>
                    </a:lnTo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482" name="Freeform 116"/>
              <p:cNvSpPr>
                <a:spLocks/>
              </p:cNvSpPr>
              <p:nvPr/>
            </p:nvSpPr>
            <p:spPr bwMode="auto">
              <a:xfrm>
                <a:off x="1968500" y="1825625"/>
                <a:ext cx="119063" cy="88900"/>
              </a:xfrm>
              <a:custGeom>
                <a:avLst/>
                <a:gdLst>
                  <a:gd name="T0" fmla="*/ 61 w 67"/>
                  <a:gd name="T1" fmla="*/ 10 h 51"/>
                  <a:gd name="T2" fmla="*/ 67 w 67"/>
                  <a:gd name="T3" fmla="*/ 51 h 51"/>
                  <a:gd name="T4" fmla="*/ 0 w 67"/>
                  <a:gd name="T5" fmla="*/ 20 h 51"/>
                  <a:gd name="T6" fmla="*/ 19 w 67"/>
                  <a:gd name="T7" fmla="*/ 17 h 51"/>
                  <a:gd name="T8" fmla="*/ 12 w 67"/>
                  <a:gd name="T9" fmla="*/ 17 h 51"/>
                  <a:gd name="T10" fmla="*/ 19 w 67"/>
                  <a:gd name="T11" fmla="*/ 9 h 51"/>
                  <a:gd name="T12" fmla="*/ 9 w 67"/>
                  <a:gd name="T13" fmla="*/ 0 h 51"/>
                  <a:gd name="T14" fmla="*/ 0 w 67"/>
                  <a:gd name="T15" fmla="*/ 9 h 51"/>
                  <a:gd name="T16" fmla="*/ 22 w 67"/>
                  <a:gd name="T17" fmla="*/ 0 h 51"/>
                  <a:gd name="T18" fmla="*/ 61 w 67"/>
                  <a:gd name="T19" fmla="*/ 1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7" h="51">
                    <a:moveTo>
                      <a:pt x="61" y="10"/>
                    </a:moveTo>
                    <a:lnTo>
                      <a:pt x="67" y="51"/>
                    </a:lnTo>
                    <a:lnTo>
                      <a:pt x="0" y="20"/>
                    </a:lnTo>
                    <a:lnTo>
                      <a:pt x="19" y="17"/>
                    </a:lnTo>
                    <a:lnTo>
                      <a:pt x="12" y="17"/>
                    </a:lnTo>
                    <a:lnTo>
                      <a:pt x="19" y="9"/>
                    </a:lnTo>
                    <a:lnTo>
                      <a:pt x="9" y="0"/>
                    </a:lnTo>
                    <a:lnTo>
                      <a:pt x="0" y="9"/>
                    </a:lnTo>
                    <a:lnTo>
                      <a:pt x="22" y="0"/>
                    </a:lnTo>
                    <a:lnTo>
                      <a:pt x="61" y="10"/>
                    </a:lnTo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483" name="Freeform 117"/>
              <p:cNvSpPr>
                <a:spLocks/>
              </p:cNvSpPr>
              <p:nvPr/>
            </p:nvSpPr>
            <p:spPr bwMode="auto">
              <a:xfrm>
                <a:off x="1949450" y="1924050"/>
                <a:ext cx="31750" cy="39688"/>
              </a:xfrm>
              <a:custGeom>
                <a:avLst/>
                <a:gdLst>
                  <a:gd name="T0" fmla="*/ 11 w 18"/>
                  <a:gd name="T1" fmla="*/ 6 h 23"/>
                  <a:gd name="T2" fmla="*/ 18 w 18"/>
                  <a:gd name="T3" fmla="*/ 23 h 23"/>
                  <a:gd name="T4" fmla="*/ 0 w 18"/>
                  <a:gd name="T5" fmla="*/ 0 h 23"/>
                  <a:gd name="T6" fmla="*/ 11 w 18"/>
                  <a:gd name="T7" fmla="*/ 6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" h="23">
                    <a:moveTo>
                      <a:pt x="11" y="6"/>
                    </a:moveTo>
                    <a:lnTo>
                      <a:pt x="18" y="23"/>
                    </a:lnTo>
                    <a:lnTo>
                      <a:pt x="0" y="0"/>
                    </a:lnTo>
                    <a:lnTo>
                      <a:pt x="11" y="6"/>
                    </a:lnTo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484" name="Freeform 118"/>
              <p:cNvSpPr>
                <a:spLocks/>
              </p:cNvSpPr>
              <p:nvPr/>
            </p:nvSpPr>
            <p:spPr bwMode="auto">
              <a:xfrm>
                <a:off x="1698625" y="1979613"/>
                <a:ext cx="236538" cy="165100"/>
              </a:xfrm>
              <a:custGeom>
                <a:avLst/>
                <a:gdLst>
                  <a:gd name="T0" fmla="*/ 92 w 134"/>
                  <a:gd name="T1" fmla="*/ 15 h 95"/>
                  <a:gd name="T2" fmla="*/ 107 w 134"/>
                  <a:gd name="T3" fmla="*/ 0 h 95"/>
                  <a:gd name="T4" fmla="*/ 118 w 134"/>
                  <a:gd name="T5" fmla="*/ 45 h 95"/>
                  <a:gd name="T6" fmla="*/ 131 w 134"/>
                  <a:gd name="T7" fmla="*/ 48 h 95"/>
                  <a:gd name="T8" fmla="*/ 134 w 134"/>
                  <a:gd name="T9" fmla="*/ 33 h 95"/>
                  <a:gd name="T10" fmla="*/ 109 w 134"/>
                  <a:gd name="T11" fmla="*/ 72 h 95"/>
                  <a:gd name="T12" fmla="*/ 49 w 134"/>
                  <a:gd name="T13" fmla="*/ 95 h 95"/>
                  <a:gd name="T14" fmla="*/ 81 w 134"/>
                  <a:gd name="T15" fmla="*/ 65 h 95"/>
                  <a:gd name="T16" fmla="*/ 45 w 134"/>
                  <a:gd name="T17" fmla="*/ 75 h 95"/>
                  <a:gd name="T18" fmla="*/ 52 w 134"/>
                  <a:gd name="T19" fmla="*/ 58 h 95"/>
                  <a:gd name="T20" fmla="*/ 37 w 134"/>
                  <a:gd name="T21" fmla="*/ 63 h 95"/>
                  <a:gd name="T22" fmla="*/ 0 w 134"/>
                  <a:gd name="T23" fmla="*/ 67 h 95"/>
                  <a:gd name="T24" fmla="*/ 30 w 134"/>
                  <a:gd name="T25" fmla="*/ 47 h 95"/>
                  <a:gd name="T26" fmla="*/ 5 w 134"/>
                  <a:gd name="T27" fmla="*/ 53 h 95"/>
                  <a:gd name="T28" fmla="*/ 104 w 134"/>
                  <a:gd name="T29" fmla="*/ 53 h 95"/>
                  <a:gd name="T30" fmla="*/ 92 w 134"/>
                  <a:gd name="T31" fmla="*/ 1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34" h="95">
                    <a:moveTo>
                      <a:pt x="92" y="15"/>
                    </a:moveTo>
                    <a:lnTo>
                      <a:pt x="107" y="0"/>
                    </a:lnTo>
                    <a:lnTo>
                      <a:pt x="118" y="45"/>
                    </a:lnTo>
                    <a:lnTo>
                      <a:pt x="131" y="48"/>
                    </a:lnTo>
                    <a:lnTo>
                      <a:pt x="134" y="33"/>
                    </a:lnTo>
                    <a:lnTo>
                      <a:pt x="109" y="72"/>
                    </a:lnTo>
                    <a:lnTo>
                      <a:pt x="49" y="95"/>
                    </a:lnTo>
                    <a:lnTo>
                      <a:pt x="81" y="65"/>
                    </a:lnTo>
                    <a:lnTo>
                      <a:pt x="45" y="75"/>
                    </a:lnTo>
                    <a:lnTo>
                      <a:pt x="52" y="58"/>
                    </a:lnTo>
                    <a:lnTo>
                      <a:pt x="37" y="63"/>
                    </a:lnTo>
                    <a:lnTo>
                      <a:pt x="0" y="67"/>
                    </a:lnTo>
                    <a:lnTo>
                      <a:pt x="30" y="47"/>
                    </a:lnTo>
                    <a:lnTo>
                      <a:pt x="5" y="53"/>
                    </a:lnTo>
                    <a:lnTo>
                      <a:pt x="104" y="53"/>
                    </a:lnTo>
                    <a:lnTo>
                      <a:pt x="92" y="15"/>
                    </a:lnTo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485" name="Freeform 119"/>
              <p:cNvSpPr>
                <a:spLocks/>
              </p:cNvSpPr>
              <p:nvPr/>
            </p:nvSpPr>
            <p:spPr bwMode="auto">
              <a:xfrm>
                <a:off x="1587500" y="1943100"/>
                <a:ext cx="123825" cy="111125"/>
              </a:xfrm>
              <a:custGeom>
                <a:avLst/>
                <a:gdLst>
                  <a:gd name="T0" fmla="*/ 33 w 70"/>
                  <a:gd name="T1" fmla="*/ 19 h 64"/>
                  <a:gd name="T2" fmla="*/ 58 w 70"/>
                  <a:gd name="T3" fmla="*/ 4 h 64"/>
                  <a:gd name="T4" fmla="*/ 58 w 70"/>
                  <a:gd name="T5" fmla="*/ 9 h 64"/>
                  <a:gd name="T6" fmla="*/ 70 w 70"/>
                  <a:gd name="T7" fmla="*/ 5 h 64"/>
                  <a:gd name="T8" fmla="*/ 67 w 70"/>
                  <a:gd name="T9" fmla="*/ 0 h 64"/>
                  <a:gd name="T10" fmla="*/ 60 w 70"/>
                  <a:gd name="T11" fmla="*/ 44 h 64"/>
                  <a:gd name="T12" fmla="*/ 60 w 70"/>
                  <a:gd name="T13" fmla="*/ 27 h 64"/>
                  <a:gd name="T14" fmla="*/ 30 w 70"/>
                  <a:gd name="T15" fmla="*/ 64 h 64"/>
                  <a:gd name="T16" fmla="*/ 25 w 70"/>
                  <a:gd name="T17" fmla="*/ 49 h 64"/>
                  <a:gd name="T18" fmla="*/ 5 w 70"/>
                  <a:gd name="T19" fmla="*/ 59 h 64"/>
                  <a:gd name="T20" fmla="*/ 5 w 70"/>
                  <a:gd name="T21" fmla="*/ 51 h 64"/>
                  <a:gd name="T22" fmla="*/ 0 w 70"/>
                  <a:gd name="T23" fmla="*/ 54 h 64"/>
                  <a:gd name="T24" fmla="*/ 33 w 70"/>
                  <a:gd name="T25" fmla="*/ 19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0" h="64">
                    <a:moveTo>
                      <a:pt x="33" y="19"/>
                    </a:moveTo>
                    <a:lnTo>
                      <a:pt x="58" y="4"/>
                    </a:lnTo>
                    <a:lnTo>
                      <a:pt x="58" y="9"/>
                    </a:lnTo>
                    <a:lnTo>
                      <a:pt x="70" y="5"/>
                    </a:lnTo>
                    <a:lnTo>
                      <a:pt x="67" y="0"/>
                    </a:lnTo>
                    <a:lnTo>
                      <a:pt x="60" y="44"/>
                    </a:lnTo>
                    <a:lnTo>
                      <a:pt x="60" y="27"/>
                    </a:lnTo>
                    <a:lnTo>
                      <a:pt x="30" y="64"/>
                    </a:lnTo>
                    <a:lnTo>
                      <a:pt x="25" y="49"/>
                    </a:lnTo>
                    <a:lnTo>
                      <a:pt x="5" y="59"/>
                    </a:lnTo>
                    <a:lnTo>
                      <a:pt x="5" y="51"/>
                    </a:lnTo>
                    <a:lnTo>
                      <a:pt x="0" y="54"/>
                    </a:lnTo>
                    <a:lnTo>
                      <a:pt x="33" y="19"/>
                    </a:lnTo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486" name="Freeform 120"/>
              <p:cNvSpPr>
                <a:spLocks/>
              </p:cNvSpPr>
              <p:nvPr/>
            </p:nvSpPr>
            <p:spPr bwMode="auto">
              <a:xfrm>
                <a:off x="1816100" y="1900238"/>
                <a:ext cx="49213" cy="20637"/>
              </a:xfrm>
              <a:custGeom>
                <a:avLst/>
                <a:gdLst>
                  <a:gd name="T0" fmla="*/ 0 w 27"/>
                  <a:gd name="T1" fmla="*/ 0 h 12"/>
                  <a:gd name="T2" fmla="*/ 27 w 27"/>
                  <a:gd name="T3" fmla="*/ 2 h 12"/>
                  <a:gd name="T4" fmla="*/ 7 w 27"/>
                  <a:gd name="T5" fmla="*/ 10 h 12"/>
                  <a:gd name="T6" fmla="*/ 22 w 27"/>
                  <a:gd name="T7" fmla="*/ 12 h 12"/>
                  <a:gd name="T8" fmla="*/ 0 w 27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12">
                    <a:moveTo>
                      <a:pt x="0" y="0"/>
                    </a:moveTo>
                    <a:lnTo>
                      <a:pt x="27" y="2"/>
                    </a:lnTo>
                    <a:lnTo>
                      <a:pt x="7" y="10"/>
                    </a:lnTo>
                    <a:lnTo>
                      <a:pt x="22" y="12"/>
                    </a:lnTo>
                    <a:lnTo>
                      <a:pt x="0" y="0"/>
                    </a:lnTo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487" name="Freeform 121"/>
              <p:cNvSpPr>
                <a:spLocks/>
              </p:cNvSpPr>
              <p:nvPr/>
            </p:nvSpPr>
            <p:spPr bwMode="auto">
              <a:xfrm>
                <a:off x="1787525" y="1852613"/>
                <a:ext cx="82550" cy="25400"/>
              </a:xfrm>
              <a:custGeom>
                <a:avLst/>
                <a:gdLst>
                  <a:gd name="T0" fmla="*/ 41 w 46"/>
                  <a:gd name="T1" fmla="*/ 0 h 15"/>
                  <a:gd name="T2" fmla="*/ 46 w 46"/>
                  <a:gd name="T3" fmla="*/ 14 h 15"/>
                  <a:gd name="T4" fmla="*/ 0 w 46"/>
                  <a:gd name="T5" fmla="*/ 15 h 15"/>
                  <a:gd name="T6" fmla="*/ 41 w 46"/>
                  <a:gd name="T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6" h="15">
                    <a:moveTo>
                      <a:pt x="41" y="0"/>
                    </a:moveTo>
                    <a:lnTo>
                      <a:pt x="46" y="14"/>
                    </a:lnTo>
                    <a:lnTo>
                      <a:pt x="0" y="15"/>
                    </a:lnTo>
                    <a:lnTo>
                      <a:pt x="41" y="0"/>
                    </a:lnTo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488" name="Freeform 122"/>
              <p:cNvSpPr>
                <a:spLocks/>
              </p:cNvSpPr>
              <p:nvPr/>
            </p:nvSpPr>
            <p:spPr bwMode="auto">
              <a:xfrm>
                <a:off x="2097088" y="1730375"/>
                <a:ext cx="14287" cy="39688"/>
              </a:xfrm>
              <a:custGeom>
                <a:avLst/>
                <a:gdLst>
                  <a:gd name="T0" fmla="*/ 0 w 9"/>
                  <a:gd name="T1" fmla="*/ 0 h 23"/>
                  <a:gd name="T2" fmla="*/ 9 w 9"/>
                  <a:gd name="T3" fmla="*/ 23 h 23"/>
                  <a:gd name="T4" fmla="*/ 0 w 9"/>
                  <a:gd name="T5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23">
                    <a:moveTo>
                      <a:pt x="0" y="0"/>
                    </a:moveTo>
                    <a:lnTo>
                      <a:pt x="9" y="23"/>
                    </a:lnTo>
                    <a:lnTo>
                      <a:pt x="0" y="0"/>
                    </a:lnTo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489" name="Freeform 123"/>
              <p:cNvSpPr>
                <a:spLocks/>
              </p:cNvSpPr>
              <p:nvPr/>
            </p:nvSpPr>
            <p:spPr bwMode="auto">
              <a:xfrm>
                <a:off x="2160588" y="1924050"/>
                <a:ext cx="20637" cy="11113"/>
              </a:xfrm>
              <a:custGeom>
                <a:avLst/>
                <a:gdLst>
                  <a:gd name="T0" fmla="*/ 12 w 12"/>
                  <a:gd name="T1" fmla="*/ 0 h 6"/>
                  <a:gd name="T2" fmla="*/ 0 w 12"/>
                  <a:gd name="T3" fmla="*/ 6 h 6"/>
                  <a:gd name="T4" fmla="*/ 12 w 12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6">
                    <a:moveTo>
                      <a:pt x="12" y="0"/>
                    </a:moveTo>
                    <a:lnTo>
                      <a:pt x="0" y="6"/>
                    </a:lnTo>
                    <a:lnTo>
                      <a:pt x="12" y="0"/>
                    </a:lnTo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490" name="Freeform 124"/>
              <p:cNvSpPr>
                <a:spLocks/>
              </p:cNvSpPr>
              <p:nvPr/>
            </p:nvSpPr>
            <p:spPr bwMode="auto">
              <a:xfrm>
                <a:off x="2143125" y="1963738"/>
                <a:ext cx="342900" cy="188912"/>
              </a:xfrm>
              <a:custGeom>
                <a:avLst/>
                <a:gdLst>
                  <a:gd name="T0" fmla="*/ 24 w 196"/>
                  <a:gd name="T1" fmla="*/ 0 h 108"/>
                  <a:gd name="T2" fmla="*/ 0 w 196"/>
                  <a:gd name="T3" fmla="*/ 4 h 108"/>
                  <a:gd name="T4" fmla="*/ 7 w 196"/>
                  <a:gd name="T5" fmla="*/ 12 h 108"/>
                  <a:gd name="T6" fmla="*/ 0 w 196"/>
                  <a:gd name="T7" fmla="*/ 9 h 108"/>
                  <a:gd name="T8" fmla="*/ 66 w 196"/>
                  <a:gd name="T9" fmla="*/ 101 h 108"/>
                  <a:gd name="T10" fmla="*/ 71 w 196"/>
                  <a:gd name="T11" fmla="*/ 94 h 108"/>
                  <a:gd name="T12" fmla="*/ 72 w 196"/>
                  <a:gd name="T13" fmla="*/ 101 h 108"/>
                  <a:gd name="T14" fmla="*/ 72 w 196"/>
                  <a:gd name="T15" fmla="*/ 96 h 108"/>
                  <a:gd name="T16" fmla="*/ 91 w 196"/>
                  <a:gd name="T17" fmla="*/ 94 h 108"/>
                  <a:gd name="T18" fmla="*/ 94 w 196"/>
                  <a:gd name="T19" fmla="*/ 99 h 108"/>
                  <a:gd name="T20" fmla="*/ 128 w 196"/>
                  <a:gd name="T21" fmla="*/ 103 h 108"/>
                  <a:gd name="T22" fmla="*/ 131 w 196"/>
                  <a:gd name="T23" fmla="*/ 108 h 108"/>
                  <a:gd name="T24" fmla="*/ 141 w 196"/>
                  <a:gd name="T25" fmla="*/ 106 h 108"/>
                  <a:gd name="T26" fmla="*/ 143 w 196"/>
                  <a:gd name="T27" fmla="*/ 98 h 108"/>
                  <a:gd name="T28" fmla="*/ 196 w 196"/>
                  <a:gd name="T29" fmla="*/ 61 h 108"/>
                  <a:gd name="T30" fmla="*/ 128 w 196"/>
                  <a:gd name="T31" fmla="*/ 66 h 108"/>
                  <a:gd name="T32" fmla="*/ 136 w 196"/>
                  <a:gd name="T33" fmla="*/ 72 h 108"/>
                  <a:gd name="T34" fmla="*/ 121 w 196"/>
                  <a:gd name="T35" fmla="*/ 74 h 108"/>
                  <a:gd name="T36" fmla="*/ 109 w 196"/>
                  <a:gd name="T37" fmla="*/ 69 h 108"/>
                  <a:gd name="T38" fmla="*/ 97 w 196"/>
                  <a:gd name="T39" fmla="*/ 61 h 108"/>
                  <a:gd name="T40" fmla="*/ 94 w 196"/>
                  <a:gd name="T41" fmla="*/ 71 h 108"/>
                  <a:gd name="T42" fmla="*/ 67 w 196"/>
                  <a:gd name="T43" fmla="*/ 56 h 108"/>
                  <a:gd name="T44" fmla="*/ 77 w 196"/>
                  <a:gd name="T45" fmla="*/ 46 h 108"/>
                  <a:gd name="T46" fmla="*/ 24 w 196"/>
                  <a:gd name="T47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96" h="108">
                    <a:moveTo>
                      <a:pt x="24" y="0"/>
                    </a:moveTo>
                    <a:lnTo>
                      <a:pt x="0" y="4"/>
                    </a:lnTo>
                    <a:lnTo>
                      <a:pt x="7" y="12"/>
                    </a:lnTo>
                    <a:lnTo>
                      <a:pt x="0" y="9"/>
                    </a:lnTo>
                    <a:lnTo>
                      <a:pt x="66" y="101"/>
                    </a:lnTo>
                    <a:lnTo>
                      <a:pt x="71" y="94"/>
                    </a:lnTo>
                    <a:lnTo>
                      <a:pt x="72" y="101"/>
                    </a:lnTo>
                    <a:lnTo>
                      <a:pt x="72" y="96"/>
                    </a:lnTo>
                    <a:lnTo>
                      <a:pt x="91" y="94"/>
                    </a:lnTo>
                    <a:lnTo>
                      <a:pt x="94" y="99"/>
                    </a:lnTo>
                    <a:lnTo>
                      <a:pt x="128" y="103"/>
                    </a:lnTo>
                    <a:lnTo>
                      <a:pt x="131" y="108"/>
                    </a:lnTo>
                    <a:lnTo>
                      <a:pt x="141" y="106"/>
                    </a:lnTo>
                    <a:lnTo>
                      <a:pt x="143" y="98"/>
                    </a:lnTo>
                    <a:lnTo>
                      <a:pt x="196" y="61"/>
                    </a:lnTo>
                    <a:lnTo>
                      <a:pt x="128" y="66"/>
                    </a:lnTo>
                    <a:lnTo>
                      <a:pt x="136" y="72"/>
                    </a:lnTo>
                    <a:lnTo>
                      <a:pt x="121" y="74"/>
                    </a:lnTo>
                    <a:lnTo>
                      <a:pt x="109" y="69"/>
                    </a:lnTo>
                    <a:lnTo>
                      <a:pt x="97" y="61"/>
                    </a:lnTo>
                    <a:lnTo>
                      <a:pt x="94" y="71"/>
                    </a:lnTo>
                    <a:lnTo>
                      <a:pt x="67" y="56"/>
                    </a:lnTo>
                    <a:lnTo>
                      <a:pt x="77" y="46"/>
                    </a:lnTo>
                    <a:lnTo>
                      <a:pt x="24" y="0"/>
                    </a:lnTo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491" name="Freeform 125"/>
              <p:cNvSpPr>
                <a:spLocks/>
              </p:cNvSpPr>
              <p:nvPr/>
            </p:nvSpPr>
            <p:spPr bwMode="auto">
              <a:xfrm>
                <a:off x="2155825" y="1998663"/>
                <a:ext cx="55563" cy="73025"/>
              </a:xfrm>
              <a:custGeom>
                <a:avLst/>
                <a:gdLst>
                  <a:gd name="T0" fmla="*/ 15 w 32"/>
                  <a:gd name="T1" fmla="*/ 0 h 42"/>
                  <a:gd name="T2" fmla="*/ 32 w 32"/>
                  <a:gd name="T3" fmla="*/ 42 h 42"/>
                  <a:gd name="T4" fmla="*/ 0 w 32"/>
                  <a:gd name="T5" fmla="*/ 32 h 42"/>
                  <a:gd name="T6" fmla="*/ 15 w 32"/>
                  <a:gd name="T7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2" h="42">
                    <a:moveTo>
                      <a:pt x="15" y="0"/>
                    </a:moveTo>
                    <a:lnTo>
                      <a:pt x="32" y="42"/>
                    </a:lnTo>
                    <a:lnTo>
                      <a:pt x="0" y="32"/>
                    </a:lnTo>
                    <a:lnTo>
                      <a:pt x="15" y="0"/>
                    </a:lnTo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492" name="Freeform 126"/>
              <p:cNvSpPr>
                <a:spLocks/>
              </p:cNvSpPr>
              <p:nvPr/>
            </p:nvSpPr>
            <p:spPr bwMode="auto">
              <a:xfrm>
                <a:off x="2003425" y="1997075"/>
                <a:ext cx="100013" cy="134938"/>
              </a:xfrm>
              <a:custGeom>
                <a:avLst/>
                <a:gdLst>
                  <a:gd name="T0" fmla="*/ 2 w 56"/>
                  <a:gd name="T1" fmla="*/ 0 h 77"/>
                  <a:gd name="T2" fmla="*/ 56 w 56"/>
                  <a:gd name="T3" fmla="*/ 6 h 77"/>
                  <a:gd name="T4" fmla="*/ 0 w 56"/>
                  <a:gd name="T5" fmla="*/ 77 h 77"/>
                  <a:gd name="T6" fmla="*/ 2 w 56"/>
                  <a:gd name="T7" fmla="*/ 0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6" h="77">
                    <a:moveTo>
                      <a:pt x="2" y="0"/>
                    </a:moveTo>
                    <a:lnTo>
                      <a:pt x="56" y="6"/>
                    </a:lnTo>
                    <a:lnTo>
                      <a:pt x="0" y="77"/>
                    </a:lnTo>
                    <a:lnTo>
                      <a:pt x="2" y="0"/>
                    </a:lnTo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493" name="Freeform 127"/>
              <p:cNvSpPr>
                <a:spLocks/>
              </p:cNvSpPr>
              <p:nvPr/>
            </p:nvSpPr>
            <p:spPr bwMode="auto">
              <a:xfrm>
                <a:off x="3440113" y="2840038"/>
                <a:ext cx="244475" cy="142875"/>
              </a:xfrm>
              <a:custGeom>
                <a:avLst/>
                <a:gdLst>
                  <a:gd name="T0" fmla="*/ 59 w 139"/>
                  <a:gd name="T1" fmla="*/ 82 h 82"/>
                  <a:gd name="T2" fmla="*/ 24 w 139"/>
                  <a:gd name="T3" fmla="*/ 69 h 82"/>
                  <a:gd name="T4" fmla="*/ 35 w 139"/>
                  <a:gd name="T5" fmla="*/ 61 h 82"/>
                  <a:gd name="T6" fmla="*/ 30 w 139"/>
                  <a:gd name="T7" fmla="*/ 62 h 82"/>
                  <a:gd name="T8" fmla="*/ 35 w 139"/>
                  <a:gd name="T9" fmla="*/ 54 h 82"/>
                  <a:gd name="T10" fmla="*/ 8 w 139"/>
                  <a:gd name="T11" fmla="*/ 49 h 82"/>
                  <a:gd name="T12" fmla="*/ 35 w 139"/>
                  <a:gd name="T13" fmla="*/ 37 h 82"/>
                  <a:gd name="T14" fmla="*/ 27 w 139"/>
                  <a:gd name="T15" fmla="*/ 39 h 82"/>
                  <a:gd name="T16" fmla="*/ 35 w 139"/>
                  <a:gd name="T17" fmla="*/ 30 h 82"/>
                  <a:gd name="T18" fmla="*/ 0 w 139"/>
                  <a:gd name="T19" fmla="*/ 30 h 82"/>
                  <a:gd name="T20" fmla="*/ 5 w 139"/>
                  <a:gd name="T21" fmla="*/ 19 h 82"/>
                  <a:gd name="T22" fmla="*/ 17 w 139"/>
                  <a:gd name="T23" fmla="*/ 24 h 82"/>
                  <a:gd name="T24" fmla="*/ 10 w 139"/>
                  <a:gd name="T25" fmla="*/ 19 h 82"/>
                  <a:gd name="T26" fmla="*/ 13 w 139"/>
                  <a:gd name="T27" fmla="*/ 17 h 82"/>
                  <a:gd name="T28" fmla="*/ 8 w 139"/>
                  <a:gd name="T29" fmla="*/ 12 h 82"/>
                  <a:gd name="T30" fmla="*/ 12 w 139"/>
                  <a:gd name="T31" fmla="*/ 14 h 82"/>
                  <a:gd name="T32" fmla="*/ 12 w 139"/>
                  <a:gd name="T33" fmla="*/ 10 h 82"/>
                  <a:gd name="T34" fmla="*/ 13 w 139"/>
                  <a:gd name="T35" fmla="*/ 12 h 82"/>
                  <a:gd name="T36" fmla="*/ 12 w 139"/>
                  <a:gd name="T37" fmla="*/ 9 h 82"/>
                  <a:gd name="T38" fmla="*/ 25 w 139"/>
                  <a:gd name="T39" fmla="*/ 19 h 82"/>
                  <a:gd name="T40" fmla="*/ 25 w 139"/>
                  <a:gd name="T41" fmla="*/ 15 h 82"/>
                  <a:gd name="T42" fmla="*/ 27 w 139"/>
                  <a:gd name="T43" fmla="*/ 19 h 82"/>
                  <a:gd name="T44" fmla="*/ 22 w 139"/>
                  <a:gd name="T45" fmla="*/ 7 h 82"/>
                  <a:gd name="T46" fmla="*/ 27 w 139"/>
                  <a:gd name="T47" fmla="*/ 7 h 82"/>
                  <a:gd name="T48" fmla="*/ 19 w 139"/>
                  <a:gd name="T49" fmla="*/ 0 h 82"/>
                  <a:gd name="T50" fmla="*/ 42 w 139"/>
                  <a:gd name="T51" fmla="*/ 35 h 82"/>
                  <a:gd name="T52" fmla="*/ 49 w 139"/>
                  <a:gd name="T53" fmla="*/ 24 h 82"/>
                  <a:gd name="T54" fmla="*/ 52 w 139"/>
                  <a:gd name="T55" fmla="*/ 29 h 82"/>
                  <a:gd name="T56" fmla="*/ 54 w 139"/>
                  <a:gd name="T57" fmla="*/ 12 h 82"/>
                  <a:gd name="T58" fmla="*/ 64 w 139"/>
                  <a:gd name="T59" fmla="*/ 22 h 82"/>
                  <a:gd name="T60" fmla="*/ 74 w 139"/>
                  <a:gd name="T61" fmla="*/ 9 h 82"/>
                  <a:gd name="T62" fmla="*/ 82 w 139"/>
                  <a:gd name="T63" fmla="*/ 24 h 82"/>
                  <a:gd name="T64" fmla="*/ 79 w 139"/>
                  <a:gd name="T65" fmla="*/ 9 h 82"/>
                  <a:gd name="T66" fmla="*/ 102 w 139"/>
                  <a:gd name="T67" fmla="*/ 9 h 82"/>
                  <a:gd name="T68" fmla="*/ 101 w 139"/>
                  <a:gd name="T69" fmla="*/ 0 h 82"/>
                  <a:gd name="T70" fmla="*/ 126 w 139"/>
                  <a:gd name="T71" fmla="*/ 3 h 82"/>
                  <a:gd name="T72" fmla="*/ 119 w 139"/>
                  <a:gd name="T73" fmla="*/ 10 h 82"/>
                  <a:gd name="T74" fmla="*/ 132 w 139"/>
                  <a:gd name="T75" fmla="*/ 27 h 82"/>
                  <a:gd name="T76" fmla="*/ 132 w 139"/>
                  <a:gd name="T77" fmla="*/ 24 h 82"/>
                  <a:gd name="T78" fmla="*/ 136 w 139"/>
                  <a:gd name="T79" fmla="*/ 37 h 82"/>
                  <a:gd name="T80" fmla="*/ 139 w 139"/>
                  <a:gd name="T81" fmla="*/ 35 h 82"/>
                  <a:gd name="T82" fmla="*/ 126 w 139"/>
                  <a:gd name="T83" fmla="*/ 54 h 82"/>
                  <a:gd name="T84" fmla="*/ 131 w 139"/>
                  <a:gd name="T85" fmla="*/ 52 h 82"/>
                  <a:gd name="T86" fmla="*/ 59 w 139"/>
                  <a:gd name="T87" fmla="*/ 82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39" h="82">
                    <a:moveTo>
                      <a:pt x="59" y="82"/>
                    </a:moveTo>
                    <a:lnTo>
                      <a:pt x="24" y="69"/>
                    </a:lnTo>
                    <a:lnTo>
                      <a:pt x="35" y="61"/>
                    </a:lnTo>
                    <a:lnTo>
                      <a:pt x="30" y="62"/>
                    </a:lnTo>
                    <a:lnTo>
                      <a:pt x="35" y="54"/>
                    </a:lnTo>
                    <a:lnTo>
                      <a:pt x="8" y="49"/>
                    </a:lnTo>
                    <a:lnTo>
                      <a:pt x="35" y="37"/>
                    </a:lnTo>
                    <a:lnTo>
                      <a:pt x="27" y="39"/>
                    </a:lnTo>
                    <a:lnTo>
                      <a:pt x="35" y="30"/>
                    </a:lnTo>
                    <a:lnTo>
                      <a:pt x="0" y="30"/>
                    </a:lnTo>
                    <a:lnTo>
                      <a:pt x="5" y="19"/>
                    </a:lnTo>
                    <a:lnTo>
                      <a:pt x="17" y="24"/>
                    </a:lnTo>
                    <a:lnTo>
                      <a:pt x="10" y="19"/>
                    </a:lnTo>
                    <a:lnTo>
                      <a:pt x="13" y="17"/>
                    </a:lnTo>
                    <a:lnTo>
                      <a:pt x="8" y="12"/>
                    </a:lnTo>
                    <a:lnTo>
                      <a:pt x="12" y="14"/>
                    </a:lnTo>
                    <a:lnTo>
                      <a:pt x="12" y="10"/>
                    </a:lnTo>
                    <a:lnTo>
                      <a:pt x="13" y="12"/>
                    </a:lnTo>
                    <a:lnTo>
                      <a:pt x="12" y="9"/>
                    </a:lnTo>
                    <a:lnTo>
                      <a:pt x="25" y="19"/>
                    </a:lnTo>
                    <a:lnTo>
                      <a:pt x="25" y="15"/>
                    </a:lnTo>
                    <a:lnTo>
                      <a:pt x="27" y="19"/>
                    </a:lnTo>
                    <a:lnTo>
                      <a:pt x="22" y="7"/>
                    </a:lnTo>
                    <a:lnTo>
                      <a:pt x="27" y="7"/>
                    </a:lnTo>
                    <a:lnTo>
                      <a:pt x="19" y="0"/>
                    </a:lnTo>
                    <a:lnTo>
                      <a:pt x="42" y="35"/>
                    </a:lnTo>
                    <a:lnTo>
                      <a:pt x="49" y="24"/>
                    </a:lnTo>
                    <a:lnTo>
                      <a:pt x="52" y="29"/>
                    </a:lnTo>
                    <a:lnTo>
                      <a:pt x="54" y="12"/>
                    </a:lnTo>
                    <a:lnTo>
                      <a:pt x="64" y="22"/>
                    </a:lnTo>
                    <a:lnTo>
                      <a:pt x="74" y="9"/>
                    </a:lnTo>
                    <a:lnTo>
                      <a:pt x="82" y="24"/>
                    </a:lnTo>
                    <a:lnTo>
                      <a:pt x="79" y="9"/>
                    </a:lnTo>
                    <a:lnTo>
                      <a:pt x="102" y="9"/>
                    </a:lnTo>
                    <a:lnTo>
                      <a:pt x="101" y="0"/>
                    </a:lnTo>
                    <a:lnTo>
                      <a:pt x="126" y="3"/>
                    </a:lnTo>
                    <a:lnTo>
                      <a:pt x="119" y="10"/>
                    </a:lnTo>
                    <a:lnTo>
                      <a:pt x="132" y="27"/>
                    </a:lnTo>
                    <a:lnTo>
                      <a:pt x="132" y="24"/>
                    </a:lnTo>
                    <a:lnTo>
                      <a:pt x="136" y="37"/>
                    </a:lnTo>
                    <a:lnTo>
                      <a:pt x="139" y="35"/>
                    </a:lnTo>
                    <a:lnTo>
                      <a:pt x="126" y="54"/>
                    </a:lnTo>
                    <a:lnTo>
                      <a:pt x="131" y="52"/>
                    </a:lnTo>
                    <a:lnTo>
                      <a:pt x="59" y="82"/>
                    </a:lnTo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494" name="Freeform 128"/>
              <p:cNvSpPr>
                <a:spLocks/>
              </p:cNvSpPr>
              <p:nvPr/>
            </p:nvSpPr>
            <p:spPr bwMode="auto">
              <a:xfrm>
                <a:off x="5600700" y="2232025"/>
                <a:ext cx="98425" cy="180975"/>
              </a:xfrm>
              <a:custGeom>
                <a:avLst/>
                <a:gdLst>
                  <a:gd name="T0" fmla="*/ 13 w 57"/>
                  <a:gd name="T1" fmla="*/ 0 h 104"/>
                  <a:gd name="T2" fmla="*/ 57 w 57"/>
                  <a:gd name="T3" fmla="*/ 104 h 104"/>
                  <a:gd name="T4" fmla="*/ 45 w 57"/>
                  <a:gd name="T5" fmla="*/ 99 h 104"/>
                  <a:gd name="T6" fmla="*/ 48 w 57"/>
                  <a:gd name="T7" fmla="*/ 103 h 104"/>
                  <a:gd name="T8" fmla="*/ 13 w 57"/>
                  <a:gd name="T9" fmla="*/ 88 h 104"/>
                  <a:gd name="T10" fmla="*/ 22 w 57"/>
                  <a:gd name="T11" fmla="*/ 84 h 104"/>
                  <a:gd name="T12" fmla="*/ 17 w 57"/>
                  <a:gd name="T13" fmla="*/ 71 h 104"/>
                  <a:gd name="T14" fmla="*/ 0 w 57"/>
                  <a:gd name="T15" fmla="*/ 66 h 104"/>
                  <a:gd name="T16" fmla="*/ 13 w 57"/>
                  <a:gd name="T17" fmla="*/ 0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7" h="104">
                    <a:moveTo>
                      <a:pt x="13" y="0"/>
                    </a:moveTo>
                    <a:lnTo>
                      <a:pt x="57" y="104"/>
                    </a:lnTo>
                    <a:lnTo>
                      <a:pt x="45" y="99"/>
                    </a:lnTo>
                    <a:lnTo>
                      <a:pt x="48" y="103"/>
                    </a:lnTo>
                    <a:lnTo>
                      <a:pt x="13" y="88"/>
                    </a:lnTo>
                    <a:lnTo>
                      <a:pt x="22" y="84"/>
                    </a:lnTo>
                    <a:lnTo>
                      <a:pt x="17" y="71"/>
                    </a:lnTo>
                    <a:lnTo>
                      <a:pt x="0" y="66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495" name="Freeform 129"/>
              <p:cNvSpPr>
                <a:spLocks/>
              </p:cNvSpPr>
              <p:nvPr/>
            </p:nvSpPr>
            <p:spPr bwMode="auto">
              <a:xfrm>
                <a:off x="5622925" y="1943100"/>
                <a:ext cx="331788" cy="274638"/>
              </a:xfrm>
              <a:custGeom>
                <a:avLst/>
                <a:gdLst>
                  <a:gd name="T0" fmla="*/ 0 w 190"/>
                  <a:gd name="T1" fmla="*/ 143 h 157"/>
                  <a:gd name="T2" fmla="*/ 87 w 190"/>
                  <a:gd name="T3" fmla="*/ 42 h 157"/>
                  <a:gd name="T4" fmla="*/ 190 w 190"/>
                  <a:gd name="T5" fmla="*/ 0 h 157"/>
                  <a:gd name="T6" fmla="*/ 168 w 190"/>
                  <a:gd name="T7" fmla="*/ 32 h 157"/>
                  <a:gd name="T8" fmla="*/ 67 w 190"/>
                  <a:gd name="T9" fmla="*/ 100 h 157"/>
                  <a:gd name="T10" fmla="*/ 57 w 190"/>
                  <a:gd name="T11" fmla="*/ 103 h 157"/>
                  <a:gd name="T12" fmla="*/ 59 w 190"/>
                  <a:gd name="T13" fmla="*/ 123 h 157"/>
                  <a:gd name="T14" fmla="*/ 45 w 190"/>
                  <a:gd name="T15" fmla="*/ 132 h 157"/>
                  <a:gd name="T16" fmla="*/ 45 w 190"/>
                  <a:gd name="T17" fmla="*/ 153 h 157"/>
                  <a:gd name="T18" fmla="*/ 40 w 190"/>
                  <a:gd name="T19" fmla="*/ 148 h 157"/>
                  <a:gd name="T20" fmla="*/ 7 w 190"/>
                  <a:gd name="T21" fmla="*/ 157 h 157"/>
                  <a:gd name="T22" fmla="*/ 17 w 190"/>
                  <a:gd name="T23" fmla="*/ 147 h 157"/>
                  <a:gd name="T24" fmla="*/ 0 w 190"/>
                  <a:gd name="T25" fmla="*/ 143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0" h="157">
                    <a:moveTo>
                      <a:pt x="0" y="143"/>
                    </a:moveTo>
                    <a:lnTo>
                      <a:pt x="87" y="42"/>
                    </a:lnTo>
                    <a:lnTo>
                      <a:pt x="190" y="0"/>
                    </a:lnTo>
                    <a:lnTo>
                      <a:pt x="168" y="32"/>
                    </a:lnTo>
                    <a:lnTo>
                      <a:pt x="67" y="100"/>
                    </a:lnTo>
                    <a:lnTo>
                      <a:pt x="57" y="103"/>
                    </a:lnTo>
                    <a:lnTo>
                      <a:pt x="59" y="123"/>
                    </a:lnTo>
                    <a:lnTo>
                      <a:pt x="45" y="132"/>
                    </a:lnTo>
                    <a:lnTo>
                      <a:pt x="45" y="153"/>
                    </a:lnTo>
                    <a:lnTo>
                      <a:pt x="40" y="148"/>
                    </a:lnTo>
                    <a:lnTo>
                      <a:pt x="7" y="157"/>
                    </a:lnTo>
                    <a:lnTo>
                      <a:pt x="17" y="147"/>
                    </a:lnTo>
                    <a:lnTo>
                      <a:pt x="0" y="143"/>
                    </a:lnTo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496" name="Freeform 130"/>
              <p:cNvSpPr>
                <a:spLocks/>
              </p:cNvSpPr>
              <p:nvPr/>
            </p:nvSpPr>
            <p:spPr bwMode="auto">
              <a:xfrm>
                <a:off x="7794625" y="6148388"/>
                <a:ext cx="69850" cy="77787"/>
              </a:xfrm>
              <a:custGeom>
                <a:avLst/>
                <a:gdLst>
                  <a:gd name="T0" fmla="*/ 1 w 40"/>
                  <a:gd name="T1" fmla="*/ 18 h 44"/>
                  <a:gd name="T2" fmla="*/ 8 w 40"/>
                  <a:gd name="T3" fmla="*/ 20 h 44"/>
                  <a:gd name="T4" fmla="*/ 33 w 40"/>
                  <a:gd name="T5" fmla="*/ 0 h 44"/>
                  <a:gd name="T6" fmla="*/ 40 w 40"/>
                  <a:gd name="T7" fmla="*/ 25 h 44"/>
                  <a:gd name="T8" fmla="*/ 38 w 40"/>
                  <a:gd name="T9" fmla="*/ 20 h 44"/>
                  <a:gd name="T10" fmla="*/ 35 w 40"/>
                  <a:gd name="T11" fmla="*/ 30 h 44"/>
                  <a:gd name="T12" fmla="*/ 28 w 40"/>
                  <a:gd name="T13" fmla="*/ 35 h 44"/>
                  <a:gd name="T14" fmla="*/ 25 w 40"/>
                  <a:gd name="T15" fmla="*/ 42 h 44"/>
                  <a:gd name="T16" fmla="*/ 16 w 40"/>
                  <a:gd name="T17" fmla="*/ 44 h 44"/>
                  <a:gd name="T18" fmla="*/ 0 w 40"/>
                  <a:gd name="T19" fmla="*/ 28 h 44"/>
                  <a:gd name="T20" fmla="*/ 3 w 40"/>
                  <a:gd name="T21" fmla="*/ 33 h 44"/>
                  <a:gd name="T22" fmla="*/ 1 w 40"/>
                  <a:gd name="T23" fmla="*/ 18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0" h="44">
                    <a:moveTo>
                      <a:pt x="1" y="18"/>
                    </a:moveTo>
                    <a:lnTo>
                      <a:pt x="8" y="20"/>
                    </a:lnTo>
                    <a:lnTo>
                      <a:pt x="33" y="0"/>
                    </a:lnTo>
                    <a:lnTo>
                      <a:pt x="40" y="25"/>
                    </a:lnTo>
                    <a:lnTo>
                      <a:pt x="38" y="20"/>
                    </a:lnTo>
                    <a:lnTo>
                      <a:pt x="35" y="30"/>
                    </a:lnTo>
                    <a:lnTo>
                      <a:pt x="28" y="35"/>
                    </a:lnTo>
                    <a:lnTo>
                      <a:pt x="25" y="42"/>
                    </a:lnTo>
                    <a:lnTo>
                      <a:pt x="16" y="44"/>
                    </a:lnTo>
                    <a:lnTo>
                      <a:pt x="0" y="28"/>
                    </a:lnTo>
                    <a:lnTo>
                      <a:pt x="3" y="33"/>
                    </a:lnTo>
                    <a:lnTo>
                      <a:pt x="1" y="18"/>
                    </a:lnTo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497" name="Freeform 131"/>
              <p:cNvSpPr>
                <a:spLocks/>
              </p:cNvSpPr>
              <p:nvPr/>
            </p:nvSpPr>
            <p:spPr bwMode="auto">
              <a:xfrm>
                <a:off x="8183563" y="6037263"/>
                <a:ext cx="173037" cy="173037"/>
              </a:xfrm>
              <a:custGeom>
                <a:avLst/>
                <a:gdLst>
                  <a:gd name="T0" fmla="*/ 71 w 98"/>
                  <a:gd name="T1" fmla="*/ 8 h 99"/>
                  <a:gd name="T2" fmla="*/ 78 w 98"/>
                  <a:gd name="T3" fmla="*/ 0 h 99"/>
                  <a:gd name="T4" fmla="*/ 81 w 98"/>
                  <a:gd name="T5" fmla="*/ 7 h 99"/>
                  <a:gd name="T6" fmla="*/ 83 w 98"/>
                  <a:gd name="T7" fmla="*/ 10 h 99"/>
                  <a:gd name="T8" fmla="*/ 93 w 98"/>
                  <a:gd name="T9" fmla="*/ 7 h 99"/>
                  <a:gd name="T10" fmla="*/ 93 w 98"/>
                  <a:gd name="T11" fmla="*/ 12 h 99"/>
                  <a:gd name="T12" fmla="*/ 94 w 98"/>
                  <a:gd name="T13" fmla="*/ 8 h 99"/>
                  <a:gd name="T14" fmla="*/ 98 w 98"/>
                  <a:gd name="T15" fmla="*/ 13 h 99"/>
                  <a:gd name="T16" fmla="*/ 93 w 98"/>
                  <a:gd name="T17" fmla="*/ 27 h 99"/>
                  <a:gd name="T18" fmla="*/ 79 w 98"/>
                  <a:gd name="T19" fmla="*/ 44 h 99"/>
                  <a:gd name="T20" fmla="*/ 83 w 98"/>
                  <a:gd name="T21" fmla="*/ 54 h 99"/>
                  <a:gd name="T22" fmla="*/ 64 w 98"/>
                  <a:gd name="T23" fmla="*/ 55 h 99"/>
                  <a:gd name="T24" fmla="*/ 51 w 98"/>
                  <a:gd name="T25" fmla="*/ 91 h 99"/>
                  <a:gd name="T26" fmla="*/ 36 w 98"/>
                  <a:gd name="T27" fmla="*/ 99 h 99"/>
                  <a:gd name="T28" fmla="*/ 26 w 98"/>
                  <a:gd name="T29" fmla="*/ 99 h 99"/>
                  <a:gd name="T30" fmla="*/ 24 w 98"/>
                  <a:gd name="T31" fmla="*/ 97 h 99"/>
                  <a:gd name="T32" fmla="*/ 17 w 98"/>
                  <a:gd name="T33" fmla="*/ 96 h 99"/>
                  <a:gd name="T34" fmla="*/ 12 w 98"/>
                  <a:gd name="T35" fmla="*/ 92 h 99"/>
                  <a:gd name="T36" fmla="*/ 2 w 98"/>
                  <a:gd name="T37" fmla="*/ 92 h 99"/>
                  <a:gd name="T38" fmla="*/ 6 w 98"/>
                  <a:gd name="T39" fmla="*/ 87 h 99"/>
                  <a:gd name="T40" fmla="*/ 2 w 98"/>
                  <a:gd name="T41" fmla="*/ 91 h 99"/>
                  <a:gd name="T42" fmla="*/ 4 w 98"/>
                  <a:gd name="T43" fmla="*/ 87 h 99"/>
                  <a:gd name="T44" fmla="*/ 0 w 98"/>
                  <a:gd name="T45" fmla="*/ 89 h 99"/>
                  <a:gd name="T46" fmla="*/ 26 w 98"/>
                  <a:gd name="T47" fmla="*/ 55 h 99"/>
                  <a:gd name="T48" fmla="*/ 51 w 98"/>
                  <a:gd name="T49" fmla="*/ 37 h 99"/>
                  <a:gd name="T50" fmla="*/ 71 w 98"/>
                  <a:gd name="T51" fmla="*/ 8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98" h="99">
                    <a:moveTo>
                      <a:pt x="71" y="8"/>
                    </a:moveTo>
                    <a:lnTo>
                      <a:pt x="78" y="0"/>
                    </a:lnTo>
                    <a:lnTo>
                      <a:pt x="81" y="7"/>
                    </a:lnTo>
                    <a:lnTo>
                      <a:pt x="83" y="10"/>
                    </a:lnTo>
                    <a:lnTo>
                      <a:pt x="93" y="7"/>
                    </a:lnTo>
                    <a:lnTo>
                      <a:pt x="93" y="12"/>
                    </a:lnTo>
                    <a:lnTo>
                      <a:pt x="94" y="8"/>
                    </a:lnTo>
                    <a:lnTo>
                      <a:pt x="98" y="13"/>
                    </a:lnTo>
                    <a:lnTo>
                      <a:pt x="93" y="27"/>
                    </a:lnTo>
                    <a:lnTo>
                      <a:pt x="79" y="44"/>
                    </a:lnTo>
                    <a:lnTo>
                      <a:pt x="83" y="54"/>
                    </a:lnTo>
                    <a:lnTo>
                      <a:pt x="64" y="55"/>
                    </a:lnTo>
                    <a:lnTo>
                      <a:pt x="51" y="91"/>
                    </a:lnTo>
                    <a:lnTo>
                      <a:pt x="36" y="99"/>
                    </a:lnTo>
                    <a:lnTo>
                      <a:pt x="26" y="99"/>
                    </a:lnTo>
                    <a:lnTo>
                      <a:pt x="24" y="97"/>
                    </a:lnTo>
                    <a:lnTo>
                      <a:pt x="17" y="96"/>
                    </a:lnTo>
                    <a:lnTo>
                      <a:pt x="12" y="92"/>
                    </a:lnTo>
                    <a:lnTo>
                      <a:pt x="2" y="92"/>
                    </a:lnTo>
                    <a:lnTo>
                      <a:pt x="6" y="87"/>
                    </a:lnTo>
                    <a:lnTo>
                      <a:pt x="2" y="91"/>
                    </a:lnTo>
                    <a:lnTo>
                      <a:pt x="4" y="87"/>
                    </a:lnTo>
                    <a:lnTo>
                      <a:pt x="0" y="89"/>
                    </a:lnTo>
                    <a:lnTo>
                      <a:pt x="26" y="55"/>
                    </a:lnTo>
                    <a:lnTo>
                      <a:pt x="51" y="37"/>
                    </a:lnTo>
                    <a:lnTo>
                      <a:pt x="71" y="8"/>
                    </a:lnTo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498" name="Freeform 132"/>
              <p:cNvSpPr>
                <a:spLocks/>
              </p:cNvSpPr>
              <p:nvPr/>
            </p:nvSpPr>
            <p:spPr bwMode="auto">
              <a:xfrm>
                <a:off x="8321675" y="5876925"/>
                <a:ext cx="122238" cy="190500"/>
              </a:xfrm>
              <a:custGeom>
                <a:avLst/>
                <a:gdLst>
                  <a:gd name="T0" fmla="*/ 1 w 70"/>
                  <a:gd name="T1" fmla="*/ 0 h 108"/>
                  <a:gd name="T2" fmla="*/ 6 w 70"/>
                  <a:gd name="T3" fmla="*/ 7 h 108"/>
                  <a:gd name="T4" fmla="*/ 16 w 70"/>
                  <a:gd name="T5" fmla="*/ 10 h 108"/>
                  <a:gd name="T6" fmla="*/ 18 w 70"/>
                  <a:gd name="T7" fmla="*/ 15 h 108"/>
                  <a:gd name="T8" fmla="*/ 23 w 70"/>
                  <a:gd name="T9" fmla="*/ 20 h 108"/>
                  <a:gd name="T10" fmla="*/ 20 w 70"/>
                  <a:gd name="T11" fmla="*/ 19 h 108"/>
                  <a:gd name="T12" fmla="*/ 25 w 70"/>
                  <a:gd name="T13" fmla="*/ 34 h 108"/>
                  <a:gd name="T14" fmla="*/ 28 w 70"/>
                  <a:gd name="T15" fmla="*/ 35 h 108"/>
                  <a:gd name="T16" fmla="*/ 33 w 70"/>
                  <a:gd name="T17" fmla="*/ 41 h 108"/>
                  <a:gd name="T18" fmla="*/ 33 w 70"/>
                  <a:gd name="T19" fmla="*/ 30 h 108"/>
                  <a:gd name="T20" fmla="*/ 45 w 70"/>
                  <a:gd name="T21" fmla="*/ 47 h 108"/>
                  <a:gd name="T22" fmla="*/ 60 w 70"/>
                  <a:gd name="T23" fmla="*/ 51 h 108"/>
                  <a:gd name="T24" fmla="*/ 68 w 70"/>
                  <a:gd name="T25" fmla="*/ 46 h 108"/>
                  <a:gd name="T26" fmla="*/ 70 w 70"/>
                  <a:gd name="T27" fmla="*/ 54 h 108"/>
                  <a:gd name="T28" fmla="*/ 67 w 70"/>
                  <a:gd name="T29" fmla="*/ 67 h 108"/>
                  <a:gd name="T30" fmla="*/ 53 w 70"/>
                  <a:gd name="T31" fmla="*/ 76 h 108"/>
                  <a:gd name="T32" fmla="*/ 48 w 70"/>
                  <a:gd name="T33" fmla="*/ 89 h 108"/>
                  <a:gd name="T34" fmla="*/ 33 w 70"/>
                  <a:gd name="T35" fmla="*/ 108 h 108"/>
                  <a:gd name="T36" fmla="*/ 31 w 70"/>
                  <a:gd name="T37" fmla="*/ 104 h 108"/>
                  <a:gd name="T38" fmla="*/ 26 w 70"/>
                  <a:gd name="T39" fmla="*/ 104 h 108"/>
                  <a:gd name="T40" fmla="*/ 28 w 70"/>
                  <a:gd name="T41" fmla="*/ 96 h 108"/>
                  <a:gd name="T42" fmla="*/ 26 w 70"/>
                  <a:gd name="T43" fmla="*/ 84 h 108"/>
                  <a:gd name="T44" fmla="*/ 16 w 70"/>
                  <a:gd name="T45" fmla="*/ 69 h 108"/>
                  <a:gd name="T46" fmla="*/ 23 w 70"/>
                  <a:gd name="T47" fmla="*/ 64 h 108"/>
                  <a:gd name="T48" fmla="*/ 25 w 70"/>
                  <a:gd name="T49" fmla="*/ 35 h 108"/>
                  <a:gd name="T50" fmla="*/ 18 w 70"/>
                  <a:gd name="T51" fmla="*/ 30 h 108"/>
                  <a:gd name="T52" fmla="*/ 20 w 70"/>
                  <a:gd name="T53" fmla="*/ 32 h 108"/>
                  <a:gd name="T54" fmla="*/ 20 w 70"/>
                  <a:gd name="T55" fmla="*/ 25 h 108"/>
                  <a:gd name="T56" fmla="*/ 16 w 70"/>
                  <a:gd name="T57" fmla="*/ 29 h 108"/>
                  <a:gd name="T58" fmla="*/ 11 w 70"/>
                  <a:gd name="T59" fmla="*/ 20 h 108"/>
                  <a:gd name="T60" fmla="*/ 10 w 70"/>
                  <a:gd name="T61" fmla="*/ 12 h 108"/>
                  <a:gd name="T62" fmla="*/ 0 w 70"/>
                  <a:gd name="T63" fmla="*/ 0 h 108"/>
                  <a:gd name="T64" fmla="*/ 1 w 70"/>
                  <a:gd name="T65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70" h="108">
                    <a:moveTo>
                      <a:pt x="1" y="0"/>
                    </a:moveTo>
                    <a:lnTo>
                      <a:pt x="6" y="7"/>
                    </a:lnTo>
                    <a:lnTo>
                      <a:pt x="16" y="10"/>
                    </a:lnTo>
                    <a:lnTo>
                      <a:pt x="18" y="15"/>
                    </a:lnTo>
                    <a:lnTo>
                      <a:pt x="23" y="20"/>
                    </a:lnTo>
                    <a:lnTo>
                      <a:pt x="20" y="19"/>
                    </a:lnTo>
                    <a:lnTo>
                      <a:pt x="25" y="34"/>
                    </a:lnTo>
                    <a:lnTo>
                      <a:pt x="28" y="35"/>
                    </a:lnTo>
                    <a:lnTo>
                      <a:pt x="33" y="41"/>
                    </a:lnTo>
                    <a:lnTo>
                      <a:pt x="33" y="30"/>
                    </a:lnTo>
                    <a:lnTo>
                      <a:pt x="45" y="47"/>
                    </a:lnTo>
                    <a:lnTo>
                      <a:pt x="60" y="51"/>
                    </a:lnTo>
                    <a:lnTo>
                      <a:pt x="68" y="46"/>
                    </a:lnTo>
                    <a:lnTo>
                      <a:pt x="70" y="54"/>
                    </a:lnTo>
                    <a:lnTo>
                      <a:pt x="67" y="67"/>
                    </a:lnTo>
                    <a:lnTo>
                      <a:pt x="53" y="76"/>
                    </a:lnTo>
                    <a:lnTo>
                      <a:pt x="48" y="89"/>
                    </a:lnTo>
                    <a:lnTo>
                      <a:pt x="33" y="108"/>
                    </a:lnTo>
                    <a:lnTo>
                      <a:pt x="31" y="104"/>
                    </a:lnTo>
                    <a:lnTo>
                      <a:pt x="26" y="104"/>
                    </a:lnTo>
                    <a:lnTo>
                      <a:pt x="28" y="96"/>
                    </a:lnTo>
                    <a:lnTo>
                      <a:pt x="26" y="84"/>
                    </a:lnTo>
                    <a:lnTo>
                      <a:pt x="16" y="69"/>
                    </a:lnTo>
                    <a:lnTo>
                      <a:pt x="23" y="64"/>
                    </a:lnTo>
                    <a:lnTo>
                      <a:pt x="25" y="35"/>
                    </a:lnTo>
                    <a:lnTo>
                      <a:pt x="18" y="30"/>
                    </a:lnTo>
                    <a:lnTo>
                      <a:pt x="20" y="32"/>
                    </a:lnTo>
                    <a:lnTo>
                      <a:pt x="20" y="25"/>
                    </a:lnTo>
                    <a:lnTo>
                      <a:pt x="16" y="29"/>
                    </a:lnTo>
                    <a:lnTo>
                      <a:pt x="11" y="20"/>
                    </a:lnTo>
                    <a:lnTo>
                      <a:pt x="10" y="12"/>
                    </a:lnTo>
                    <a:lnTo>
                      <a:pt x="0" y="0"/>
                    </a:lnTo>
                    <a:lnTo>
                      <a:pt x="1" y="0"/>
                    </a:lnTo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499" name="Freeform 133"/>
              <p:cNvSpPr>
                <a:spLocks/>
              </p:cNvSpPr>
              <p:nvPr/>
            </p:nvSpPr>
            <p:spPr bwMode="auto">
              <a:xfrm>
                <a:off x="4324350" y="1833563"/>
                <a:ext cx="169863" cy="358775"/>
              </a:xfrm>
              <a:custGeom>
                <a:avLst/>
                <a:gdLst>
                  <a:gd name="T0" fmla="*/ 49 w 96"/>
                  <a:gd name="T1" fmla="*/ 21 h 206"/>
                  <a:gd name="T2" fmla="*/ 57 w 96"/>
                  <a:gd name="T3" fmla="*/ 60 h 206"/>
                  <a:gd name="T4" fmla="*/ 61 w 96"/>
                  <a:gd name="T5" fmla="*/ 58 h 206"/>
                  <a:gd name="T6" fmla="*/ 71 w 96"/>
                  <a:gd name="T7" fmla="*/ 74 h 206"/>
                  <a:gd name="T8" fmla="*/ 69 w 96"/>
                  <a:gd name="T9" fmla="*/ 0 h 206"/>
                  <a:gd name="T10" fmla="*/ 86 w 96"/>
                  <a:gd name="T11" fmla="*/ 47 h 206"/>
                  <a:gd name="T12" fmla="*/ 96 w 96"/>
                  <a:gd name="T13" fmla="*/ 31 h 206"/>
                  <a:gd name="T14" fmla="*/ 69 w 96"/>
                  <a:gd name="T15" fmla="*/ 206 h 206"/>
                  <a:gd name="T16" fmla="*/ 61 w 96"/>
                  <a:gd name="T17" fmla="*/ 190 h 206"/>
                  <a:gd name="T18" fmla="*/ 71 w 96"/>
                  <a:gd name="T19" fmla="*/ 184 h 206"/>
                  <a:gd name="T20" fmla="*/ 41 w 96"/>
                  <a:gd name="T21" fmla="*/ 159 h 206"/>
                  <a:gd name="T22" fmla="*/ 76 w 96"/>
                  <a:gd name="T23" fmla="*/ 134 h 206"/>
                  <a:gd name="T24" fmla="*/ 37 w 96"/>
                  <a:gd name="T25" fmla="*/ 144 h 206"/>
                  <a:gd name="T26" fmla="*/ 36 w 96"/>
                  <a:gd name="T27" fmla="*/ 127 h 206"/>
                  <a:gd name="T28" fmla="*/ 44 w 96"/>
                  <a:gd name="T29" fmla="*/ 131 h 206"/>
                  <a:gd name="T30" fmla="*/ 72 w 96"/>
                  <a:gd name="T31" fmla="*/ 85 h 206"/>
                  <a:gd name="T32" fmla="*/ 61 w 96"/>
                  <a:gd name="T33" fmla="*/ 104 h 206"/>
                  <a:gd name="T34" fmla="*/ 59 w 96"/>
                  <a:gd name="T35" fmla="*/ 80 h 206"/>
                  <a:gd name="T36" fmla="*/ 54 w 96"/>
                  <a:gd name="T37" fmla="*/ 94 h 206"/>
                  <a:gd name="T38" fmla="*/ 51 w 96"/>
                  <a:gd name="T39" fmla="*/ 87 h 206"/>
                  <a:gd name="T40" fmla="*/ 36 w 96"/>
                  <a:gd name="T41" fmla="*/ 117 h 206"/>
                  <a:gd name="T42" fmla="*/ 20 w 96"/>
                  <a:gd name="T43" fmla="*/ 102 h 206"/>
                  <a:gd name="T44" fmla="*/ 31 w 96"/>
                  <a:gd name="T45" fmla="*/ 95 h 206"/>
                  <a:gd name="T46" fmla="*/ 7 w 96"/>
                  <a:gd name="T47" fmla="*/ 72 h 206"/>
                  <a:gd name="T48" fmla="*/ 20 w 96"/>
                  <a:gd name="T49" fmla="*/ 77 h 206"/>
                  <a:gd name="T50" fmla="*/ 15 w 96"/>
                  <a:gd name="T51" fmla="*/ 52 h 206"/>
                  <a:gd name="T52" fmla="*/ 7 w 96"/>
                  <a:gd name="T53" fmla="*/ 52 h 206"/>
                  <a:gd name="T54" fmla="*/ 7 w 96"/>
                  <a:gd name="T55" fmla="*/ 63 h 206"/>
                  <a:gd name="T56" fmla="*/ 0 w 96"/>
                  <a:gd name="T57" fmla="*/ 25 h 206"/>
                  <a:gd name="T58" fmla="*/ 7 w 96"/>
                  <a:gd name="T59" fmla="*/ 30 h 206"/>
                  <a:gd name="T60" fmla="*/ 10 w 96"/>
                  <a:gd name="T61" fmla="*/ 16 h 206"/>
                  <a:gd name="T62" fmla="*/ 17 w 96"/>
                  <a:gd name="T63" fmla="*/ 26 h 206"/>
                  <a:gd name="T64" fmla="*/ 17 w 96"/>
                  <a:gd name="T65" fmla="*/ 15 h 206"/>
                  <a:gd name="T66" fmla="*/ 37 w 96"/>
                  <a:gd name="T67" fmla="*/ 15 h 206"/>
                  <a:gd name="T68" fmla="*/ 31 w 96"/>
                  <a:gd name="T69" fmla="*/ 43 h 206"/>
                  <a:gd name="T70" fmla="*/ 34 w 96"/>
                  <a:gd name="T71" fmla="*/ 40 h 206"/>
                  <a:gd name="T72" fmla="*/ 44 w 96"/>
                  <a:gd name="T73" fmla="*/ 55 h 206"/>
                  <a:gd name="T74" fmla="*/ 46 w 96"/>
                  <a:gd name="T75" fmla="*/ 18 h 206"/>
                  <a:gd name="T76" fmla="*/ 49 w 96"/>
                  <a:gd name="T77" fmla="*/ 21 h 206"/>
                  <a:gd name="T78" fmla="*/ 49 w 96"/>
                  <a:gd name="T79" fmla="*/ 21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96" h="206">
                    <a:moveTo>
                      <a:pt x="49" y="21"/>
                    </a:moveTo>
                    <a:lnTo>
                      <a:pt x="57" y="60"/>
                    </a:lnTo>
                    <a:lnTo>
                      <a:pt x="61" y="58"/>
                    </a:lnTo>
                    <a:lnTo>
                      <a:pt x="71" y="74"/>
                    </a:lnTo>
                    <a:lnTo>
                      <a:pt x="69" y="0"/>
                    </a:lnTo>
                    <a:lnTo>
                      <a:pt x="86" y="47"/>
                    </a:lnTo>
                    <a:lnTo>
                      <a:pt x="96" y="31"/>
                    </a:lnTo>
                    <a:lnTo>
                      <a:pt x="69" y="206"/>
                    </a:lnTo>
                    <a:lnTo>
                      <a:pt x="61" y="190"/>
                    </a:lnTo>
                    <a:lnTo>
                      <a:pt x="71" y="184"/>
                    </a:lnTo>
                    <a:lnTo>
                      <a:pt x="41" y="159"/>
                    </a:lnTo>
                    <a:lnTo>
                      <a:pt x="76" y="134"/>
                    </a:lnTo>
                    <a:lnTo>
                      <a:pt x="37" y="144"/>
                    </a:lnTo>
                    <a:lnTo>
                      <a:pt x="36" y="127"/>
                    </a:lnTo>
                    <a:lnTo>
                      <a:pt x="44" y="131"/>
                    </a:lnTo>
                    <a:lnTo>
                      <a:pt x="72" y="85"/>
                    </a:lnTo>
                    <a:lnTo>
                      <a:pt x="61" y="104"/>
                    </a:lnTo>
                    <a:lnTo>
                      <a:pt x="59" y="80"/>
                    </a:lnTo>
                    <a:lnTo>
                      <a:pt x="54" y="94"/>
                    </a:lnTo>
                    <a:lnTo>
                      <a:pt x="51" y="87"/>
                    </a:lnTo>
                    <a:lnTo>
                      <a:pt x="36" y="117"/>
                    </a:lnTo>
                    <a:lnTo>
                      <a:pt x="20" y="102"/>
                    </a:lnTo>
                    <a:lnTo>
                      <a:pt x="31" y="95"/>
                    </a:lnTo>
                    <a:lnTo>
                      <a:pt x="7" y="72"/>
                    </a:lnTo>
                    <a:lnTo>
                      <a:pt x="20" y="77"/>
                    </a:lnTo>
                    <a:lnTo>
                      <a:pt x="15" y="52"/>
                    </a:lnTo>
                    <a:lnTo>
                      <a:pt x="7" y="52"/>
                    </a:lnTo>
                    <a:lnTo>
                      <a:pt x="7" y="63"/>
                    </a:lnTo>
                    <a:lnTo>
                      <a:pt x="0" y="25"/>
                    </a:lnTo>
                    <a:lnTo>
                      <a:pt x="7" y="30"/>
                    </a:lnTo>
                    <a:lnTo>
                      <a:pt x="10" y="16"/>
                    </a:lnTo>
                    <a:lnTo>
                      <a:pt x="17" y="26"/>
                    </a:lnTo>
                    <a:lnTo>
                      <a:pt x="17" y="15"/>
                    </a:lnTo>
                    <a:lnTo>
                      <a:pt x="37" y="15"/>
                    </a:lnTo>
                    <a:lnTo>
                      <a:pt x="31" y="43"/>
                    </a:lnTo>
                    <a:lnTo>
                      <a:pt x="34" y="40"/>
                    </a:lnTo>
                    <a:lnTo>
                      <a:pt x="44" y="55"/>
                    </a:lnTo>
                    <a:lnTo>
                      <a:pt x="46" y="18"/>
                    </a:lnTo>
                    <a:lnTo>
                      <a:pt x="49" y="21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00" name="Freeform 134"/>
              <p:cNvSpPr>
                <a:spLocks/>
              </p:cNvSpPr>
              <p:nvPr/>
            </p:nvSpPr>
            <p:spPr bwMode="auto">
              <a:xfrm>
                <a:off x="4546600" y="2028825"/>
                <a:ext cx="88900" cy="96838"/>
              </a:xfrm>
              <a:custGeom>
                <a:avLst/>
                <a:gdLst>
                  <a:gd name="T0" fmla="*/ 25 w 50"/>
                  <a:gd name="T1" fmla="*/ 0 h 56"/>
                  <a:gd name="T2" fmla="*/ 50 w 50"/>
                  <a:gd name="T3" fmla="*/ 27 h 56"/>
                  <a:gd name="T4" fmla="*/ 20 w 50"/>
                  <a:gd name="T5" fmla="*/ 56 h 56"/>
                  <a:gd name="T6" fmla="*/ 25 w 50"/>
                  <a:gd name="T7" fmla="*/ 35 h 56"/>
                  <a:gd name="T8" fmla="*/ 0 w 50"/>
                  <a:gd name="T9" fmla="*/ 47 h 56"/>
                  <a:gd name="T10" fmla="*/ 25 w 50"/>
                  <a:gd name="T11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0" h="56">
                    <a:moveTo>
                      <a:pt x="25" y="0"/>
                    </a:moveTo>
                    <a:lnTo>
                      <a:pt x="50" y="27"/>
                    </a:lnTo>
                    <a:lnTo>
                      <a:pt x="20" y="56"/>
                    </a:lnTo>
                    <a:lnTo>
                      <a:pt x="25" y="35"/>
                    </a:lnTo>
                    <a:lnTo>
                      <a:pt x="0" y="47"/>
                    </a:lnTo>
                    <a:lnTo>
                      <a:pt x="25" y="0"/>
                    </a:lnTo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01" name="Freeform 135"/>
              <p:cNvSpPr>
                <a:spLocks/>
              </p:cNvSpPr>
              <p:nvPr/>
            </p:nvSpPr>
            <p:spPr bwMode="auto">
              <a:xfrm>
                <a:off x="4471988" y="1774825"/>
                <a:ext cx="209550" cy="115888"/>
              </a:xfrm>
              <a:custGeom>
                <a:avLst/>
                <a:gdLst>
                  <a:gd name="T0" fmla="*/ 67 w 119"/>
                  <a:gd name="T1" fmla="*/ 2 h 67"/>
                  <a:gd name="T2" fmla="*/ 119 w 119"/>
                  <a:gd name="T3" fmla="*/ 40 h 67"/>
                  <a:gd name="T4" fmla="*/ 29 w 119"/>
                  <a:gd name="T5" fmla="*/ 67 h 67"/>
                  <a:gd name="T6" fmla="*/ 45 w 119"/>
                  <a:gd name="T7" fmla="*/ 67 h 67"/>
                  <a:gd name="T8" fmla="*/ 39 w 119"/>
                  <a:gd name="T9" fmla="*/ 60 h 67"/>
                  <a:gd name="T10" fmla="*/ 55 w 119"/>
                  <a:gd name="T11" fmla="*/ 50 h 67"/>
                  <a:gd name="T12" fmla="*/ 10 w 119"/>
                  <a:gd name="T13" fmla="*/ 44 h 67"/>
                  <a:gd name="T14" fmla="*/ 17 w 119"/>
                  <a:gd name="T15" fmla="*/ 35 h 67"/>
                  <a:gd name="T16" fmla="*/ 0 w 119"/>
                  <a:gd name="T17" fmla="*/ 29 h 67"/>
                  <a:gd name="T18" fmla="*/ 24 w 119"/>
                  <a:gd name="T19" fmla="*/ 37 h 67"/>
                  <a:gd name="T20" fmla="*/ 20 w 119"/>
                  <a:gd name="T21" fmla="*/ 12 h 67"/>
                  <a:gd name="T22" fmla="*/ 29 w 119"/>
                  <a:gd name="T23" fmla="*/ 25 h 67"/>
                  <a:gd name="T24" fmla="*/ 29 w 119"/>
                  <a:gd name="T25" fmla="*/ 0 h 67"/>
                  <a:gd name="T26" fmla="*/ 60 w 119"/>
                  <a:gd name="T27" fmla="*/ 39 h 67"/>
                  <a:gd name="T28" fmla="*/ 62 w 119"/>
                  <a:gd name="T29" fmla="*/ 8 h 67"/>
                  <a:gd name="T30" fmla="*/ 67 w 119"/>
                  <a:gd name="T31" fmla="*/ 13 h 67"/>
                  <a:gd name="T32" fmla="*/ 67 w 119"/>
                  <a:gd name="T33" fmla="*/ 2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9" h="67">
                    <a:moveTo>
                      <a:pt x="67" y="2"/>
                    </a:moveTo>
                    <a:lnTo>
                      <a:pt x="119" y="40"/>
                    </a:lnTo>
                    <a:lnTo>
                      <a:pt x="29" y="67"/>
                    </a:lnTo>
                    <a:lnTo>
                      <a:pt x="45" y="67"/>
                    </a:lnTo>
                    <a:lnTo>
                      <a:pt x="39" y="60"/>
                    </a:lnTo>
                    <a:lnTo>
                      <a:pt x="55" y="50"/>
                    </a:lnTo>
                    <a:lnTo>
                      <a:pt x="10" y="44"/>
                    </a:lnTo>
                    <a:lnTo>
                      <a:pt x="17" y="35"/>
                    </a:lnTo>
                    <a:lnTo>
                      <a:pt x="0" y="29"/>
                    </a:lnTo>
                    <a:lnTo>
                      <a:pt x="24" y="37"/>
                    </a:lnTo>
                    <a:lnTo>
                      <a:pt x="20" y="12"/>
                    </a:lnTo>
                    <a:lnTo>
                      <a:pt x="29" y="25"/>
                    </a:lnTo>
                    <a:lnTo>
                      <a:pt x="29" y="0"/>
                    </a:lnTo>
                    <a:lnTo>
                      <a:pt x="60" y="39"/>
                    </a:lnTo>
                    <a:lnTo>
                      <a:pt x="62" y="8"/>
                    </a:lnTo>
                    <a:lnTo>
                      <a:pt x="67" y="13"/>
                    </a:lnTo>
                    <a:lnTo>
                      <a:pt x="67" y="2"/>
                    </a:lnTo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02" name="Freeform 136"/>
              <p:cNvSpPr>
                <a:spLocks/>
              </p:cNvSpPr>
              <p:nvPr/>
            </p:nvSpPr>
            <p:spPr bwMode="auto">
              <a:xfrm>
                <a:off x="1514475" y="2182813"/>
                <a:ext cx="436563" cy="406400"/>
              </a:xfrm>
              <a:custGeom>
                <a:avLst/>
                <a:gdLst>
                  <a:gd name="T0" fmla="*/ 0 w 249"/>
                  <a:gd name="T1" fmla="*/ 103 h 232"/>
                  <a:gd name="T2" fmla="*/ 13 w 249"/>
                  <a:gd name="T3" fmla="*/ 110 h 232"/>
                  <a:gd name="T4" fmla="*/ 6 w 249"/>
                  <a:gd name="T5" fmla="*/ 133 h 232"/>
                  <a:gd name="T6" fmla="*/ 27 w 249"/>
                  <a:gd name="T7" fmla="*/ 140 h 232"/>
                  <a:gd name="T8" fmla="*/ 70 w 249"/>
                  <a:gd name="T9" fmla="*/ 140 h 232"/>
                  <a:gd name="T10" fmla="*/ 83 w 249"/>
                  <a:gd name="T11" fmla="*/ 157 h 232"/>
                  <a:gd name="T12" fmla="*/ 70 w 249"/>
                  <a:gd name="T13" fmla="*/ 165 h 232"/>
                  <a:gd name="T14" fmla="*/ 27 w 249"/>
                  <a:gd name="T15" fmla="*/ 165 h 232"/>
                  <a:gd name="T16" fmla="*/ 33 w 249"/>
                  <a:gd name="T17" fmla="*/ 194 h 232"/>
                  <a:gd name="T18" fmla="*/ 48 w 249"/>
                  <a:gd name="T19" fmla="*/ 200 h 232"/>
                  <a:gd name="T20" fmla="*/ 70 w 249"/>
                  <a:gd name="T21" fmla="*/ 200 h 232"/>
                  <a:gd name="T22" fmla="*/ 78 w 249"/>
                  <a:gd name="T23" fmla="*/ 232 h 232"/>
                  <a:gd name="T24" fmla="*/ 120 w 249"/>
                  <a:gd name="T25" fmla="*/ 224 h 232"/>
                  <a:gd name="T26" fmla="*/ 162 w 249"/>
                  <a:gd name="T27" fmla="*/ 200 h 232"/>
                  <a:gd name="T28" fmla="*/ 169 w 249"/>
                  <a:gd name="T29" fmla="*/ 194 h 232"/>
                  <a:gd name="T30" fmla="*/ 206 w 249"/>
                  <a:gd name="T31" fmla="*/ 224 h 232"/>
                  <a:gd name="T32" fmla="*/ 219 w 249"/>
                  <a:gd name="T33" fmla="*/ 215 h 232"/>
                  <a:gd name="T34" fmla="*/ 234 w 249"/>
                  <a:gd name="T35" fmla="*/ 200 h 232"/>
                  <a:gd name="T36" fmla="*/ 234 w 249"/>
                  <a:gd name="T37" fmla="*/ 187 h 232"/>
                  <a:gd name="T38" fmla="*/ 241 w 249"/>
                  <a:gd name="T39" fmla="*/ 187 h 232"/>
                  <a:gd name="T40" fmla="*/ 249 w 249"/>
                  <a:gd name="T41" fmla="*/ 165 h 232"/>
                  <a:gd name="T42" fmla="*/ 192 w 249"/>
                  <a:gd name="T43" fmla="*/ 133 h 232"/>
                  <a:gd name="T44" fmla="*/ 192 w 249"/>
                  <a:gd name="T45" fmla="*/ 103 h 232"/>
                  <a:gd name="T46" fmla="*/ 176 w 249"/>
                  <a:gd name="T47" fmla="*/ 59 h 232"/>
                  <a:gd name="T48" fmla="*/ 197 w 249"/>
                  <a:gd name="T49" fmla="*/ 14 h 232"/>
                  <a:gd name="T50" fmla="*/ 192 w 249"/>
                  <a:gd name="T51" fmla="*/ 0 h 232"/>
                  <a:gd name="T52" fmla="*/ 162 w 249"/>
                  <a:gd name="T53" fmla="*/ 0 h 232"/>
                  <a:gd name="T54" fmla="*/ 149 w 249"/>
                  <a:gd name="T55" fmla="*/ 44 h 232"/>
                  <a:gd name="T56" fmla="*/ 127 w 249"/>
                  <a:gd name="T57" fmla="*/ 37 h 232"/>
                  <a:gd name="T58" fmla="*/ 112 w 249"/>
                  <a:gd name="T59" fmla="*/ 37 h 232"/>
                  <a:gd name="T60" fmla="*/ 92 w 249"/>
                  <a:gd name="T61" fmla="*/ 29 h 232"/>
                  <a:gd name="T62" fmla="*/ 78 w 249"/>
                  <a:gd name="T63" fmla="*/ 44 h 232"/>
                  <a:gd name="T64" fmla="*/ 70 w 249"/>
                  <a:gd name="T65" fmla="*/ 22 h 232"/>
                  <a:gd name="T66" fmla="*/ 48 w 249"/>
                  <a:gd name="T67" fmla="*/ 22 h 232"/>
                  <a:gd name="T68" fmla="*/ 6 w 249"/>
                  <a:gd name="T69" fmla="*/ 59 h 232"/>
                  <a:gd name="T70" fmla="*/ 6 w 249"/>
                  <a:gd name="T71" fmla="*/ 68 h 232"/>
                  <a:gd name="T72" fmla="*/ 0 w 249"/>
                  <a:gd name="T73" fmla="*/ 89 h 232"/>
                  <a:gd name="T74" fmla="*/ 0 w 249"/>
                  <a:gd name="T75" fmla="*/ 103 h 232"/>
                  <a:gd name="T76" fmla="*/ 0 w 249"/>
                  <a:gd name="T77" fmla="*/ 103 h 232"/>
                  <a:gd name="T78" fmla="*/ 0 w 249"/>
                  <a:gd name="T79" fmla="*/ 103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49" h="232">
                    <a:moveTo>
                      <a:pt x="0" y="103"/>
                    </a:moveTo>
                    <a:lnTo>
                      <a:pt x="13" y="110"/>
                    </a:lnTo>
                    <a:lnTo>
                      <a:pt x="6" y="133"/>
                    </a:lnTo>
                    <a:lnTo>
                      <a:pt x="27" y="140"/>
                    </a:lnTo>
                    <a:lnTo>
                      <a:pt x="70" y="140"/>
                    </a:lnTo>
                    <a:lnTo>
                      <a:pt x="83" y="157"/>
                    </a:lnTo>
                    <a:lnTo>
                      <a:pt x="70" y="165"/>
                    </a:lnTo>
                    <a:lnTo>
                      <a:pt x="27" y="165"/>
                    </a:lnTo>
                    <a:lnTo>
                      <a:pt x="33" y="194"/>
                    </a:lnTo>
                    <a:lnTo>
                      <a:pt x="48" y="200"/>
                    </a:lnTo>
                    <a:lnTo>
                      <a:pt x="70" y="200"/>
                    </a:lnTo>
                    <a:lnTo>
                      <a:pt x="78" y="232"/>
                    </a:lnTo>
                    <a:lnTo>
                      <a:pt x="120" y="224"/>
                    </a:lnTo>
                    <a:lnTo>
                      <a:pt x="162" y="200"/>
                    </a:lnTo>
                    <a:lnTo>
                      <a:pt x="169" y="194"/>
                    </a:lnTo>
                    <a:lnTo>
                      <a:pt x="206" y="224"/>
                    </a:lnTo>
                    <a:lnTo>
                      <a:pt x="219" y="215"/>
                    </a:lnTo>
                    <a:lnTo>
                      <a:pt x="234" y="200"/>
                    </a:lnTo>
                    <a:lnTo>
                      <a:pt x="234" y="187"/>
                    </a:lnTo>
                    <a:lnTo>
                      <a:pt x="241" y="187"/>
                    </a:lnTo>
                    <a:lnTo>
                      <a:pt x="249" y="165"/>
                    </a:lnTo>
                    <a:lnTo>
                      <a:pt x="192" y="133"/>
                    </a:lnTo>
                    <a:lnTo>
                      <a:pt x="192" y="103"/>
                    </a:lnTo>
                    <a:lnTo>
                      <a:pt x="176" y="59"/>
                    </a:lnTo>
                    <a:lnTo>
                      <a:pt x="197" y="14"/>
                    </a:lnTo>
                    <a:lnTo>
                      <a:pt x="192" y="0"/>
                    </a:lnTo>
                    <a:lnTo>
                      <a:pt x="162" y="0"/>
                    </a:lnTo>
                    <a:lnTo>
                      <a:pt x="149" y="44"/>
                    </a:lnTo>
                    <a:lnTo>
                      <a:pt x="127" y="37"/>
                    </a:lnTo>
                    <a:lnTo>
                      <a:pt x="112" y="37"/>
                    </a:lnTo>
                    <a:lnTo>
                      <a:pt x="92" y="29"/>
                    </a:lnTo>
                    <a:lnTo>
                      <a:pt x="78" y="44"/>
                    </a:lnTo>
                    <a:lnTo>
                      <a:pt x="70" y="22"/>
                    </a:lnTo>
                    <a:lnTo>
                      <a:pt x="48" y="22"/>
                    </a:lnTo>
                    <a:lnTo>
                      <a:pt x="6" y="59"/>
                    </a:lnTo>
                    <a:lnTo>
                      <a:pt x="6" y="68"/>
                    </a:lnTo>
                    <a:lnTo>
                      <a:pt x="0" y="89"/>
                    </a:lnTo>
                    <a:lnTo>
                      <a:pt x="0" y="103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03" name="Freeform 137"/>
              <p:cNvSpPr>
                <a:spLocks/>
              </p:cNvSpPr>
              <p:nvPr/>
            </p:nvSpPr>
            <p:spPr bwMode="auto">
              <a:xfrm>
                <a:off x="2195513" y="2170113"/>
                <a:ext cx="679450" cy="831850"/>
              </a:xfrm>
              <a:custGeom>
                <a:avLst/>
                <a:gdLst>
                  <a:gd name="T0" fmla="*/ 39 w 387"/>
                  <a:gd name="T1" fmla="*/ 166 h 476"/>
                  <a:gd name="T2" fmla="*/ 118 w 387"/>
                  <a:gd name="T3" fmla="*/ 188 h 476"/>
                  <a:gd name="T4" fmla="*/ 151 w 387"/>
                  <a:gd name="T5" fmla="*/ 197 h 476"/>
                  <a:gd name="T6" fmla="*/ 166 w 387"/>
                  <a:gd name="T7" fmla="*/ 188 h 476"/>
                  <a:gd name="T8" fmla="*/ 180 w 387"/>
                  <a:gd name="T9" fmla="*/ 234 h 476"/>
                  <a:gd name="T10" fmla="*/ 208 w 387"/>
                  <a:gd name="T11" fmla="*/ 242 h 476"/>
                  <a:gd name="T12" fmla="*/ 237 w 387"/>
                  <a:gd name="T13" fmla="*/ 286 h 476"/>
                  <a:gd name="T14" fmla="*/ 217 w 387"/>
                  <a:gd name="T15" fmla="*/ 355 h 476"/>
                  <a:gd name="T16" fmla="*/ 166 w 387"/>
                  <a:gd name="T17" fmla="*/ 355 h 476"/>
                  <a:gd name="T18" fmla="*/ 160 w 387"/>
                  <a:gd name="T19" fmla="*/ 370 h 476"/>
                  <a:gd name="T20" fmla="*/ 180 w 387"/>
                  <a:gd name="T21" fmla="*/ 400 h 476"/>
                  <a:gd name="T22" fmla="*/ 208 w 387"/>
                  <a:gd name="T23" fmla="*/ 393 h 476"/>
                  <a:gd name="T24" fmla="*/ 247 w 387"/>
                  <a:gd name="T25" fmla="*/ 429 h 476"/>
                  <a:gd name="T26" fmla="*/ 322 w 387"/>
                  <a:gd name="T27" fmla="*/ 476 h 476"/>
                  <a:gd name="T28" fmla="*/ 289 w 387"/>
                  <a:gd name="T29" fmla="*/ 429 h 476"/>
                  <a:gd name="T30" fmla="*/ 330 w 387"/>
                  <a:gd name="T31" fmla="*/ 445 h 476"/>
                  <a:gd name="T32" fmla="*/ 346 w 387"/>
                  <a:gd name="T33" fmla="*/ 418 h 476"/>
                  <a:gd name="T34" fmla="*/ 337 w 387"/>
                  <a:gd name="T35" fmla="*/ 393 h 476"/>
                  <a:gd name="T36" fmla="*/ 300 w 387"/>
                  <a:gd name="T37" fmla="*/ 346 h 476"/>
                  <a:gd name="T38" fmla="*/ 330 w 387"/>
                  <a:gd name="T39" fmla="*/ 346 h 476"/>
                  <a:gd name="T40" fmla="*/ 352 w 387"/>
                  <a:gd name="T41" fmla="*/ 370 h 476"/>
                  <a:gd name="T42" fmla="*/ 374 w 387"/>
                  <a:gd name="T43" fmla="*/ 355 h 476"/>
                  <a:gd name="T44" fmla="*/ 337 w 387"/>
                  <a:gd name="T45" fmla="*/ 257 h 476"/>
                  <a:gd name="T46" fmla="*/ 294 w 387"/>
                  <a:gd name="T47" fmla="*/ 242 h 476"/>
                  <a:gd name="T48" fmla="*/ 310 w 387"/>
                  <a:gd name="T49" fmla="*/ 210 h 476"/>
                  <a:gd name="T50" fmla="*/ 300 w 387"/>
                  <a:gd name="T51" fmla="*/ 188 h 476"/>
                  <a:gd name="T52" fmla="*/ 267 w 387"/>
                  <a:gd name="T53" fmla="*/ 149 h 476"/>
                  <a:gd name="T54" fmla="*/ 217 w 387"/>
                  <a:gd name="T55" fmla="*/ 104 h 476"/>
                  <a:gd name="T56" fmla="*/ 195 w 387"/>
                  <a:gd name="T57" fmla="*/ 69 h 476"/>
                  <a:gd name="T58" fmla="*/ 151 w 387"/>
                  <a:gd name="T59" fmla="*/ 69 h 476"/>
                  <a:gd name="T60" fmla="*/ 118 w 387"/>
                  <a:gd name="T61" fmla="*/ 86 h 476"/>
                  <a:gd name="T62" fmla="*/ 118 w 387"/>
                  <a:gd name="T63" fmla="*/ 39 h 476"/>
                  <a:gd name="T64" fmla="*/ 96 w 387"/>
                  <a:gd name="T65" fmla="*/ 0 h 476"/>
                  <a:gd name="T66" fmla="*/ 59 w 387"/>
                  <a:gd name="T67" fmla="*/ 86 h 476"/>
                  <a:gd name="T68" fmla="*/ 46 w 387"/>
                  <a:gd name="T69" fmla="*/ 101 h 476"/>
                  <a:gd name="T70" fmla="*/ 81 w 387"/>
                  <a:gd name="T71" fmla="*/ 0 h 476"/>
                  <a:gd name="T72" fmla="*/ 0 w 387"/>
                  <a:gd name="T73" fmla="*/ 76 h 476"/>
                  <a:gd name="T74" fmla="*/ 0 w 387"/>
                  <a:gd name="T75" fmla="*/ 104 h 4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87" h="476">
                    <a:moveTo>
                      <a:pt x="0" y="104"/>
                    </a:moveTo>
                    <a:lnTo>
                      <a:pt x="39" y="166"/>
                    </a:lnTo>
                    <a:lnTo>
                      <a:pt x="109" y="188"/>
                    </a:lnTo>
                    <a:lnTo>
                      <a:pt x="118" y="188"/>
                    </a:lnTo>
                    <a:lnTo>
                      <a:pt x="138" y="197"/>
                    </a:lnTo>
                    <a:lnTo>
                      <a:pt x="151" y="197"/>
                    </a:lnTo>
                    <a:lnTo>
                      <a:pt x="160" y="166"/>
                    </a:lnTo>
                    <a:lnTo>
                      <a:pt x="166" y="188"/>
                    </a:lnTo>
                    <a:lnTo>
                      <a:pt x="195" y="210"/>
                    </a:lnTo>
                    <a:lnTo>
                      <a:pt x="180" y="234"/>
                    </a:lnTo>
                    <a:lnTo>
                      <a:pt x="201" y="225"/>
                    </a:lnTo>
                    <a:lnTo>
                      <a:pt x="208" y="242"/>
                    </a:lnTo>
                    <a:lnTo>
                      <a:pt x="223" y="257"/>
                    </a:lnTo>
                    <a:lnTo>
                      <a:pt x="237" y="286"/>
                    </a:lnTo>
                    <a:lnTo>
                      <a:pt x="208" y="333"/>
                    </a:lnTo>
                    <a:lnTo>
                      <a:pt x="217" y="355"/>
                    </a:lnTo>
                    <a:lnTo>
                      <a:pt x="208" y="363"/>
                    </a:lnTo>
                    <a:lnTo>
                      <a:pt x="166" y="355"/>
                    </a:lnTo>
                    <a:lnTo>
                      <a:pt x="166" y="370"/>
                    </a:lnTo>
                    <a:lnTo>
                      <a:pt x="160" y="370"/>
                    </a:lnTo>
                    <a:lnTo>
                      <a:pt x="160" y="400"/>
                    </a:lnTo>
                    <a:lnTo>
                      <a:pt x="180" y="400"/>
                    </a:lnTo>
                    <a:lnTo>
                      <a:pt x="195" y="393"/>
                    </a:lnTo>
                    <a:lnTo>
                      <a:pt x="208" y="393"/>
                    </a:lnTo>
                    <a:lnTo>
                      <a:pt x="247" y="418"/>
                    </a:lnTo>
                    <a:lnTo>
                      <a:pt x="247" y="429"/>
                    </a:lnTo>
                    <a:lnTo>
                      <a:pt x="294" y="467"/>
                    </a:lnTo>
                    <a:lnTo>
                      <a:pt x="322" y="476"/>
                    </a:lnTo>
                    <a:lnTo>
                      <a:pt x="322" y="467"/>
                    </a:lnTo>
                    <a:lnTo>
                      <a:pt x="289" y="429"/>
                    </a:lnTo>
                    <a:lnTo>
                      <a:pt x="289" y="410"/>
                    </a:lnTo>
                    <a:lnTo>
                      <a:pt x="330" y="445"/>
                    </a:lnTo>
                    <a:lnTo>
                      <a:pt x="346" y="445"/>
                    </a:lnTo>
                    <a:lnTo>
                      <a:pt x="346" y="418"/>
                    </a:lnTo>
                    <a:lnTo>
                      <a:pt x="337" y="410"/>
                    </a:lnTo>
                    <a:lnTo>
                      <a:pt x="337" y="393"/>
                    </a:lnTo>
                    <a:lnTo>
                      <a:pt x="310" y="363"/>
                    </a:lnTo>
                    <a:lnTo>
                      <a:pt x="300" y="346"/>
                    </a:lnTo>
                    <a:lnTo>
                      <a:pt x="310" y="326"/>
                    </a:lnTo>
                    <a:lnTo>
                      <a:pt x="330" y="346"/>
                    </a:lnTo>
                    <a:lnTo>
                      <a:pt x="337" y="363"/>
                    </a:lnTo>
                    <a:lnTo>
                      <a:pt x="352" y="370"/>
                    </a:lnTo>
                    <a:lnTo>
                      <a:pt x="352" y="355"/>
                    </a:lnTo>
                    <a:lnTo>
                      <a:pt x="374" y="355"/>
                    </a:lnTo>
                    <a:lnTo>
                      <a:pt x="387" y="318"/>
                    </a:lnTo>
                    <a:lnTo>
                      <a:pt x="337" y="257"/>
                    </a:lnTo>
                    <a:lnTo>
                      <a:pt x="310" y="257"/>
                    </a:lnTo>
                    <a:lnTo>
                      <a:pt x="294" y="242"/>
                    </a:lnTo>
                    <a:lnTo>
                      <a:pt x="294" y="225"/>
                    </a:lnTo>
                    <a:lnTo>
                      <a:pt x="310" y="210"/>
                    </a:lnTo>
                    <a:lnTo>
                      <a:pt x="294" y="197"/>
                    </a:lnTo>
                    <a:lnTo>
                      <a:pt x="300" y="188"/>
                    </a:lnTo>
                    <a:lnTo>
                      <a:pt x="294" y="158"/>
                    </a:lnTo>
                    <a:lnTo>
                      <a:pt x="267" y="149"/>
                    </a:lnTo>
                    <a:lnTo>
                      <a:pt x="252" y="119"/>
                    </a:lnTo>
                    <a:lnTo>
                      <a:pt x="217" y="104"/>
                    </a:lnTo>
                    <a:lnTo>
                      <a:pt x="208" y="69"/>
                    </a:lnTo>
                    <a:lnTo>
                      <a:pt x="195" y="69"/>
                    </a:lnTo>
                    <a:lnTo>
                      <a:pt x="166" y="54"/>
                    </a:lnTo>
                    <a:lnTo>
                      <a:pt x="151" y="69"/>
                    </a:lnTo>
                    <a:lnTo>
                      <a:pt x="131" y="69"/>
                    </a:lnTo>
                    <a:lnTo>
                      <a:pt x="118" y="86"/>
                    </a:lnTo>
                    <a:lnTo>
                      <a:pt x="124" y="54"/>
                    </a:lnTo>
                    <a:lnTo>
                      <a:pt x="118" y="39"/>
                    </a:lnTo>
                    <a:lnTo>
                      <a:pt x="118" y="0"/>
                    </a:lnTo>
                    <a:lnTo>
                      <a:pt x="96" y="0"/>
                    </a:lnTo>
                    <a:lnTo>
                      <a:pt x="66" y="47"/>
                    </a:lnTo>
                    <a:lnTo>
                      <a:pt x="59" y="86"/>
                    </a:lnTo>
                    <a:lnTo>
                      <a:pt x="66" y="112"/>
                    </a:lnTo>
                    <a:lnTo>
                      <a:pt x="46" y="101"/>
                    </a:lnTo>
                    <a:lnTo>
                      <a:pt x="46" y="47"/>
                    </a:lnTo>
                    <a:lnTo>
                      <a:pt x="81" y="0"/>
                    </a:lnTo>
                    <a:lnTo>
                      <a:pt x="39" y="0"/>
                    </a:lnTo>
                    <a:lnTo>
                      <a:pt x="0" y="76"/>
                    </a:lnTo>
                    <a:lnTo>
                      <a:pt x="0" y="104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04" name="Freeform 138"/>
              <p:cNvSpPr>
                <a:spLocks/>
              </p:cNvSpPr>
              <p:nvPr/>
            </p:nvSpPr>
            <p:spPr bwMode="auto">
              <a:xfrm>
                <a:off x="1377950" y="3559175"/>
                <a:ext cx="1358900" cy="788988"/>
              </a:xfrm>
              <a:custGeom>
                <a:avLst/>
                <a:gdLst>
                  <a:gd name="T0" fmla="*/ 397 w 774"/>
                  <a:gd name="T1" fmla="*/ 10 h 450"/>
                  <a:gd name="T2" fmla="*/ 412 w 774"/>
                  <a:gd name="T3" fmla="*/ 18 h 450"/>
                  <a:gd name="T4" fmla="*/ 445 w 774"/>
                  <a:gd name="T5" fmla="*/ 39 h 450"/>
                  <a:gd name="T6" fmla="*/ 440 w 774"/>
                  <a:gd name="T7" fmla="*/ 62 h 450"/>
                  <a:gd name="T8" fmla="*/ 459 w 774"/>
                  <a:gd name="T9" fmla="*/ 62 h 450"/>
                  <a:gd name="T10" fmla="*/ 487 w 774"/>
                  <a:gd name="T11" fmla="*/ 62 h 450"/>
                  <a:gd name="T12" fmla="*/ 504 w 774"/>
                  <a:gd name="T13" fmla="*/ 62 h 450"/>
                  <a:gd name="T14" fmla="*/ 546 w 774"/>
                  <a:gd name="T15" fmla="*/ 71 h 450"/>
                  <a:gd name="T16" fmla="*/ 504 w 774"/>
                  <a:gd name="T17" fmla="*/ 84 h 450"/>
                  <a:gd name="T18" fmla="*/ 504 w 774"/>
                  <a:gd name="T19" fmla="*/ 101 h 450"/>
                  <a:gd name="T20" fmla="*/ 496 w 774"/>
                  <a:gd name="T21" fmla="*/ 166 h 450"/>
                  <a:gd name="T22" fmla="*/ 509 w 774"/>
                  <a:gd name="T23" fmla="*/ 160 h 450"/>
                  <a:gd name="T24" fmla="*/ 531 w 774"/>
                  <a:gd name="T25" fmla="*/ 92 h 450"/>
                  <a:gd name="T26" fmla="*/ 551 w 774"/>
                  <a:gd name="T27" fmla="*/ 92 h 450"/>
                  <a:gd name="T28" fmla="*/ 546 w 774"/>
                  <a:gd name="T29" fmla="*/ 129 h 450"/>
                  <a:gd name="T30" fmla="*/ 561 w 774"/>
                  <a:gd name="T31" fmla="*/ 138 h 450"/>
                  <a:gd name="T32" fmla="*/ 551 w 774"/>
                  <a:gd name="T33" fmla="*/ 166 h 450"/>
                  <a:gd name="T34" fmla="*/ 616 w 774"/>
                  <a:gd name="T35" fmla="*/ 138 h 450"/>
                  <a:gd name="T36" fmla="*/ 645 w 774"/>
                  <a:gd name="T37" fmla="*/ 129 h 450"/>
                  <a:gd name="T38" fmla="*/ 666 w 774"/>
                  <a:gd name="T39" fmla="*/ 101 h 450"/>
                  <a:gd name="T40" fmla="*/ 723 w 774"/>
                  <a:gd name="T41" fmla="*/ 92 h 450"/>
                  <a:gd name="T42" fmla="*/ 752 w 774"/>
                  <a:gd name="T43" fmla="*/ 54 h 450"/>
                  <a:gd name="T44" fmla="*/ 765 w 774"/>
                  <a:gd name="T45" fmla="*/ 84 h 450"/>
                  <a:gd name="T46" fmla="*/ 774 w 774"/>
                  <a:gd name="T47" fmla="*/ 101 h 450"/>
                  <a:gd name="T48" fmla="*/ 752 w 774"/>
                  <a:gd name="T49" fmla="*/ 113 h 450"/>
                  <a:gd name="T50" fmla="*/ 723 w 774"/>
                  <a:gd name="T51" fmla="*/ 166 h 450"/>
                  <a:gd name="T52" fmla="*/ 730 w 774"/>
                  <a:gd name="T53" fmla="*/ 175 h 450"/>
                  <a:gd name="T54" fmla="*/ 678 w 774"/>
                  <a:gd name="T55" fmla="*/ 183 h 450"/>
                  <a:gd name="T56" fmla="*/ 666 w 774"/>
                  <a:gd name="T57" fmla="*/ 213 h 450"/>
                  <a:gd name="T58" fmla="*/ 658 w 774"/>
                  <a:gd name="T59" fmla="*/ 250 h 450"/>
                  <a:gd name="T60" fmla="*/ 645 w 774"/>
                  <a:gd name="T61" fmla="*/ 220 h 450"/>
                  <a:gd name="T62" fmla="*/ 638 w 774"/>
                  <a:gd name="T63" fmla="*/ 220 h 450"/>
                  <a:gd name="T64" fmla="*/ 645 w 774"/>
                  <a:gd name="T65" fmla="*/ 294 h 450"/>
                  <a:gd name="T66" fmla="*/ 581 w 774"/>
                  <a:gd name="T67" fmla="*/ 361 h 450"/>
                  <a:gd name="T68" fmla="*/ 596 w 774"/>
                  <a:gd name="T69" fmla="*/ 450 h 450"/>
                  <a:gd name="T70" fmla="*/ 561 w 774"/>
                  <a:gd name="T71" fmla="*/ 422 h 450"/>
                  <a:gd name="T72" fmla="*/ 546 w 774"/>
                  <a:gd name="T73" fmla="*/ 368 h 450"/>
                  <a:gd name="T74" fmla="*/ 531 w 774"/>
                  <a:gd name="T75" fmla="*/ 368 h 450"/>
                  <a:gd name="T76" fmla="*/ 465 w 774"/>
                  <a:gd name="T77" fmla="*/ 376 h 450"/>
                  <a:gd name="T78" fmla="*/ 454 w 774"/>
                  <a:gd name="T79" fmla="*/ 385 h 450"/>
                  <a:gd name="T80" fmla="*/ 418 w 774"/>
                  <a:gd name="T81" fmla="*/ 376 h 450"/>
                  <a:gd name="T82" fmla="*/ 370 w 774"/>
                  <a:gd name="T83" fmla="*/ 415 h 450"/>
                  <a:gd name="T84" fmla="*/ 340 w 774"/>
                  <a:gd name="T85" fmla="*/ 437 h 450"/>
                  <a:gd name="T86" fmla="*/ 296 w 774"/>
                  <a:gd name="T87" fmla="*/ 376 h 450"/>
                  <a:gd name="T88" fmla="*/ 283 w 774"/>
                  <a:gd name="T89" fmla="*/ 385 h 450"/>
                  <a:gd name="T90" fmla="*/ 269 w 774"/>
                  <a:gd name="T91" fmla="*/ 361 h 450"/>
                  <a:gd name="T92" fmla="*/ 177 w 774"/>
                  <a:gd name="T93" fmla="*/ 353 h 450"/>
                  <a:gd name="T94" fmla="*/ 105 w 774"/>
                  <a:gd name="T95" fmla="*/ 331 h 450"/>
                  <a:gd name="T96" fmla="*/ 83 w 774"/>
                  <a:gd name="T97" fmla="*/ 316 h 450"/>
                  <a:gd name="T98" fmla="*/ 48 w 774"/>
                  <a:gd name="T99" fmla="*/ 294 h 450"/>
                  <a:gd name="T100" fmla="*/ 35 w 774"/>
                  <a:gd name="T101" fmla="*/ 266 h 450"/>
                  <a:gd name="T102" fmla="*/ 25 w 774"/>
                  <a:gd name="T103" fmla="*/ 250 h 450"/>
                  <a:gd name="T104" fmla="*/ 35 w 774"/>
                  <a:gd name="T105" fmla="*/ 242 h 450"/>
                  <a:gd name="T106" fmla="*/ 20 w 774"/>
                  <a:gd name="T107" fmla="*/ 234 h 450"/>
                  <a:gd name="T108" fmla="*/ 6 w 774"/>
                  <a:gd name="T109" fmla="*/ 213 h 450"/>
                  <a:gd name="T110" fmla="*/ 0 w 774"/>
                  <a:gd name="T111" fmla="*/ 197 h 450"/>
                  <a:gd name="T112" fmla="*/ 0 w 774"/>
                  <a:gd name="T113" fmla="*/ 138 h 450"/>
                  <a:gd name="T114" fmla="*/ 0 w 774"/>
                  <a:gd name="T115" fmla="*/ 23 h 450"/>
                  <a:gd name="T116" fmla="*/ 20 w 774"/>
                  <a:gd name="T117" fmla="*/ 47 h 450"/>
                  <a:gd name="T118" fmla="*/ 25 w 774"/>
                  <a:gd name="T119" fmla="*/ 10 h 450"/>
                  <a:gd name="T120" fmla="*/ 25 w 774"/>
                  <a:gd name="T121" fmla="*/ 10 h 4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774" h="450">
                    <a:moveTo>
                      <a:pt x="25" y="10"/>
                    </a:moveTo>
                    <a:lnTo>
                      <a:pt x="397" y="10"/>
                    </a:lnTo>
                    <a:lnTo>
                      <a:pt x="402" y="0"/>
                    </a:lnTo>
                    <a:lnTo>
                      <a:pt x="412" y="18"/>
                    </a:lnTo>
                    <a:lnTo>
                      <a:pt x="424" y="18"/>
                    </a:lnTo>
                    <a:lnTo>
                      <a:pt x="445" y="39"/>
                    </a:lnTo>
                    <a:lnTo>
                      <a:pt x="465" y="39"/>
                    </a:lnTo>
                    <a:lnTo>
                      <a:pt x="440" y="62"/>
                    </a:lnTo>
                    <a:lnTo>
                      <a:pt x="454" y="54"/>
                    </a:lnTo>
                    <a:lnTo>
                      <a:pt x="459" y="62"/>
                    </a:lnTo>
                    <a:lnTo>
                      <a:pt x="487" y="54"/>
                    </a:lnTo>
                    <a:lnTo>
                      <a:pt x="487" y="62"/>
                    </a:lnTo>
                    <a:lnTo>
                      <a:pt x="496" y="54"/>
                    </a:lnTo>
                    <a:lnTo>
                      <a:pt x="504" y="62"/>
                    </a:lnTo>
                    <a:lnTo>
                      <a:pt x="539" y="62"/>
                    </a:lnTo>
                    <a:lnTo>
                      <a:pt x="546" y="71"/>
                    </a:lnTo>
                    <a:lnTo>
                      <a:pt x="546" y="84"/>
                    </a:lnTo>
                    <a:lnTo>
                      <a:pt x="504" y="84"/>
                    </a:lnTo>
                    <a:lnTo>
                      <a:pt x="496" y="113"/>
                    </a:lnTo>
                    <a:lnTo>
                      <a:pt x="504" y="101"/>
                    </a:lnTo>
                    <a:lnTo>
                      <a:pt x="496" y="138"/>
                    </a:lnTo>
                    <a:lnTo>
                      <a:pt x="496" y="166"/>
                    </a:lnTo>
                    <a:lnTo>
                      <a:pt x="504" y="166"/>
                    </a:lnTo>
                    <a:lnTo>
                      <a:pt x="509" y="160"/>
                    </a:lnTo>
                    <a:lnTo>
                      <a:pt x="509" y="121"/>
                    </a:lnTo>
                    <a:lnTo>
                      <a:pt x="531" y="92"/>
                    </a:lnTo>
                    <a:lnTo>
                      <a:pt x="531" y="84"/>
                    </a:lnTo>
                    <a:lnTo>
                      <a:pt x="551" y="92"/>
                    </a:lnTo>
                    <a:lnTo>
                      <a:pt x="551" y="113"/>
                    </a:lnTo>
                    <a:lnTo>
                      <a:pt x="546" y="129"/>
                    </a:lnTo>
                    <a:lnTo>
                      <a:pt x="561" y="121"/>
                    </a:lnTo>
                    <a:lnTo>
                      <a:pt x="561" y="138"/>
                    </a:lnTo>
                    <a:lnTo>
                      <a:pt x="573" y="138"/>
                    </a:lnTo>
                    <a:lnTo>
                      <a:pt x="551" y="166"/>
                    </a:lnTo>
                    <a:lnTo>
                      <a:pt x="581" y="166"/>
                    </a:lnTo>
                    <a:lnTo>
                      <a:pt x="616" y="138"/>
                    </a:lnTo>
                    <a:lnTo>
                      <a:pt x="616" y="129"/>
                    </a:lnTo>
                    <a:lnTo>
                      <a:pt x="645" y="129"/>
                    </a:lnTo>
                    <a:lnTo>
                      <a:pt x="645" y="113"/>
                    </a:lnTo>
                    <a:lnTo>
                      <a:pt x="666" y="101"/>
                    </a:lnTo>
                    <a:lnTo>
                      <a:pt x="708" y="101"/>
                    </a:lnTo>
                    <a:lnTo>
                      <a:pt x="723" y="92"/>
                    </a:lnTo>
                    <a:lnTo>
                      <a:pt x="745" y="47"/>
                    </a:lnTo>
                    <a:lnTo>
                      <a:pt x="752" y="54"/>
                    </a:lnTo>
                    <a:lnTo>
                      <a:pt x="759" y="47"/>
                    </a:lnTo>
                    <a:lnTo>
                      <a:pt x="765" y="84"/>
                    </a:lnTo>
                    <a:lnTo>
                      <a:pt x="774" y="92"/>
                    </a:lnTo>
                    <a:lnTo>
                      <a:pt x="774" y="101"/>
                    </a:lnTo>
                    <a:lnTo>
                      <a:pt x="765" y="113"/>
                    </a:lnTo>
                    <a:lnTo>
                      <a:pt x="752" y="113"/>
                    </a:lnTo>
                    <a:lnTo>
                      <a:pt x="715" y="145"/>
                    </a:lnTo>
                    <a:lnTo>
                      <a:pt x="723" y="166"/>
                    </a:lnTo>
                    <a:lnTo>
                      <a:pt x="730" y="160"/>
                    </a:lnTo>
                    <a:lnTo>
                      <a:pt x="730" y="175"/>
                    </a:lnTo>
                    <a:lnTo>
                      <a:pt x="708" y="166"/>
                    </a:lnTo>
                    <a:lnTo>
                      <a:pt x="678" y="183"/>
                    </a:lnTo>
                    <a:lnTo>
                      <a:pt x="671" y="220"/>
                    </a:lnTo>
                    <a:lnTo>
                      <a:pt x="666" y="213"/>
                    </a:lnTo>
                    <a:lnTo>
                      <a:pt x="666" y="220"/>
                    </a:lnTo>
                    <a:lnTo>
                      <a:pt x="658" y="250"/>
                    </a:lnTo>
                    <a:lnTo>
                      <a:pt x="658" y="234"/>
                    </a:lnTo>
                    <a:lnTo>
                      <a:pt x="645" y="220"/>
                    </a:lnTo>
                    <a:lnTo>
                      <a:pt x="645" y="203"/>
                    </a:lnTo>
                    <a:lnTo>
                      <a:pt x="638" y="220"/>
                    </a:lnTo>
                    <a:lnTo>
                      <a:pt x="658" y="277"/>
                    </a:lnTo>
                    <a:lnTo>
                      <a:pt x="645" y="294"/>
                    </a:lnTo>
                    <a:lnTo>
                      <a:pt x="588" y="339"/>
                    </a:lnTo>
                    <a:lnTo>
                      <a:pt x="581" y="361"/>
                    </a:lnTo>
                    <a:lnTo>
                      <a:pt x="596" y="422"/>
                    </a:lnTo>
                    <a:lnTo>
                      <a:pt x="596" y="450"/>
                    </a:lnTo>
                    <a:lnTo>
                      <a:pt x="588" y="450"/>
                    </a:lnTo>
                    <a:lnTo>
                      <a:pt x="561" y="422"/>
                    </a:lnTo>
                    <a:lnTo>
                      <a:pt x="561" y="385"/>
                    </a:lnTo>
                    <a:lnTo>
                      <a:pt x="546" y="368"/>
                    </a:lnTo>
                    <a:lnTo>
                      <a:pt x="531" y="376"/>
                    </a:lnTo>
                    <a:lnTo>
                      <a:pt x="531" y="368"/>
                    </a:lnTo>
                    <a:lnTo>
                      <a:pt x="480" y="368"/>
                    </a:lnTo>
                    <a:lnTo>
                      <a:pt x="465" y="376"/>
                    </a:lnTo>
                    <a:lnTo>
                      <a:pt x="480" y="385"/>
                    </a:lnTo>
                    <a:lnTo>
                      <a:pt x="454" y="385"/>
                    </a:lnTo>
                    <a:lnTo>
                      <a:pt x="445" y="376"/>
                    </a:lnTo>
                    <a:lnTo>
                      <a:pt x="418" y="376"/>
                    </a:lnTo>
                    <a:lnTo>
                      <a:pt x="402" y="385"/>
                    </a:lnTo>
                    <a:lnTo>
                      <a:pt x="370" y="415"/>
                    </a:lnTo>
                    <a:lnTo>
                      <a:pt x="370" y="442"/>
                    </a:lnTo>
                    <a:lnTo>
                      <a:pt x="340" y="437"/>
                    </a:lnTo>
                    <a:lnTo>
                      <a:pt x="311" y="376"/>
                    </a:lnTo>
                    <a:lnTo>
                      <a:pt x="296" y="376"/>
                    </a:lnTo>
                    <a:lnTo>
                      <a:pt x="291" y="385"/>
                    </a:lnTo>
                    <a:lnTo>
                      <a:pt x="283" y="385"/>
                    </a:lnTo>
                    <a:lnTo>
                      <a:pt x="269" y="376"/>
                    </a:lnTo>
                    <a:lnTo>
                      <a:pt x="269" y="361"/>
                    </a:lnTo>
                    <a:lnTo>
                      <a:pt x="248" y="339"/>
                    </a:lnTo>
                    <a:lnTo>
                      <a:pt x="177" y="353"/>
                    </a:lnTo>
                    <a:lnTo>
                      <a:pt x="127" y="331"/>
                    </a:lnTo>
                    <a:lnTo>
                      <a:pt x="105" y="331"/>
                    </a:lnTo>
                    <a:lnTo>
                      <a:pt x="90" y="316"/>
                    </a:lnTo>
                    <a:lnTo>
                      <a:pt x="83" y="316"/>
                    </a:lnTo>
                    <a:lnTo>
                      <a:pt x="83" y="301"/>
                    </a:lnTo>
                    <a:lnTo>
                      <a:pt x="48" y="294"/>
                    </a:lnTo>
                    <a:lnTo>
                      <a:pt x="48" y="286"/>
                    </a:lnTo>
                    <a:lnTo>
                      <a:pt x="35" y="266"/>
                    </a:lnTo>
                    <a:lnTo>
                      <a:pt x="35" y="250"/>
                    </a:lnTo>
                    <a:lnTo>
                      <a:pt x="25" y="250"/>
                    </a:lnTo>
                    <a:lnTo>
                      <a:pt x="25" y="242"/>
                    </a:lnTo>
                    <a:lnTo>
                      <a:pt x="35" y="242"/>
                    </a:lnTo>
                    <a:lnTo>
                      <a:pt x="35" y="234"/>
                    </a:lnTo>
                    <a:lnTo>
                      <a:pt x="20" y="234"/>
                    </a:lnTo>
                    <a:lnTo>
                      <a:pt x="25" y="234"/>
                    </a:lnTo>
                    <a:lnTo>
                      <a:pt x="6" y="213"/>
                    </a:lnTo>
                    <a:lnTo>
                      <a:pt x="6" y="203"/>
                    </a:lnTo>
                    <a:lnTo>
                      <a:pt x="0" y="197"/>
                    </a:lnTo>
                    <a:lnTo>
                      <a:pt x="6" y="166"/>
                    </a:lnTo>
                    <a:lnTo>
                      <a:pt x="0" y="138"/>
                    </a:lnTo>
                    <a:lnTo>
                      <a:pt x="6" y="71"/>
                    </a:lnTo>
                    <a:lnTo>
                      <a:pt x="0" y="23"/>
                    </a:lnTo>
                    <a:lnTo>
                      <a:pt x="20" y="23"/>
                    </a:lnTo>
                    <a:lnTo>
                      <a:pt x="20" y="47"/>
                    </a:lnTo>
                    <a:lnTo>
                      <a:pt x="25" y="47"/>
                    </a:lnTo>
                    <a:lnTo>
                      <a:pt x="25" y="1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05" name="Freeform 139"/>
              <p:cNvSpPr>
                <a:spLocks/>
              </p:cNvSpPr>
              <p:nvPr/>
            </p:nvSpPr>
            <p:spPr bwMode="auto">
              <a:xfrm>
                <a:off x="369888" y="2386013"/>
                <a:ext cx="868362" cy="976312"/>
              </a:xfrm>
              <a:custGeom>
                <a:avLst/>
                <a:gdLst>
                  <a:gd name="T0" fmla="*/ 494 w 494"/>
                  <a:gd name="T1" fmla="*/ 516 h 559"/>
                  <a:gd name="T2" fmla="*/ 446 w 494"/>
                  <a:gd name="T3" fmla="*/ 440 h 559"/>
                  <a:gd name="T4" fmla="*/ 431 w 494"/>
                  <a:gd name="T5" fmla="*/ 411 h 559"/>
                  <a:gd name="T6" fmla="*/ 402 w 494"/>
                  <a:gd name="T7" fmla="*/ 435 h 559"/>
                  <a:gd name="T8" fmla="*/ 382 w 494"/>
                  <a:gd name="T9" fmla="*/ 395 h 559"/>
                  <a:gd name="T10" fmla="*/ 353 w 494"/>
                  <a:gd name="T11" fmla="*/ 74 h 559"/>
                  <a:gd name="T12" fmla="*/ 302 w 494"/>
                  <a:gd name="T13" fmla="*/ 65 h 559"/>
                  <a:gd name="T14" fmla="*/ 270 w 494"/>
                  <a:gd name="T15" fmla="*/ 53 h 559"/>
                  <a:gd name="T16" fmla="*/ 213 w 494"/>
                  <a:gd name="T17" fmla="*/ 38 h 559"/>
                  <a:gd name="T18" fmla="*/ 176 w 494"/>
                  <a:gd name="T19" fmla="*/ 21 h 559"/>
                  <a:gd name="T20" fmla="*/ 149 w 494"/>
                  <a:gd name="T21" fmla="*/ 0 h 559"/>
                  <a:gd name="T22" fmla="*/ 90 w 494"/>
                  <a:gd name="T23" fmla="*/ 45 h 559"/>
                  <a:gd name="T24" fmla="*/ 62 w 494"/>
                  <a:gd name="T25" fmla="*/ 65 h 559"/>
                  <a:gd name="T26" fmla="*/ 20 w 494"/>
                  <a:gd name="T27" fmla="*/ 111 h 559"/>
                  <a:gd name="T28" fmla="*/ 49 w 494"/>
                  <a:gd name="T29" fmla="*/ 156 h 559"/>
                  <a:gd name="T30" fmla="*/ 77 w 494"/>
                  <a:gd name="T31" fmla="*/ 210 h 559"/>
                  <a:gd name="T32" fmla="*/ 49 w 494"/>
                  <a:gd name="T33" fmla="*/ 195 h 559"/>
                  <a:gd name="T34" fmla="*/ 5 w 494"/>
                  <a:gd name="T35" fmla="*/ 210 h 559"/>
                  <a:gd name="T36" fmla="*/ 13 w 494"/>
                  <a:gd name="T37" fmla="*/ 240 h 559"/>
                  <a:gd name="T38" fmla="*/ 35 w 494"/>
                  <a:gd name="T39" fmla="*/ 270 h 559"/>
                  <a:gd name="T40" fmla="*/ 84 w 494"/>
                  <a:gd name="T41" fmla="*/ 253 h 559"/>
                  <a:gd name="T42" fmla="*/ 90 w 494"/>
                  <a:gd name="T43" fmla="*/ 285 h 559"/>
                  <a:gd name="T44" fmla="*/ 62 w 494"/>
                  <a:gd name="T45" fmla="*/ 306 h 559"/>
                  <a:gd name="T46" fmla="*/ 42 w 494"/>
                  <a:gd name="T47" fmla="*/ 314 h 559"/>
                  <a:gd name="T48" fmla="*/ 49 w 494"/>
                  <a:gd name="T49" fmla="*/ 411 h 559"/>
                  <a:gd name="T50" fmla="*/ 77 w 494"/>
                  <a:gd name="T51" fmla="*/ 405 h 559"/>
                  <a:gd name="T52" fmla="*/ 84 w 494"/>
                  <a:gd name="T53" fmla="*/ 440 h 559"/>
                  <a:gd name="T54" fmla="*/ 119 w 494"/>
                  <a:gd name="T55" fmla="*/ 448 h 559"/>
                  <a:gd name="T56" fmla="*/ 132 w 494"/>
                  <a:gd name="T57" fmla="*/ 440 h 559"/>
                  <a:gd name="T58" fmla="*/ 90 w 494"/>
                  <a:gd name="T59" fmla="*/ 516 h 559"/>
                  <a:gd name="T60" fmla="*/ 35 w 494"/>
                  <a:gd name="T61" fmla="*/ 554 h 559"/>
                  <a:gd name="T62" fmla="*/ 119 w 494"/>
                  <a:gd name="T63" fmla="*/ 516 h 559"/>
                  <a:gd name="T64" fmla="*/ 184 w 494"/>
                  <a:gd name="T65" fmla="*/ 448 h 559"/>
                  <a:gd name="T66" fmla="*/ 176 w 494"/>
                  <a:gd name="T67" fmla="*/ 435 h 559"/>
                  <a:gd name="T68" fmla="*/ 206 w 494"/>
                  <a:gd name="T69" fmla="*/ 388 h 559"/>
                  <a:gd name="T70" fmla="*/ 233 w 494"/>
                  <a:gd name="T71" fmla="*/ 368 h 559"/>
                  <a:gd name="T72" fmla="*/ 213 w 494"/>
                  <a:gd name="T73" fmla="*/ 411 h 559"/>
                  <a:gd name="T74" fmla="*/ 213 w 494"/>
                  <a:gd name="T75" fmla="*/ 435 h 559"/>
                  <a:gd name="T76" fmla="*/ 248 w 494"/>
                  <a:gd name="T77" fmla="*/ 411 h 559"/>
                  <a:gd name="T78" fmla="*/ 261 w 494"/>
                  <a:gd name="T79" fmla="*/ 395 h 559"/>
                  <a:gd name="T80" fmla="*/ 310 w 494"/>
                  <a:gd name="T81" fmla="*/ 405 h 559"/>
                  <a:gd name="T82" fmla="*/ 360 w 494"/>
                  <a:gd name="T83" fmla="*/ 411 h 559"/>
                  <a:gd name="T84" fmla="*/ 374 w 494"/>
                  <a:gd name="T85" fmla="*/ 428 h 559"/>
                  <a:gd name="T86" fmla="*/ 439 w 494"/>
                  <a:gd name="T87" fmla="*/ 516 h 559"/>
                  <a:gd name="T88" fmla="*/ 426 w 494"/>
                  <a:gd name="T89" fmla="*/ 462 h 559"/>
                  <a:gd name="T90" fmla="*/ 431 w 494"/>
                  <a:gd name="T91" fmla="*/ 440 h 559"/>
                  <a:gd name="T92" fmla="*/ 446 w 494"/>
                  <a:gd name="T93" fmla="*/ 479 h 559"/>
                  <a:gd name="T94" fmla="*/ 446 w 494"/>
                  <a:gd name="T95" fmla="*/ 485 h 559"/>
                  <a:gd name="T96" fmla="*/ 461 w 494"/>
                  <a:gd name="T97" fmla="*/ 509 h 559"/>
                  <a:gd name="T98" fmla="*/ 474 w 494"/>
                  <a:gd name="T99" fmla="*/ 554 h 559"/>
                  <a:gd name="T100" fmla="*/ 467 w 494"/>
                  <a:gd name="T101" fmla="*/ 516 h 559"/>
                  <a:gd name="T102" fmla="*/ 474 w 494"/>
                  <a:gd name="T103" fmla="*/ 526 h 559"/>
                  <a:gd name="T104" fmla="*/ 494 w 494"/>
                  <a:gd name="T105" fmla="*/ 546 h 559"/>
                  <a:gd name="T106" fmla="*/ 494 w 494"/>
                  <a:gd name="T107" fmla="*/ 546 h 5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94" h="559">
                    <a:moveTo>
                      <a:pt x="494" y="546"/>
                    </a:moveTo>
                    <a:lnTo>
                      <a:pt x="494" y="516"/>
                    </a:lnTo>
                    <a:lnTo>
                      <a:pt x="474" y="494"/>
                    </a:lnTo>
                    <a:lnTo>
                      <a:pt x="446" y="440"/>
                    </a:lnTo>
                    <a:lnTo>
                      <a:pt x="439" y="440"/>
                    </a:lnTo>
                    <a:lnTo>
                      <a:pt x="431" y="411"/>
                    </a:lnTo>
                    <a:lnTo>
                      <a:pt x="419" y="428"/>
                    </a:lnTo>
                    <a:lnTo>
                      <a:pt x="402" y="435"/>
                    </a:lnTo>
                    <a:lnTo>
                      <a:pt x="382" y="405"/>
                    </a:lnTo>
                    <a:lnTo>
                      <a:pt x="382" y="395"/>
                    </a:lnTo>
                    <a:lnTo>
                      <a:pt x="353" y="405"/>
                    </a:lnTo>
                    <a:lnTo>
                      <a:pt x="353" y="74"/>
                    </a:lnTo>
                    <a:lnTo>
                      <a:pt x="332" y="53"/>
                    </a:lnTo>
                    <a:lnTo>
                      <a:pt x="302" y="65"/>
                    </a:lnTo>
                    <a:lnTo>
                      <a:pt x="291" y="53"/>
                    </a:lnTo>
                    <a:lnTo>
                      <a:pt x="270" y="53"/>
                    </a:lnTo>
                    <a:lnTo>
                      <a:pt x="248" y="38"/>
                    </a:lnTo>
                    <a:lnTo>
                      <a:pt x="213" y="38"/>
                    </a:lnTo>
                    <a:lnTo>
                      <a:pt x="206" y="21"/>
                    </a:lnTo>
                    <a:lnTo>
                      <a:pt x="176" y="21"/>
                    </a:lnTo>
                    <a:lnTo>
                      <a:pt x="168" y="8"/>
                    </a:lnTo>
                    <a:lnTo>
                      <a:pt x="149" y="0"/>
                    </a:lnTo>
                    <a:lnTo>
                      <a:pt x="132" y="21"/>
                    </a:lnTo>
                    <a:lnTo>
                      <a:pt x="90" y="45"/>
                    </a:lnTo>
                    <a:lnTo>
                      <a:pt x="84" y="45"/>
                    </a:lnTo>
                    <a:lnTo>
                      <a:pt x="62" y="65"/>
                    </a:lnTo>
                    <a:lnTo>
                      <a:pt x="57" y="104"/>
                    </a:lnTo>
                    <a:lnTo>
                      <a:pt x="20" y="111"/>
                    </a:lnTo>
                    <a:lnTo>
                      <a:pt x="13" y="127"/>
                    </a:lnTo>
                    <a:lnTo>
                      <a:pt x="49" y="156"/>
                    </a:lnTo>
                    <a:lnTo>
                      <a:pt x="77" y="201"/>
                    </a:lnTo>
                    <a:lnTo>
                      <a:pt x="77" y="210"/>
                    </a:lnTo>
                    <a:lnTo>
                      <a:pt x="49" y="210"/>
                    </a:lnTo>
                    <a:lnTo>
                      <a:pt x="49" y="195"/>
                    </a:lnTo>
                    <a:lnTo>
                      <a:pt x="42" y="195"/>
                    </a:lnTo>
                    <a:lnTo>
                      <a:pt x="5" y="210"/>
                    </a:lnTo>
                    <a:lnTo>
                      <a:pt x="0" y="232"/>
                    </a:lnTo>
                    <a:lnTo>
                      <a:pt x="13" y="240"/>
                    </a:lnTo>
                    <a:lnTo>
                      <a:pt x="13" y="253"/>
                    </a:lnTo>
                    <a:lnTo>
                      <a:pt x="35" y="270"/>
                    </a:lnTo>
                    <a:lnTo>
                      <a:pt x="62" y="270"/>
                    </a:lnTo>
                    <a:lnTo>
                      <a:pt x="84" y="253"/>
                    </a:lnTo>
                    <a:lnTo>
                      <a:pt x="84" y="270"/>
                    </a:lnTo>
                    <a:lnTo>
                      <a:pt x="90" y="285"/>
                    </a:lnTo>
                    <a:lnTo>
                      <a:pt x="84" y="306"/>
                    </a:lnTo>
                    <a:lnTo>
                      <a:pt x="62" y="306"/>
                    </a:lnTo>
                    <a:lnTo>
                      <a:pt x="57" y="314"/>
                    </a:lnTo>
                    <a:lnTo>
                      <a:pt x="42" y="314"/>
                    </a:lnTo>
                    <a:lnTo>
                      <a:pt x="20" y="359"/>
                    </a:lnTo>
                    <a:lnTo>
                      <a:pt x="49" y="411"/>
                    </a:lnTo>
                    <a:lnTo>
                      <a:pt x="57" y="411"/>
                    </a:lnTo>
                    <a:lnTo>
                      <a:pt x="77" y="405"/>
                    </a:lnTo>
                    <a:lnTo>
                      <a:pt x="77" y="435"/>
                    </a:lnTo>
                    <a:lnTo>
                      <a:pt x="84" y="440"/>
                    </a:lnTo>
                    <a:lnTo>
                      <a:pt x="106" y="440"/>
                    </a:lnTo>
                    <a:lnTo>
                      <a:pt x="119" y="448"/>
                    </a:lnTo>
                    <a:lnTo>
                      <a:pt x="119" y="440"/>
                    </a:lnTo>
                    <a:lnTo>
                      <a:pt x="132" y="440"/>
                    </a:lnTo>
                    <a:lnTo>
                      <a:pt x="132" y="479"/>
                    </a:lnTo>
                    <a:lnTo>
                      <a:pt x="90" y="516"/>
                    </a:lnTo>
                    <a:lnTo>
                      <a:pt x="62" y="526"/>
                    </a:lnTo>
                    <a:lnTo>
                      <a:pt x="35" y="554"/>
                    </a:lnTo>
                    <a:lnTo>
                      <a:pt x="42" y="559"/>
                    </a:lnTo>
                    <a:lnTo>
                      <a:pt x="119" y="516"/>
                    </a:lnTo>
                    <a:lnTo>
                      <a:pt x="142" y="485"/>
                    </a:lnTo>
                    <a:lnTo>
                      <a:pt x="184" y="448"/>
                    </a:lnTo>
                    <a:lnTo>
                      <a:pt x="189" y="440"/>
                    </a:lnTo>
                    <a:lnTo>
                      <a:pt x="176" y="435"/>
                    </a:lnTo>
                    <a:lnTo>
                      <a:pt x="206" y="405"/>
                    </a:lnTo>
                    <a:lnTo>
                      <a:pt x="206" y="388"/>
                    </a:lnTo>
                    <a:lnTo>
                      <a:pt x="226" y="368"/>
                    </a:lnTo>
                    <a:lnTo>
                      <a:pt x="233" y="368"/>
                    </a:lnTo>
                    <a:lnTo>
                      <a:pt x="218" y="388"/>
                    </a:lnTo>
                    <a:lnTo>
                      <a:pt x="213" y="411"/>
                    </a:lnTo>
                    <a:lnTo>
                      <a:pt x="218" y="428"/>
                    </a:lnTo>
                    <a:lnTo>
                      <a:pt x="213" y="435"/>
                    </a:lnTo>
                    <a:lnTo>
                      <a:pt x="218" y="435"/>
                    </a:lnTo>
                    <a:lnTo>
                      <a:pt x="248" y="411"/>
                    </a:lnTo>
                    <a:lnTo>
                      <a:pt x="255" y="411"/>
                    </a:lnTo>
                    <a:lnTo>
                      <a:pt x="261" y="395"/>
                    </a:lnTo>
                    <a:lnTo>
                      <a:pt x="255" y="374"/>
                    </a:lnTo>
                    <a:lnTo>
                      <a:pt x="310" y="405"/>
                    </a:lnTo>
                    <a:lnTo>
                      <a:pt x="338" y="405"/>
                    </a:lnTo>
                    <a:lnTo>
                      <a:pt x="360" y="411"/>
                    </a:lnTo>
                    <a:lnTo>
                      <a:pt x="374" y="411"/>
                    </a:lnTo>
                    <a:lnTo>
                      <a:pt x="374" y="428"/>
                    </a:lnTo>
                    <a:lnTo>
                      <a:pt x="419" y="462"/>
                    </a:lnTo>
                    <a:lnTo>
                      <a:pt x="439" y="516"/>
                    </a:lnTo>
                    <a:lnTo>
                      <a:pt x="431" y="472"/>
                    </a:lnTo>
                    <a:lnTo>
                      <a:pt x="426" y="462"/>
                    </a:lnTo>
                    <a:lnTo>
                      <a:pt x="431" y="462"/>
                    </a:lnTo>
                    <a:lnTo>
                      <a:pt x="431" y="440"/>
                    </a:lnTo>
                    <a:lnTo>
                      <a:pt x="439" y="485"/>
                    </a:lnTo>
                    <a:lnTo>
                      <a:pt x="446" y="479"/>
                    </a:lnTo>
                    <a:lnTo>
                      <a:pt x="467" y="494"/>
                    </a:lnTo>
                    <a:lnTo>
                      <a:pt x="446" y="485"/>
                    </a:lnTo>
                    <a:lnTo>
                      <a:pt x="446" y="516"/>
                    </a:lnTo>
                    <a:lnTo>
                      <a:pt x="461" y="509"/>
                    </a:lnTo>
                    <a:lnTo>
                      <a:pt x="461" y="526"/>
                    </a:lnTo>
                    <a:lnTo>
                      <a:pt x="474" y="554"/>
                    </a:lnTo>
                    <a:lnTo>
                      <a:pt x="474" y="531"/>
                    </a:lnTo>
                    <a:lnTo>
                      <a:pt x="467" y="516"/>
                    </a:lnTo>
                    <a:lnTo>
                      <a:pt x="474" y="516"/>
                    </a:lnTo>
                    <a:lnTo>
                      <a:pt x="474" y="526"/>
                    </a:lnTo>
                    <a:lnTo>
                      <a:pt x="488" y="554"/>
                    </a:lnTo>
                    <a:lnTo>
                      <a:pt x="494" y="546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06" name="Freeform 140"/>
              <p:cNvSpPr>
                <a:spLocks/>
              </p:cNvSpPr>
              <p:nvPr/>
            </p:nvSpPr>
            <p:spPr bwMode="auto">
              <a:xfrm>
                <a:off x="990600" y="2143125"/>
                <a:ext cx="2020888" cy="1714500"/>
              </a:xfrm>
              <a:custGeom>
                <a:avLst/>
                <a:gdLst>
                  <a:gd name="T0" fmla="*/ 796 w 1151"/>
                  <a:gd name="T1" fmla="*/ 971 h 980"/>
                  <a:gd name="T2" fmla="*/ 803 w 1151"/>
                  <a:gd name="T3" fmla="*/ 941 h 980"/>
                  <a:gd name="T4" fmla="*/ 810 w 1151"/>
                  <a:gd name="T5" fmla="*/ 897 h 980"/>
                  <a:gd name="T6" fmla="*/ 746 w 1151"/>
                  <a:gd name="T7" fmla="*/ 850 h 980"/>
                  <a:gd name="T8" fmla="*/ 667 w 1151"/>
                  <a:gd name="T9" fmla="*/ 850 h 980"/>
                  <a:gd name="T10" fmla="*/ 619 w 1151"/>
                  <a:gd name="T11" fmla="*/ 822 h 980"/>
                  <a:gd name="T12" fmla="*/ 135 w 1151"/>
                  <a:gd name="T13" fmla="*/ 709 h 980"/>
                  <a:gd name="T14" fmla="*/ 93 w 1151"/>
                  <a:gd name="T15" fmla="*/ 580 h 980"/>
                  <a:gd name="T16" fmla="*/ 47 w 1151"/>
                  <a:gd name="T17" fmla="*/ 573 h 980"/>
                  <a:gd name="T18" fmla="*/ 0 w 1151"/>
                  <a:gd name="T19" fmla="*/ 210 h 980"/>
                  <a:gd name="T20" fmla="*/ 78 w 1151"/>
                  <a:gd name="T21" fmla="*/ 217 h 980"/>
                  <a:gd name="T22" fmla="*/ 156 w 1151"/>
                  <a:gd name="T23" fmla="*/ 201 h 980"/>
                  <a:gd name="T24" fmla="*/ 200 w 1151"/>
                  <a:gd name="T25" fmla="*/ 210 h 980"/>
                  <a:gd name="T26" fmla="*/ 240 w 1151"/>
                  <a:gd name="T27" fmla="*/ 217 h 980"/>
                  <a:gd name="T28" fmla="*/ 312 w 1151"/>
                  <a:gd name="T29" fmla="*/ 238 h 980"/>
                  <a:gd name="T30" fmla="*/ 349 w 1151"/>
                  <a:gd name="T31" fmla="*/ 270 h 980"/>
                  <a:gd name="T32" fmla="*/ 448 w 1151"/>
                  <a:gd name="T33" fmla="*/ 292 h 980"/>
                  <a:gd name="T34" fmla="*/ 491 w 1151"/>
                  <a:gd name="T35" fmla="*/ 264 h 980"/>
                  <a:gd name="T36" fmla="*/ 584 w 1151"/>
                  <a:gd name="T37" fmla="*/ 254 h 980"/>
                  <a:gd name="T38" fmla="*/ 597 w 1151"/>
                  <a:gd name="T39" fmla="*/ 223 h 980"/>
                  <a:gd name="T40" fmla="*/ 604 w 1151"/>
                  <a:gd name="T41" fmla="*/ 292 h 980"/>
                  <a:gd name="T42" fmla="*/ 597 w 1151"/>
                  <a:gd name="T43" fmla="*/ 180 h 980"/>
                  <a:gd name="T44" fmla="*/ 646 w 1151"/>
                  <a:gd name="T45" fmla="*/ 0 h 980"/>
                  <a:gd name="T46" fmla="*/ 646 w 1151"/>
                  <a:gd name="T47" fmla="*/ 67 h 980"/>
                  <a:gd name="T48" fmla="*/ 667 w 1151"/>
                  <a:gd name="T49" fmla="*/ 188 h 980"/>
                  <a:gd name="T50" fmla="*/ 702 w 1151"/>
                  <a:gd name="T51" fmla="*/ 223 h 980"/>
                  <a:gd name="T52" fmla="*/ 731 w 1151"/>
                  <a:gd name="T53" fmla="*/ 299 h 980"/>
                  <a:gd name="T54" fmla="*/ 768 w 1151"/>
                  <a:gd name="T55" fmla="*/ 201 h 980"/>
                  <a:gd name="T56" fmla="*/ 803 w 1151"/>
                  <a:gd name="T57" fmla="*/ 254 h 980"/>
                  <a:gd name="T58" fmla="*/ 803 w 1151"/>
                  <a:gd name="T59" fmla="*/ 307 h 980"/>
                  <a:gd name="T60" fmla="*/ 731 w 1151"/>
                  <a:gd name="T61" fmla="*/ 331 h 980"/>
                  <a:gd name="T62" fmla="*/ 709 w 1151"/>
                  <a:gd name="T63" fmla="*/ 422 h 980"/>
                  <a:gd name="T64" fmla="*/ 661 w 1151"/>
                  <a:gd name="T65" fmla="*/ 465 h 980"/>
                  <a:gd name="T66" fmla="*/ 624 w 1151"/>
                  <a:gd name="T67" fmla="*/ 573 h 980"/>
                  <a:gd name="T68" fmla="*/ 676 w 1151"/>
                  <a:gd name="T69" fmla="*/ 625 h 980"/>
                  <a:gd name="T70" fmla="*/ 783 w 1151"/>
                  <a:gd name="T71" fmla="*/ 670 h 980"/>
                  <a:gd name="T72" fmla="*/ 847 w 1151"/>
                  <a:gd name="T73" fmla="*/ 753 h 980"/>
                  <a:gd name="T74" fmla="*/ 853 w 1151"/>
                  <a:gd name="T75" fmla="*/ 600 h 980"/>
                  <a:gd name="T76" fmla="*/ 853 w 1151"/>
                  <a:gd name="T77" fmla="*/ 534 h 980"/>
                  <a:gd name="T78" fmla="*/ 847 w 1151"/>
                  <a:gd name="T79" fmla="*/ 480 h 980"/>
                  <a:gd name="T80" fmla="*/ 937 w 1151"/>
                  <a:gd name="T81" fmla="*/ 497 h 980"/>
                  <a:gd name="T82" fmla="*/ 966 w 1151"/>
                  <a:gd name="T83" fmla="*/ 573 h 980"/>
                  <a:gd name="T84" fmla="*/ 1022 w 1151"/>
                  <a:gd name="T85" fmla="*/ 534 h 980"/>
                  <a:gd name="T86" fmla="*/ 1079 w 1151"/>
                  <a:gd name="T87" fmla="*/ 664 h 980"/>
                  <a:gd name="T88" fmla="*/ 1123 w 1151"/>
                  <a:gd name="T89" fmla="*/ 692 h 980"/>
                  <a:gd name="T90" fmla="*/ 1136 w 1151"/>
                  <a:gd name="T91" fmla="*/ 723 h 980"/>
                  <a:gd name="T92" fmla="*/ 1136 w 1151"/>
                  <a:gd name="T93" fmla="*/ 766 h 980"/>
                  <a:gd name="T94" fmla="*/ 1036 w 1151"/>
                  <a:gd name="T95" fmla="*/ 790 h 980"/>
                  <a:gd name="T96" fmla="*/ 966 w 1151"/>
                  <a:gd name="T97" fmla="*/ 828 h 980"/>
                  <a:gd name="T98" fmla="*/ 996 w 1151"/>
                  <a:gd name="T99" fmla="*/ 822 h 980"/>
                  <a:gd name="T100" fmla="*/ 1007 w 1151"/>
                  <a:gd name="T101" fmla="*/ 850 h 980"/>
                  <a:gd name="T102" fmla="*/ 1049 w 1151"/>
                  <a:gd name="T103" fmla="*/ 897 h 980"/>
                  <a:gd name="T104" fmla="*/ 1079 w 1151"/>
                  <a:gd name="T105" fmla="*/ 879 h 980"/>
                  <a:gd name="T106" fmla="*/ 1016 w 1151"/>
                  <a:gd name="T107" fmla="*/ 941 h 980"/>
                  <a:gd name="T108" fmla="*/ 1022 w 1151"/>
                  <a:gd name="T109" fmla="*/ 897 h 980"/>
                  <a:gd name="T110" fmla="*/ 981 w 1151"/>
                  <a:gd name="T111" fmla="*/ 857 h 980"/>
                  <a:gd name="T112" fmla="*/ 930 w 1151"/>
                  <a:gd name="T113" fmla="*/ 911 h 980"/>
                  <a:gd name="T114" fmla="*/ 836 w 1151"/>
                  <a:gd name="T115" fmla="*/ 933 h 9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151" h="980">
                    <a:moveTo>
                      <a:pt x="836" y="933"/>
                    </a:moveTo>
                    <a:lnTo>
                      <a:pt x="836" y="949"/>
                    </a:lnTo>
                    <a:lnTo>
                      <a:pt x="803" y="956"/>
                    </a:lnTo>
                    <a:lnTo>
                      <a:pt x="796" y="971"/>
                    </a:lnTo>
                    <a:lnTo>
                      <a:pt x="775" y="980"/>
                    </a:lnTo>
                    <a:lnTo>
                      <a:pt x="796" y="949"/>
                    </a:lnTo>
                    <a:lnTo>
                      <a:pt x="783" y="949"/>
                    </a:lnTo>
                    <a:lnTo>
                      <a:pt x="803" y="941"/>
                    </a:lnTo>
                    <a:lnTo>
                      <a:pt x="803" y="904"/>
                    </a:lnTo>
                    <a:lnTo>
                      <a:pt x="816" y="926"/>
                    </a:lnTo>
                    <a:lnTo>
                      <a:pt x="825" y="911"/>
                    </a:lnTo>
                    <a:lnTo>
                      <a:pt x="810" y="897"/>
                    </a:lnTo>
                    <a:lnTo>
                      <a:pt x="768" y="879"/>
                    </a:lnTo>
                    <a:lnTo>
                      <a:pt x="761" y="874"/>
                    </a:lnTo>
                    <a:lnTo>
                      <a:pt x="753" y="850"/>
                    </a:lnTo>
                    <a:lnTo>
                      <a:pt x="746" y="850"/>
                    </a:lnTo>
                    <a:lnTo>
                      <a:pt x="731" y="828"/>
                    </a:lnTo>
                    <a:lnTo>
                      <a:pt x="718" y="822"/>
                    </a:lnTo>
                    <a:lnTo>
                      <a:pt x="687" y="850"/>
                    </a:lnTo>
                    <a:lnTo>
                      <a:pt x="667" y="850"/>
                    </a:lnTo>
                    <a:lnTo>
                      <a:pt x="646" y="828"/>
                    </a:lnTo>
                    <a:lnTo>
                      <a:pt x="634" y="828"/>
                    </a:lnTo>
                    <a:lnTo>
                      <a:pt x="624" y="813"/>
                    </a:lnTo>
                    <a:lnTo>
                      <a:pt x="619" y="822"/>
                    </a:lnTo>
                    <a:lnTo>
                      <a:pt x="240" y="822"/>
                    </a:lnTo>
                    <a:lnTo>
                      <a:pt x="178" y="775"/>
                    </a:lnTo>
                    <a:lnTo>
                      <a:pt x="170" y="746"/>
                    </a:lnTo>
                    <a:lnTo>
                      <a:pt x="135" y="709"/>
                    </a:lnTo>
                    <a:lnTo>
                      <a:pt x="141" y="699"/>
                    </a:lnTo>
                    <a:lnTo>
                      <a:pt x="141" y="655"/>
                    </a:lnTo>
                    <a:lnTo>
                      <a:pt x="119" y="632"/>
                    </a:lnTo>
                    <a:lnTo>
                      <a:pt x="93" y="580"/>
                    </a:lnTo>
                    <a:lnTo>
                      <a:pt x="86" y="580"/>
                    </a:lnTo>
                    <a:lnTo>
                      <a:pt x="78" y="549"/>
                    </a:lnTo>
                    <a:lnTo>
                      <a:pt x="64" y="565"/>
                    </a:lnTo>
                    <a:lnTo>
                      <a:pt x="47" y="573"/>
                    </a:lnTo>
                    <a:lnTo>
                      <a:pt x="27" y="543"/>
                    </a:lnTo>
                    <a:lnTo>
                      <a:pt x="27" y="534"/>
                    </a:lnTo>
                    <a:lnTo>
                      <a:pt x="0" y="543"/>
                    </a:lnTo>
                    <a:lnTo>
                      <a:pt x="0" y="210"/>
                    </a:lnTo>
                    <a:lnTo>
                      <a:pt x="21" y="210"/>
                    </a:lnTo>
                    <a:lnTo>
                      <a:pt x="71" y="247"/>
                    </a:lnTo>
                    <a:lnTo>
                      <a:pt x="71" y="223"/>
                    </a:lnTo>
                    <a:lnTo>
                      <a:pt x="78" y="217"/>
                    </a:lnTo>
                    <a:lnTo>
                      <a:pt x="93" y="210"/>
                    </a:lnTo>
                    <a:lnTo>
                      <a:pt x="106" y="217"/>
                    </a:lnTo>
                    <a:lnTo>
                      <a:pt x="156" y="180"/>
                    </a:lnTo>
                    <a:lnTo>
                      <a:pt x="156" y="201"/>
                    </a:lnTo>
                    <a:lnTo>
                      <a:pt x="170" y="201"/>
                    </a:lnTo>
                    <a:lnTo>
                      <a:pt x="178" y="171"/>
                    </a:lnTo>
                    <a:lnTo>
                      <a:pt x="200" y="188"/>
                    </a:lnTo>
                    <a:lnTo>
                      <a:pt x="200" y="210"/>
                    </a:lnTo>
                    <a:lnTo>
                      <a:pt x="215" y="217"/>
                    </a:lnTo>
                    <a:lnTo>
                      <a:pt x="222" y="201"/>
                    </a:lnTo>
                    <a:lnTo>
                      <a:pt x="222" y="217"/>
                    </a:lnTo>
                    <a:lnTo>
                      <a:pt x="240" y="217"/>
                    </a:lnTo>
                    <a:lnTo>
                      <a:pt x="240" y="201"/>
                    </a:lnTo>
                    <a:lnTo>
                      <a:pt x="262" y="201"/>
                    </a:lnTo>
                    <a:lnTo>
                      <a:pt x="300" y="223"/>
                    </a:lnTo>
                    <a:lnTo>
                      <a:pt x="312" y="238"/>
                    </a:lnTo>
                    <a:lnTo>
                      <a:pt x="334" y="238"/>
                    </a:lnTo>
                    <a:lnTo>
                      <a:pt x="354" y="247"/>
                    </a:lnTo>
                    <a:lnTo>
                      <a:pt x="354" y="264"/>
                    </a:lnTo>
                    <a:lnTo>
                      <a:pt x="349" y="270"/>
                    </a:lnTo>
                    <a:lnTo>
                      <a:pt x="349" y="284"/>
                    </a:lnTo>
                    <a:lnTo>
                      <a:pt x="377" y="292"/>
                    </a:lnTo>
                    <a:lnTo>
                      <a:pt x="419" y="270"/>
                    </a:lnTo>
                    <a:lnTo>
                      <a:pt x="448" y="292"/>
                    </a:lnTo>
                    <a:lnTo>
                      <a:pt x="448" y="270"/>
                    </a:lnTo>
                    <a:lnTo>
                      <a:pt x="433" y="264"/>
                    </a:lnTo>
                    <a:lnTo>
                      <a:pt x="475" y="238"/>
                    </a:lnTo>
                    <a:lnTo>
                      <a:pt x="491" y="264"/>
                    </a:lnTo>
                    <a:lnTo>
                      <a:pt x="555" y="292"/>
                    </a:lnTo>
                    <a:lnTo>
                      <a:pt x="577" y="292"/>
                    </a:lnTo>
                    <a:lnTo>
                      <a:pt x="577" y="264"/>
                    </a:lnTo>
                    <a:lnTo>
                      <a:pt x="584" y="254"/>
                    </a:lnTo>
                    <a:lnTo>
                      <a:pt x="555" y="238"/>
                    </a:lnTo>
                    <a:lnTo>
                      <a:pt x="577" y="223"/>
                    </a:lnTo>
                    <a:lnTo>
                      <a:pt x="584" y="201"/>
                    </a:lnTo>
                    <a:lnTo>
                      <a:pt x="597" y="223"/>
                    </a:lnTo>
                    <a:lnTo>
                      <a:pt x="619" y="247"/>
                    </a:lnTo>
                    <a:lnTo>
                      <a:pt x="597" y="264"/>
                    </a:lnTo>
                    <a:lnTo>
                      <a:pt x="597" y="284"/>
                    </a:lnTo>
                    <a:lnTo>
                      <a:pt x="604" y="292"/>
                    </a:lnTo>
                    <a:lnTo>
                      <a:pt x="634" y="254"/>
                    </a:lnTo>
                    <a:lnTo>
                      <a:pt x="624" y="238"/>
                    </a:lnTo>
                    <a:lnTo>
                      <a:pt x="634" y="217"/>
                    </a:lnTo>
                    <a:lnTo>
                      <a:pt x="597" y="180"/>
                    </a:lnTo>
                    <a:lnTo>
                      <a:pt x="604" y="126"/>
                    </a:lnTo>
                    <a:lnTo>
                      <a:pt x="624" y="117"/>
                    </a:lnTo>
                    <a:lnTo>
                      <a:pt x="619" y="6"/>
                    </a:lnTo>
                    <a:lnTo>
                      <a:pt x="646" y="0"/>
                    </a:lnTo>
                    <a:lnTo>
                      <a:pt x="676" y="6"/>
                    </a:lnTo>
                    <a:lnTo>
                      <a:pt x="681" y="15"/>
                    </a:lnTo>
                    <a:lnTo>
                      <a:pt x="661" y="67"/>
                    </a:lnTo>
                    <a:lnTo>
                      <a:pt x="646" y="67"/>
                    </a:lnTo>
                    <a:lnTo>
                      <a:pt x="634" y="82"/>
                    </a:lnTo>
                    <a:lnTo>
                      <a:pt x="639" y="99"/>
                    </a:lnTo>
                    <a:lnTo>
                      <a:pt x="634" y="114"/>
                    </a:lnTo>
                    <a:lnTo>
                      <a:pt x="667" y="188"/>
                    </a:lnTo>
                    <a:lnTo>
                      <a:pt x="661" y="210"/>
                    </a:lnTo>
                    <a:lnTo>
                      <a:pt x="667" y="217"/>
                    </a:lnTo>
                    <a:lnTo>
                      <a:pt x="687" y="254"/>
                    </a:lnTo>
                    <a:lnTo>
                      <a:pt x="702" y="223"/>
                    </a:lnTo>
                    <a:lnTo>
                      <a:pt x="718" y="247"/>
                    </a:lnTo>
                    <a:lnTo>
                      <a:pt x="709" y="284"/>
                    </a:lnTo>
                    <a:lnTo>
                      <a:pt x="726" y="299"/>
                    </a:lnTo>
                    <a:lnTo>
                      <a:pt x="731" y="299"/>
                    </a:lnTo>
                    <a:lnTo>
                      <a:pt x="731" y="284"/>
                    </a:lnTo>
                    <a:lnTo>
                      <a:pt x="753" y="270"/>
                    </a:lnTo>
                    <a:lnTo>
                      <a:pt x="753" y="201"/>
                    </a:lnTo>
                    <a:lnTo>
                      <a:pt x="768" y="201"/>
                    </a:lnTo>
                    <a:lnTo>
                      <a:pt x="783" y="210"/>
                    </a:lnTo>
                    <a:lnTo>
                      <a:pt x="783" y="223"/>
                    </a:lnTo>
                    <a:lnTo>
                      <a:pt x="803" y="223"/>
                    </a:lnTo>
                    <a:lnTo>
                      <a:pt x="803" y="254"/>
                    </a:lnTo>
                    <a:lnTo>
                      <a:pt x="783" y="264"/>
                    </a:lnTo>
                    <a:lnTo>
                      <a:pt x="783" y="284"/>
                    </a:lnTo>
                    <a:lnTo>
                      <a:pt x="803" y="292"/>
                    </a:lnTo>
                    <a:lnTo>
                      <a:pt x="803" y="307"/>
                    </a:lnTo>
                    <a:lnTo>
                      <a:pt x="768" y="344"/>
                    </a:lnTo>
                    <a:lnTo>
                      <a:pt x="753" y="338"/>
                    </a:lnTo>
                    <a:lnTo>
                      <a:pt x="753" y="331"/>
                    </a:lnTo>
                    <a:lnTo>
                      <a:pt x="731" y="331"/>
                    </a:lnTo>
                    <a:lnTo>
                      <a:pt x="746" y="344"/>
                    </a:lnTo>
                    <a:lnTo>
                      <a:pt x="726" y="366"/>
                    </a:lnTo>
                    <a:lnTo>
                      <a:pt x="726" y="383"/>
                    </a:lnTo>
                    <a:lnTo>
                      <a:pt x="709" y="422"/>
                    </a:lnTo>
                    <a:lnTo>
                      <a:pt x="687" y="422"/>
                    </a:lnTo>
                    <a:lnTo>
                      <a:pt x="676" y="442"/>
                    </a:lnTo>
                    <a:lnTo>
                      <a:pt x="681" y="457"/>
                    </a:lnTo>
                    <a:lnTo>
                      <a:pt x="661" y="465"/>
                    </a:lnTo>
                    <a:lnTo>
                      <a:pt x="661" y="487"/>
                    </a:lnTo>
                    <a:lnTo>
                      <a:pt x="646" y="487"/>
                    </a:lnTo>
                    <a:lnTo>
                      <a:pt x="624" y="543"/>
                    </a:lnTo>
                    <a:lnTo>
                      <a:pt x="624" y="573"/>
                    </a:lnTo>
                    <a:lnTo>
                      <a:pt x="634" y="580"/>
                    </a:lnTo>
                    <a:lnTo>
                      <a:pt x="646" y="580"/>
                    </a:lnTo>
                    <a:lnTo>
                      <a:pt x="661" y="632"/>
                    </a:lnTo>
                    <a:lnTo>
                      <a:pt x="676" y="625"/>
                    </a:lnTo>
                    <a:lnTo>
                      <a:pt x="702" y="632"/>
                    </a:lnTo>
                    <a:lnTo>
                      <a:pt x="718" y="655"/>
                    </a:lnTo>
                    <a:lnTo>
                      <a:pt x="753" y="670"/>
                    </a:lnTo>
                    <a:lnTo>
                      <a:pt x="783" y="670"/>
                    </a:lnTo>
                    <a:lnTo>
                      <a:pt x="796" y="686"/>
                    </a:lnTo>
                    <a:lnTo>
                      <a:pt x="796" y="739"/>
                    </a:lnTo>
                    <a:lnTo>
                      <a:pt x="825" y="775"/>
                    </a:lnTo>
                    <a:lnTo>
                      <a:pt x="847" y="753"/>
                    </a:lnTo>
                    <a:lnTo>
                      <a:pt x="825" y="692"/>
                    </a:lnTo>
                    <a:lnTo>
                      <a:pt x="847" y="686"/>
                    </a:lnTo>
                    <a:lnTo>
                      <a:pt x="858" y="655"/>
                    </a:lnTo>
                    <a:lnTo>
                      <a:pt x="853" y="600"/>
                    </a:lnTo>
                    <a:lnTo>
                      <a:pt x="836" y="580"/>
                    </a:lnTo>
                    <a:lnTo>
                      <a:pt x="847" y="573"/>
                    </a:lnTo>
                    <a:lnTo>
                      <a:pt x="853" y="573"/>
                    </a:lnTo>
                    <a:lnTo>
                      <a:pt x="853" y="534"/>
                    </a:lnTo>
                    <a:lnTo>
                      <a:pt x="847" y="524"/>
                    </a:lnTo>
                    <a:lnTo>
                      <a:pt x="853" y="497"/>
                    </a:lnTo>
                    <a:lnTo>
                      <a:pt x="847" y="487"/>
                    </a:lnTo>
                    <a:lnTo>
                      <a:pt x="847" y="480"/>
                    </a:lnTo>
                    <a:lnTo>
                      <a:pt x="853" y="465"/>
                    </a:lnTo>
                    <a:lnTo>
                      <a:pt x="880" y="480"/>
                    </a:lnTo>
                    <a:lnTo>
                      <a:pt x="900" y="465"/>
                    </a:lnTo>
                    <a:lnTo>
                      <a:pt x="937" y="497"/>
                    </a:lnTo>
                    <a:lnTo>
                      <a:pt x="930" y="504"/>
                    </a:lnTo>
                    <a:lnTo>
                      <a:pt x="937" y="512"/>
                    </a:lnTo>
                    <a:lnTo>
                      <a:pt x="966" y="512"/>
                    </a:lnTo>
                    <a:lnTo>
                      <a:pt x="966" y="573"/>
                    </a:lnTo>
                    <a:lnTo>
                      <a:pt x="986" y="600"/>
                    </a:lnTo>
                    <a:lnTo>
                      <a:pt x="1022" y="565"/>
                    </a:lnTo>
                    <a:lnTo>
                      <a:pt x="1016" y="549"/>
                    </a:lnTo>
                    <a:lnTo>
                      <a:pt x="1022" y="534"/>
                    </a:lnTo>
                    <a:lnTo>
                      <a:pt x="1073" y="625"/>
                    </a:lnTo>
                    <a:lnTo>
                      <a:pt x="1064" y="632"/>
                    </a:lnTo>
                    <a:lnTo>
                      <a:pt x="1064" y="655"/>
                    </a:lnTo>
                    <a:lnTo>
                      <a:pt x="1079" y="664"/>
                    </a:lnTo>
                    <a:lnTo>
                      <a:pt x="1079" y="670"/>
                    </a:lnTo>
                    <a:lnTo>
                      <a:pt x="1101" y="686"/>
                    </a:lnTo>
                    <a:lnTo>
                      <a:pt x="1108" y="686"/>
                    </a:lnTo>
                    <a:lnTo>
                      <a:pt x="1123" y="692"/>
                    </a:lnTo>
                    <a:lnTo>
                      <a:pt x="1108" y="699"/>
                    </a:lnTo>
                    <a:lnTo>
                      <a:pt x="1123" y="699"/>
                    </a:lnTo>
                    <a:lnTo>
                      <a:pt x="1123" y="723"/>
                    </a:lnTo>
                    <a:lnTo>
                      <a:pt x="1136" y="723"/>
                    </a:lnTo>
                    <a:lnTo>
                      <a:pt x="1145" y="731"/>
                    </a:lnTo>
                    <a:lnTo>
                      <a:pt x="1145" y="739"/>
                    </a:lnTo>
                    <a:lnTo>
                      <a:pt x="1151" y="753"/>
                    </a:lnTo>
                    <a:lnTo>
                      <a:pt x="1136" y="766"/>
                    </a:lnTo>
                    <a:lnTo>
                      <a:pt x="1108" y="775"/>
                    </a:lnTo>
                    <a:lnTo>
                      <a:pt x="1095" y="805"/>
                    </a:lnTo>
                    <a:lnTo>
                      <a:pt x="1064" y="805"/>
                    </a:lnTo>
                    <a:lnTo>
                      <a:pt x="1036" y="790"/>
                    </a:lnTo>
                    <a:lnTo>
                      <a:pt x="996" y="805"/>
                    </a:lnTo>
                    <a:lnTo>
                      <a:pt x="986" y="822"/>
                    </a:lnTo>
                    <a:lnTo>
                      <a:pt x="981" y="822"/>
                    </a:lnTo>
                    <a:lnTo>
                      <a:pt x="966" y="828"/>
                    </a:lnTo>
                    <a:lnTo>
                      <a:pt x="937" y="865"/>
                    </a:lnTo>
                    <a:lnTo>
                      <a:pt x="944" y="865"/>
                    </a:lnTo>
                    <a:lnTo>
                      <a:pt x="974" y="835"/>
                    </a:lnTo>
                    <a:lnTo>
                      <a:pt x="996" y="822"/>
                    </a:lnTo>
                    <a:lnTo>
                      <a:pt x="1031" y="822"/>
                    </a:lnTo>
                    <a:lnTo>
                      <a:pt x="1031" y="835"/>
                    </a:lnTo>
                    <a:lnTo>
                      <a:pt x="1016" y="850"/>
                    </a:lnTo>
                    <a:lnTo>
                      <a:pt x="1007" y="850"/>
                    </a:lnTo>
                    <a:lnTo>
                      <a:pt x="1016" y="857"/>
                    </a:lnTo>
                    <a:lnTo>
                      <a:pt x="1022" y="850"/>
                    </a:lnTo>
                    <a:lnTo>
                      <a:pt x="1022" y="874"/>
                    </a:lnTo>
                    <a:lnTo>
                      <a:pt x="1049" y="897"/>
                    </a:lnTo>
                    <a:lnTo>
                      <a:pt x="1064" y="897"/>
                    </a:lnTo>
                    <a:lnTo>
                      <a:pt x="1064" y="879"/>
                    </a:lnTo>
                    <a:lnTo>
                      <a:pt x="1079" y="865"/>
                    </a:lnTo>
                    <a:lnTo>
                      <a:pt x="1079" y="879"/>
                    </a:lnTo>
                    <a:lnTo>
                      <a:pt x="1095" y="879"/>
                    </a:lnTo>
                    <a:lnTo>
                      <a:pt x="1073" y="904"/>
                    </a:lnTo>
                    <a:lnTo>
                      <a:pt x="1031" y="926"/>
                    </a:lnTo>
                    <a:lnTo>
                      <a:pt x="1016" y="941"/>
                    </a:lnTo>
                    <a:lnTo>
                      <a:pt x="1007" y="926"/>
                    </a:lnTo>
                    <a:lnTo>
                      <a:pt x="1031" y="904"/>
                    </a:lnTo>
                    <a:lnTo>
                      <a:pt x="1022" y="904"/>
                    </a:lnTo>
                    <a:lnTo>
                      <a:pt x="1022" y="897"/>
                    </a:lnTo>
                    <a:lnTo>
                      <a:pt x="1007" y="904"/>
                    </a:lnTo>
                    <a:lnTo>
                      <a:pt x="996" y="904"/>
                    </a:lnTo>
                    <a:lnTo>
                      <a:pt x="986" y="897"/>
                    </a:lnTo>
                    <a:lnTo>
                      <a:pt x="981" y="857"/>
                    </a:lnTo>
                    <a:lnTo>
                      <a:pt x="974" y="865"/>
                    </a:lnTo>
                    <a:lnTo>
                      <a:pt x="966" y="857"/>
                    </a:lnTo>
                    <a:lnTo>
                      <a:pt x="944" y="904"/>
                    </a:lnTo>
                    <a:lnTo>
                      <a:pt x="930" y="911"/>
                    </a:lnTo>
                    <a:lnTo>
                      <a:pt x="887" y="911"/>
                    </a:lnTo>
                    <a:lnTo>
                      <a:pt x="858" y="933"/>
                    </a:lnTo>
                    <a:lnTo>
                      <a:pt x="836" y="933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07" name="Freeform 141"/>
              <p:cNvSpPr>
                <a:spLocks/>
              </p:cNvSpPr>
              <p:nvPr/>
            </p:nvSpPr>
            <p:spPr bwMode="auto">
              <a:xfrm>
                <a:off x="2922588" y="3481388"/>
                <a:ext cx="150812" cy="187325"/>
              </a:xfrm>
              <a:custGeom>
                <a:avLst/>
                <a:gdLst>
                  <a:gd name="T0" fmla="*/ 0 w 86"/>
                  <a:gd name="T1" fmla="*/ 85 h 107"/>
                  <a:gd name="T2" fmla="*/ 0 w 86"/>
                  <a:gd name="T3" fmla="*/ 92 h 107"/>
                  <a:gd name="T4" fmla="*/ 49 w 86"/>
                  <a:gd name="T5" fmla="*/ 92 h 107"/>
                  <a:gd name="T6" fmla="*/ 49 w 86"/>
                  <a:gd name="T7" fmla="*/ 99 h 107"/>
                  <a:gd name="T8" fmla="*/ 57 w 86"/>
                  <a:gd name="T9" fmla="*/ 92 h 107"/>
                  <a:gd name="T10" fmla="*/ 79 w 86"/>
                  <a:gd name="T11" fmla="*/ 99 h 107"/>
                  <a:gd name="T12" fmla="*/ 79 w 86"/>
                  <a:gd name="T13" fmla="*/ 107 h 107"/>
                  <a:gd name="T14" fmla="*/ 86 w 86"/>
                  <a:gd name="T15" fmla="*/ 107 h 107"/>
                  <a:gd name="T16" fmla="*/ 86 w 86"/>
                  <a:gd name="T17" fmla="*/ 92 h 107"/>
                  <a:gd name="T18" fmla="*/ 66 w 86"/>
                  <a:gd name="T19" fmla="*/ 85 h 107"/>
                  <a:gd name="T20" fmla="*/ 79 w 86"/>
                  <a:gd name="T21" fmla="*/ 70 h 107"/>
                  <a:gd name="T22" fmla="*/ 66 w 86"/>
                  <a:gd name="T23" fmla="*/ 63 h 107"/>
                  <a:gd name="T24" fmla="*/ 79 w 86"/>
                  <a:gd name="T25" fmla="*/ 55 h 107"/>
                  <a:gd name="T26" fmla="*/ 49 w 86"/>
                  <a:gd name="T27" fmla="*/ 55 h 107"/>
                  <a:gd name="T28" fmla="*/ 45 w 86"/>
                  <a:gd name="T29" fmla="*/ 47 h 107"/>
                  <a:gd name="T30" fmla="*/ 49 w 86"/>
                  <a:gd name="T31" fmla="*/ 38 h 107"/>
                  <a:gd name="T32" fmla="*/ 45 w 86"/>
                  <a:gd name="T33" fmla="*/ 38 h 107"/>
                  <a:gd name="T34" fmla="*/ 49 w 86"/>
                  <a:gd name="T35" fmla="*/ 0 h 107"/>
                  <a:gd name="T36" fmla="*/ 34 w 86"/>
                  <a:gd name="T37" fmla="*/ 10 h 107"/>
                  <a:gd name="T38" fmla="*/ 7 w 86"/>
                  <a:gd name="T39" fmla="*/ 63 h 107"/>
                  <a:gd name="T40" fmla="*/ 7 w 86"/>
                  <a:gd name="T41" fmla="*/ 70 h 107"/>
                  <a:gd name="T42" fmla="*/ 0 w 86"/>
                  <a:gd name="T43" fmla="*/ 85 h 107"/>
                  <a:gd name="T44" fmla="*/ 0 w 86"/>
                  <a:gd name="T45" fmla="*/ 85 h 107"/>
                  <a:gd name="T46" fmla="*/ 0 w 86"/>
                  <a:gd name="T47" fmla="*/ 85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86" h="107">
                    <a:moveTo>
                      <a:pt x="0" y="85"/>
                    </a:moveTo>
                    <a:lnTo>
                      <a:pt x="0" y="92"/>
                    </a:lnTo>
                    <a:lnTo>
                      <a:pt x="49" y="92"/>
                    </a:lnTo>
                    <a:lnTo>
                      <a:pt x="49" y="99"/>
                    </a:lnTo>
                    <a:lnTo>
                      <a:pt x="57" y="92"/>
                    </a:lnTo>
                    <a:lnTo>
                      <a:pt x="79" y="99"/>
                    </a:lnTo>
                    <a:lnTo>
                      <a:pt x="79" y="107"/>
                    </a:lnTo>
                    <a:lnTo>
                      <a:pt x="86" y="107"/>
                    </a:lnTo>
                    <a:lnTo>
                      <a:pt x="86" y="92"/>
                    </a:lnTo>
                    <a:lnTo>
                      <a:pt x="66" y="85"/>
                    </a:lnTo>
                    <a:lnTo>
                      <a:pt x="79" y="70"/>
                    </a:lnTo>
                    <a:lnTo>
                      <a:pt x="66" y="63"/>
                    </a:lnTo>
                    <a:lnTo>
                      <a:pt x="79" y="55"/>
                    </a:lnTo>
                    <a:lnTo>
                      <a:pt x="49" y="55"/>
                    </a:lnTo>
                    <a:lnTo>
                      <a:pt x="45" y="47"/>
                    </a:lnTo>
                    <a:lnTo>
                      <a:pt x="49" y="38"/>
                    </a:lnTo>
                    <a:lnTo>
                      <a:pt x="45" y="38"/>
                    </a:lnTo>
                    <a:lnTo>
                      <a:pt x="49" y="0"/>
                    </a:lnTo>
                    <a:lnTo>
                      <a:pt x="34" y="10"/>
                    </a:lnTo>
                    <a:lnTo>
                      <a:pt x="7" y="63"/>
                    </a:lnTo>
                    <a:lnTo>
                      <a:pt x="7" y="70"/>
                    </a:lnTo>
                    <a:lnTo>
                      <a:pt x="0" y="85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08" name="Freeform 142"/>
              <p:cNvSpPr>
                <a:spLocks/>
              </p:cNvSpPr>
              <p:nvPr/>
            </p:nvSpPr>
            <p:spPr bwMode="auto">
              <a:xfrm>
                <a:off x="1562100" y="4138613"/>
                <a:ext cx="698500" cy="500062"/>
              </a:xfrm>
              <a:custGeom>
                <a:avLst/>
                <a:gdLst>
                  <a:gd name="T0" fmla="*/ 258 w 398"/>
                  <a:gd name="T1" fmla="*/ 131 h 286"/>
                  <a:gd name="T2" fmla="*/ 264 w 398"/>
                  <a:gd name="T3" fmla="*/ 177 h 286"/>
                  <a:gd name="T4" fmla="*/ 279 w 398"/>
                  <a:gd name="T5" fmla="*/ 229 h 286"/>
                  <a:gd name="T6" fmla="*/ 350 w 398"/>
                  <a:gd name="T7" fmla="*/ 229 h 286"/>
                  <a:gd name="T8" fmla="*/ 350 w 398"/>
                  <a:gd name="T9" fmla="*/ 214 h 286"/>
                  <a:gd name="T10" fmla="*/ 392 w 398"/>
                  <a:gd name="T11" fmla="*/ 177 h 286"/>
                  <a:gd name="T12" fmla="*/ 392 w 398"/>
                  <a:gd name="T13" fmla="*/ 234 h 286"/>
                  <a:gd name="T14" fmla="*/ 376 w 398"/>
                  <a:gd name="T15" fmla="*/ 234 h 286"/>
                  <a:gd name="T16" fmla="*/ 341 w 398"/>
                  <a:gd name="T17" fmla="*/ 244 h 286"/>
                  <a:gd name="T18" fmla="*/ 341 w 398"/>
                  <a:gd name="T19" fmla="*/ 259 h 286"/>
                  <a:gd name="T20" fmla="*/ 308 w 398"/>
                  <a:gd name="T21" fmla="*/ 259 h 286"/>
                  <a:gd name="T22" fmla="*/ 279 w 398"/>
                  <a:gd name="T23" fmla="*/ 272 h 286"/>
                  <a:gd name="T24" fmla="*/ 214 w 398"/>
                  <a:gd name="T25" fmla="*/ 244 h 286"/>
                  <a:gd name="T26" fmla="*/ 179 w 398"/>
                  <a:gd name="T27" fmla="*/ 234 h 286"/>
                  <a:gd name="T28" fmla="*/ 149 w 398"/>
                  <a:gd name="T29" fmla="*/ 198 h 286"/>
                  <a:gd name="T30" fmla="*/ 149 w 398"/>
                  <a:gd name="T31" fmla="*/ 168 h 286"/>
                  <a:gd name="T32" fmla="*/ 100 w 398"/>
                  <a:gd name="T33" fmla="*/ 114 h 286"/>
                  <a:gd name="T34" fmla="*/ 85 w 398"/>
                  <a:gd name="T35" fmla="*/ 86 h 286"/>
                  <a:gd name="T36" fmla="*/ 72 w 398"/>
                  <a:gd name="T37" fmla="*/ 76 h 286"/>
                  <a:gd name="T38" fmla="*/ 45 w 398"/>
                  <a:gd name="T39" fmla="*/ 24 h 286"/>
                  <a:gd name="T40" fmla="*/ 28 w 398"/>
                  <a:gd name="T41" fmla="*/ 39 h 286"/>
                  <a:gd name="T42" fmla="*/ 93 w 398"/>
                  <a:gd name="T43" fmla="*/ 138 h 286"/>
                  <a:gd name="T44" fmla="*/ 93 w 398"/>
                  <a:gd name="T45" fmla="*/ 161 h 286"/>
                  <a:gd name="T46" fmla="*/ 65 w 398"/>
                  <a:gd name="T47" fmla="*/ 121 h 286"/>
                  <a:gd name="T48" fmla="*/ 28 w 398"/>
                  <a:gd name="T49" fmla="*/ 93 h 286"/>
                  <a:gd name="T50" fmla="*/ 28 w 398"/>
                  <a:gd name="T51" fmla="*/ 86 h 286"/>
                  <a:gd name="T52" fmla="*/ 16 w 398"/>
                  <a:gd name="T53" fmla="*/ 45 h 286"/>
                  <a:gd name="T54" fmla="*/ 23 w 398"/>
                  <a:gd name="T55" fmla="*/ 0 h 286"/>
                  <a:gd name="T56" fmla="*/ 142 w 398"/>
                  <a:gd name="T57" fmla="*/ 10 h 286"/>
                  <a:gd name="T58" fmla="*/ 165 w 398"/>
                  <a:gd name="T59" fmla="*/ 45 h 286"/>
                  <a:gd name="T60" fmla="*/ 187 w 398"/>
                  <a:gd name="T61" fmla="*/ 56 h 286"/>
                  <a:gd name="T62" fmla="*/ 207 w 398"/>
                  <a:gd name="T63" fmla="*/ 45 h 286"/>
                  <a:gd name="T64" fmla="*/ 264 w 398"/>
                  <a:gd name="T65" fmla="*/ 114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98" h="286">
                    <a:moveTo>
                      <a:pt x="264" y="114"/>
                    </a:moveTo>
                    <a:lnTo>
                      <a:pt x="258" y="131"/>
                    </a:lnTo>
                    <a:lnTo>
                      <a:pt x="258" y="168"/>
                    </a:lnTo>
                    <a:lnTo>
                      <a:pt x="264" y="177"/>
                    </a:lnTo>
                    <a:lnTo>
                      <a:pt x="264" y="183"/>
                    </a:lnTo>
                    <a:lnTo>
                      <a:pt x="279" y="229"/>
                    </a:lnTo>
                    <a:lnTo>
                      <a:pt x="308" y="234"/>
                    </a:lnTo>
                    <a:lnTo>
                      <a:pt x="350" y="229"/>
                    </a:lnTo>
                    <a:lnTo>
                      <a:pt x="341" y="229"/>
                    </a:lnTo>
                    <a:lnTo>
                      <a:pt x="350" y="214"/>
                    </a:lnTo>
                    <a:lnTo>
                      <a:pt x="355" y="183"/>
                    </a:lnTo>
                    <a:lnTo>
                      <a:pt x="392" y="177"/>
                    </a:lnTo>
                    <a:lnTo>
                      <a:pt x="398" y="183"/>
                    </a:lnTo>
                    <a:lnTo>
                      <a:pt x="392" y="234"/>
                    </a:lnTo>
                    <a:lnTo>
                      <a:pt x="383" y="229"/>
                    </a:lnTo>
                    <a:lnTo>
                      <a:pt x="376" y="234"/>
                    </a:lnTo>
                    <a:lnTo>
                      <a:pt x="350" y="234"/>
                    </a:lnTo>
                    <a:lnTo>
                      <a:pt x="341" y="244"/>
                    </a:lnTo>
                    <a:lnTo>
                      <a:pt x="355" y="259"/>
                    </a:lnTo>
                    <a:lnTo>
                      <a:pt x="341" y="259"/>
                    </a:lnTo>
                    <a:lnTo>
                      <a:pt x="335" y="286"/>
                    </a:lnTo>
                    <a:lnTo>
                      <a:pt x="308" y="259"/>
                    </a:lnTo>
                    <a:lnTo>
                      <a:pt x="293" y="259"/>
                    </a:lnTo>
                    <a:lnTo>
                      <a:pt x="279" y="272"/>
                    </a:lnTo>
                    <a:lnTo>
                      <a:pt x="258" y="259"/>
                    </a:lnTo>
                    <a:lnTo>
                      <a:pt x="214" y="244"/>
                    </a:lnTo>
                    <a:lnTo>
                      <a:pt x="207" y="234"/>
                    </a:lnTo>
                    <a:lnTo>
                      <a:pt x="179" y="234"/>
                    </a:lnTo>
                    <a:lnTo>
                      <a:pt x="165" y="214"/>
                    </a:lnTo>
                    <a:lnTo>
                      <a:pt x="149" y="198"/>
                    </a:lnTo>
                    <a:lnTo>
                      <a:pt x="165" y="183"/>
                    </a:lnTo>
                    <a:lnTo>
                      <a:pt x="149" y="168"/>
                    </a:lnTo>
                    <a:lnTo>
                      <a:pt x="122" y="121"/>
                    </a:lnTo>
                    <a:lnTo>
                      <a:pt x="100" y="114"/>
                    </a:lnTo>
                    <a:lnTo>
                      <a:pt x="100" y="108"/>
                    </a:lnTo>
                    <a:lnTo>
                      <a:pt x="85" y="86"/>
                    </a:lnTo>
                    <a:lnTo>
                      <a:pt x="85" y="76"/>
                    </a:lnTo>
                    <a:lnTo>
                      <a:pt x="72" y="76"/>
                    </a:lnTo>
                    <a:lnTo>
                      <a:pt x="50" y="24"/>
                    </a:lnTo>
                    <a:lnTo>
                      <a:pt x="45" y="24"/>
                    </a:lnTo>
                    <a:lnTo>
                      <a:pt x="23" y="10"/>
                    </a:lnTo>
                    <a:lnTo>
                      <a:pt x="28" y="39"/>
                    </a:lnTo>
                    <a:lnTo>
                      <a:pt x="85" y="138"/>
                    </a:lnTo>
                    <a:lnTo>
                      <a:pt x="93" y="138"/>
                    </a:lnTo>
                    <a:lnTo>
                      <a:pt x="100" y="155"/>
                    </a:lnTo>
                    <a:lnTo>
                      <a:pt x="93" y="161"/>
                    </a:lnTo>
                    <a:lnTo>
                      <a:pt x="56" y="131"/>
                    </a:lnTo>
                    <a:lnTo>
                      <a:pt x="65" y="121"/>
                    </a:lnTo>
                    <a:lnTo>
                      <a:pt x="56" y="108"/>
                    </a:lnTo>
                    <a:lnTo>
                      <a:pt x="28" y="93"/>
                    </a:lnTo>
                    <a:lnTo>
                      <a:pt x="23" y="76"/>
                    </a:lnTo>
                    <a:lnTo>
                      <a:pt x="28" y="86"/>
                    </a:lnTo>
                    <a:lnTo>
                      <a:pt x="45" y="61"/>
                    </a:lnTo>
                    <a:lnTo>
                      <a:pt x="16" y="45"/>
                    </a:lnTo>
                    <a:lnTo>
                      <a:pt x="0" y="0"/>
                    </a:lnTo>
                    <a:lnTo>
                      <a:pt x="23" y="0"/>
                    </a:lnTo>
                    <a:lnTo>
                      <a:pt x="72" y="24"/>
                    </a:lnTo>
                    <a:lnTo>
                      <a:pt x="142" y="10"/>
                    </a:lnTo>
                    <a:lnTo>
                      <a:pt x="165" y="32"/>
                    </a:lnTo>
                    <a:lnTo>
                      <a:pt x="165" y="45"/>
                    </a:lnTo>
                    <a:lnTo>
                      <a:pt x="179" y="56"/>
                    </a:lnTo>
                    <a:lnTo>
                      <a:pt x="187" y="56"/>
                    </a:lnTo>
                    <a:lnTo>
                      <a:pt x="192" y="45"/>
                    </a:lnTo>
                    <a:lnTo>
                      <a:pt x="207" y="45"/>
                    </a:lnTo>
                    <a:lnTo>
                      <a:pt x="234" y="108"/>
                    </a:lnTo>
                    <a:lnTo>
                      <a:pt x="264" y="114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09" name="Freeform 143"/>
              <p:cNvSpPr>
                <a:spLocks/>
              </p:cNvSpPr>
              <p:nvPr/>
            </p:nvSpPr>
            <p:spPr bwMode="auto">
              <a:xfrm>
                <a:off x="2263775" y="2749550"/>
                <a:ext cx="158750" cy="188913"/>
              </a:xfrm>
              <a:custGeom>
                <a:avLst/>
                <a:gdLst>
                  <a:gd name="T0" fmla="*/ 0 w 90"/>
                  <a:gd name="T1" fmla="*/ 86 h 108"/>
                  <a:gd name="T2" fmla="*/ 20 w 90"/>
                  <a:gd name="T3" fmla="*/ 86 h 108"/>
                  <a:gd name="T4" fmla="*/ 20 w 90"/>
                  <a:gd name="T5" fmla="*/ 108 h 108"/>
                  <a:gd name="T6" fmla="*/ 35 w 90"/>
                  <a:gd name="T7" fmla="*/ 108 h 108"/>
                  <a:gd name="T8" fmla="*/ 47 w 90"/>
                  <a:gd name="T9" fmla="*/ 79 h 108"/>
                  <a:gd name="T10" fmla="*/ 57 w 90"/>
                  <a:gd name="T11" fmla="*/ 79 h 108"/>
                  <a:gd name="T12" fmla="*/ 77 w 90"/>
                  <a:gd name="T13" fmla="*/ 99 h 108"/>
                  <a:gd name="T14" fmla="*/ 90 w 90"/>
                  <a:gd name="T15" fmla="*/ 79 h 108"/>
                  <a:gd name="T16" fmla="*/ 77 w 90"/>
                  <a:gd name="T17" fmla="*/ 79 h 108"/>
                  <a:gd name="T18" fmla="*/ 35 w 90"/>
                  <a:gd name="T19" fmla="*/ 22 h 108"/>
                  <a:gd name="T20" fmla="*/ 25 w 90"/>
                  <a:gd name="T21" fmla="*/ 0 h 108"/>
                  <a:gd name="T22" fmla="*/ 20 w 90"/>
                  <a:gd name="T23" fmla="*/ 22 h 108"/>
                  <a:gd name="T24" fmla="*/ 5 w 90"/>
                  <a:gd name="T25" fmla="*/ 32 h 108"/>
                  <a:gd name="T26" fmla="*/ 20 w 90"/>
                  <a:gd name="T27" fmla="*/ 79 h 108"/>
                  <a:gd name="T28" fmla="*/ 0 w 90"/>
                  <a:gd name="T29" fmla="*/ 86 h 108"/>
                  <a:gd name="T30" fmla="*/ 0 w 90"/>
                  <a:gd name="T31" fmla="*/ 86 h 108"/>
                  <a:gd name="T32" fmla="*/ 0 w 90"/>
                  <a:gd name="T33" fmla="*/ 86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0" h="108">
                    <a:moveTo>
                      <a:pt x="0" y="86"/>
                    </a:moveTo>
                    <a:lnTo>
                      <a:pt x="20" y="86"/>
                    </a:lnTo>
                    <a:lnTo>
                      <a:pt x="20" y="108"/>
                    </a:lnTo>
                    <a:lnTo>
                      <a:pt x="35" y="108"/>
                    </a:lnTo>
                    <a:lnTo>
                      <a:pt x="47" y="79"/>
                    </a:lnTo>
                    <a:lnTo>
                      <a:pt x="57" y="79"/>
                    </a:lnTo>
                    <a:lnTo>
                      <a:pt x="77" y="99"/>
                    </a:lnTo>
                    <a:lnTo>
                      <a:pt x="90" y="79"/>
                    </a:lnTo>
                    <a:lnTo>
                      <a:pt x="77" y="79"/>
                    </a:lnTo>
                    <a:lnTo>
                      <a:pt x="35" y="22"/>
                    </a:lnTo>
                    <a:lnTo>
                      <a:pt x="25" y="0"/>
                    </a:lnTo>
                    <a:lnTo>
                      <a:pt x="20" y="22"/>
                    </a:lnTo>
                    <a:lnTo>
                      <a:pt x="5" y="32"/>
                    </a:lnTo>
                    <a:lnTo>
                      <a:pt x="20" y="79"/>
                    </a:lnTo>
                    <a:lnTo>
                      <a:pt x="0" y="86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10" name="Freeform 144"/>
              <p:cNvSpPr>
                <a:spLocks/>
              </p:cNvSpPr>
              <p:nvPr/>
            </p:nvSpPr>
            <p:spPr bwMode="auto">
              <a:xfrm>
                <a:off x="2493963" y="2605088"/>
                <a:ext cx="53975" cy="77787"/>
              </a:xfrm>
              <a:custGeom>
                <a:avLst/>
                <a:gdLst>
                  <a:gd name="T0" fmla="*/ 0 w 30"/>
                  <a:gd name="T1" fmla="*/ 28 h 45"/>
                  <a:gd name="T2" fmla="*/ 0 w 30"/>
                  <a:gd name="T3" fmla="*/ 45 h 45"/>
                  <a:gd name="T4" fmla="*/ 23 w 30"/>
                  <a:gd name="T5" fmla="*/ 37 h 45"/>
                  <a:gd name="T6" fmla="*/ 30 w 30"/>
                  <a:gd name="T7" fmla="*/ 28 h 45"/>
                  <a:gd name="T8" fmla="*/ 30 w 30"/>
                  <a:gd name="T9" fmla="*/ 0 h 45"/>
                  <a:gd name="T10" fmla="*/ 8 w 30"/>
                  <a:gd name="T11" fmla="*/ 0 h 45"/>
                  <a:gd name="T12" fmla="*/ 0 w 30"/>
                  <a:gd name="T13" fmla="*/ 28 h 45"/>
                  <a:gd name="T14" fmla="*/ 0 w 30"/>
                  <a:gd name="T15" fmla="*/ 28 h 45"/>
                  <a:gd name="T16" fmla="*/ 0 w 30"/>
                  <a:gd name="T17" fmla="*/ 28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0" h="45">
                    <a:moveTo>
                      <a:pt x="0" y="28"/>
                    </a:moveTo>
                    <a:lnTo>
                      <a:pt x="0" y="45"/>
                    </a:lnTo>
                    <a:lnTo>
                      <a:pt x="23" y="37"/>
                    </a:lnTo>
                    <a:lnTo>
                      <a:pt x="30" y="28"/>
                    </a:lnTo>
                    <a:lnTo>
                      <a:pt x="30" y="0"/>
                    </a:lnTo>
                    <a:lnTo>
                      <a:pt x="8" y="0"/>
                    </a:lnTo>
                    <a:lnTo>
                      <a:pt x="0" y="28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11" name="Freeform 145"/>
              <p:cNvSpPr>
                <a:spLocks/>
              </p:cNvSpPr>
              <p:nvPr/>
            </p:nvSpPr>
            <p:spPr bwMode="auto">
              <a:xfrm>
                <a:off x="2263775" y="2749550"/>
                <a:ext cx="158750" cy="188913"/>
              </a:xfrm>
              <a:custGeom>
                <a:avLst/>
                <a:gdLst>
                  <a:gd name="T0" fmla="*/ 0 w 90"/>
                  <a:gd name="T1" fmla="*/ 86 h 108"/>
                  <a:gd name="T2" fmla="*/ 20 w 90"/>
                  <a:gd name="T3" fmla="*/ 86 h 108"/>
                  <a:gd name="T4" fmla="*/ 20 w 90"/>
                  <a:gd name="T5" fmla="*/ 108 h 108"/>
                  <a:gd name="T6" fmla="*/ 35 w 90"/>
                  <a:gd name="T7" fmla="*/ 108 h 108"/>
                  <a:gd name="T8" fmla="*/ 47 w 90"/>
                  <a:gd name="T9" fmla="*/ 79 h 108"/>
                  <a:gd name="T10" fmla="*/ 57 w 90"/>
                  <a:gd name="T11" fmla="*/ 79 h 108"/>
                  <a:gd name="T12" fmla="*/ 77 w 90"/>
                  <a:gd name="T13" fmla="*/ 99 h 108"/>
                  <a:gd name="T14" fmla="*/ 90 w 90"/>
                  <a:gd name="T15" fmla="*/ 79 h 108"/>
                  <a:gd name="T16" fmla="*/ 77 w 90"/>
                  <a:gd name="T17" fmla="*/ 79 h 108"/>
                  <a:gd name="T18" fmla="*/ 35 w 90"/>
                  <a:gd name="T19" fmla="*/ 22 h 108"/>
                  <a:gd name="T20" fmla="*/ 25 w 90"/>
                  <a:gd name="T21" fmla="*/ 0 h 108"/>
                  <a:gd name="T22" fmla="*/ 20 w 90"/>
                  <a:gd name="T23" fmla="*/ 22 h 108"/>
                  <a:gd name="T24" fmla="*/ 5 w 90"/>
                  <a:gd name="T25" fmla="*/ 32 h 108"/>
                  <a:gd name="T26" fmla="*/ 20 w 90"/>
                  <a:gd name="T27" fmla="*/ 79 h 108"/>
                  <a:gd name="T28" fmla="*/ 0 w 90"/>
                  <a:gd name="T29" fmla="*/ 86 h 108"/>
                  <a:gd name="T30" fmla="*/ 0 w 90"/>
                  <a:gd name="T31" fmla="*/ 86 h 108"/>
                  <a:gd name="T32" fmla="*/ 0 w 90"/>
                  <a:gd name="T33" fmla="*/ 86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0" h="108">
                    <a:moveTo>
                      <a:pt x="0" y="86"/>
                    </a:moveTo>
                    <a:lnTo>
                      <a:pt x="20" y="86"/>
                    </a:lnTo>
                    <a:lnTo>
                      <a:pt x="20" y="108"/>
                    </a:lnTo>
                    <a:lnTo>
                      <a:pt x="35" y="108"/>
                    </a:lnTo>
                    <a:lnTo>
                      <a:pt x="47" y="79"/>
                    </a:lnTo>
                    <a:lnTo>
                      <a:pt x="57" y="79"/>
                    </a:lnTo>
                    <a:lnTo>
                      <a:pt x="77" y="99"/>
                    </a:lnTo>
                    <a:lnTo>
                      <a:pt x="90" y="79"/>
                    </a:lnTo>
                    <a:lnTo>
                      <a:pt x="77" y="79"/>
                    </a:lnTo>
                    <a:lnTo>
                      <a:pt x="35" y="22"/>
                    </a:lnTo>
                    <a:lnTo>
                      <a:pt x="25" y="0"/>
                    </a:lnTo>
                    <a:lnTo>
                      <a:pt x="20" y="22"/>
                    </a:lnTo>
                    <a:lnTo>
                      <a:pt x="5" y="32"/>
                    </a:lnTo>
                    <a:lnTo>
                      <a:pt x="20" y="79"/>
                    </a:lnTo>
                    <a:lnTo>
                      <a:pt x="0" y="86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12" name="Freeform 146"/>
              <p:cNvSpPr>
                <a:spLocks/>
              </p:cNvSpPr>
              <p:nvPr/>
            </p:nvSpPr>
            <p:spPr bwMode="auto">
              <a:xfrm>
                <a:off x="2538413" y="5473700"/>
                <a:ext cx="187325" cy="1154113"/>
              </a:xfrm>
              <a:custGeom>
                <a:avLst/>
                <a:gdLst>
                  <a:gd name="T0" fmla="*/ 85 w 107"/>
                  <a:gd name="T1" fmla="*/ 0 h 661"/>
                  <a:gd name="T2" fmla="*/ 99 w 107"/>
                  <a:gd name="T3" fmla="*/ 83 h 661"/>
                  <a:gd name="T4" fmla="*/ 107 w 107"/>
                  <a:gd name="T5" fmla="*/ 98 h 661"/>
                  <a:gd name="T6" fmla="*/ 99 w 107"/>
                  <a:gd name="T7" fmla="*/ 135 h 661"/>
                  <a:gd name="T8" fmla="*/ 72 w 107"/>
                  <a:gd name="T9" fmla="*/ 256 h 661"/>
                  <a:gd name="T10" fmla="*/ 63 w 107"/>
                  <a:gd name="T11" fmla="*/ 299 h 661"/>
                  <a:gd name="T12" fmla="*/ 57 w 107"/>
                  <a:gd name="T13" fmla="*/ 343 h 661"/>
                  <a:gd name="T14" fmla="*/ 52 w 107"/>
                  <a:gd name="T15" fmla="*/ 457 h 661"/>
                  <a:gd name="T16" fmla="*/ 52 w 107"/>
                  <a:gd name="T17" fmla="*/ 501 h 661"/>
                  <a:gd name="T18" fmla="*/ 42 w 107"/>
                  <a:gd name="T19" fmla="*/ 540 h 661"/>
                  <a:gd name="T20" fmla="*/ 28 w 107"/>
                  <a:gd name="T21" fmla="*/ 594 h 661"/>
                  <a:gd name="T22" fmla="*/ 42 w 107"/>
                  <a:gd name="T23" fmla="*/ 617 h 661"/>
                  <a:gd name="T24" fmla="*/ 94 w 107"/>
                  <a:gd name="T25" fmla="*/ 622 h 661"/>
                  <a:gd name="T26" fmla="*/ 85 w 107"/>
                  <a:gd name="T27" fmla="*/ 639 h 661"/>
                  <a:gd name="T28" fmla="*/ 63 w 107"/>
                  <a:gd name="T29" fmla="*/ 661 h 661"/>
                  <a:gd name="T30" fmla="*/ 52 w 107"/>
                  <a:gd name="T31" fmla="*/ 654 h 661"/>
                  <a:gd name="T32" fmla="*/ 57 w 107"/>
                  <a:gd name="T33" fmla="*/ 646 h 661"/>
                  <a:gd name="T34" fmla="*/ 28 w 107"/>
                  <a:gd name="T35" fmla="*/ 646 h 661"/>
                  <a:gd name="T36" fmla="*/ 20 w 107"/>
                  <a:gd name="T37" fmla="*/ 639 h 661"/>
                  <a:gd name="T38" fmla="*/ 11 w 107"/>
                  <a:gd name="T39" fmla="*/ 639 h 661"/>
                  <a:gd name="T40" fmla="*/ 6 w 107"/>
                  <a:gd name="T41" fmla="*/ 617 h 661"/>
                  <a:gd name="T42" fmla="*/ 11 w 107"/>
                  <a:gd name="T43" fmla="*/ 594 h 661"/>
                  <a:gd name="T44" fmla="*/ 6 w 107"/>
                  <a:gd name="T45" fmla="*/ 617 h 661"/>
                  <a:gd name="T46" fmla="*/ 11 w 107"/>
                  <a:gd name="T47" fmla="*/ 578 h 661"/>
                  <a:gd name="T48" fmla="*/ 0 w 107"/>
                  <a:gd name="T49" fmla="*/ 572 h 661"/>
                  <a:gd name="T50" fmla="*/ 6 w 107"/>
                  <a:gd name="T51" fmla="*/ 533 h 661"/>
                  <a:gd name="T52" fmla="*/ 11 w 107"/>
                  <a:gd name="T53" fmla="*/ 540 h 661"/>
                  <a:gd name="T54" fmla="*/ 6 w 107"/>
                  <a:gd name="T55" fmla="*/ 501 h 661"/>
                  <a:gd name="T56" fmla="*/ 6 w 107"/>
                  <a:gd name="T57" fmla="*/ 488 h 661"/>
                  <a:gd name="T58" fmla="*/ 11 w 107"/>
                  <a:gd name="T59" fmla="*/ 457 h 661"/>
                  <a:gd name="T60" fmla="*/ 20 w 107"/>
                  <a:gd name="T61" fmla="*/ 464 h 661"/>
                  <a:gd name="T62" fmla="*/ 42 w 107"/>
                  <a:gd name="T63" fmla="*/ 405 h 661"/>
                  <a:gd name="T64" fmla="*/ 20 w 107"/>
                  <a:gd name="T65" fmla="*/ 399 h 661"/>
                  <a:gd name="T66" fmla="*/ 28 w 107"/>
                  <a:gd name="T67" fmla="*/ 353 h 661"/>
                  <a:gd name="T68" fmla="*/ 28 w 107"/>
                  <a:gd name="T69" fmla="*/ 323 h 661"/>
                  <a:gd name="T70" fmla="*/ 52 w 107"/>
                  <a:gd name="T71" fmla="*/ 210 h 661"/>
                  <a:gd name="T72" fmla="*/ 63 w 107"/>
                  <a:gd name="T73" fmla="*/ 83 h 661"/>
                  <a:gd name="T74" fmla="*/ 63 w 107"/>
                  <a:gd name="T75" fmla="*/ 7 h 661"/>
                  <a:gd name="T76" fmla="*/ 63 w 107"/>
                  <a:gd name="T77" fmla="*/ 7 h 6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07" h="661">
                    <a:moveTo>
                      <a:pt x="63" y="7"/>
                    </a:moveTo>
                    <a:lnTo>
                      <a:pt x="85" y="0"/>
                    </a:lnTo>
                    <a:lnTo>
                      <a:pt x="94" y="22"/>
                    </a:lnTo>
                    <a:lnTo>
                      <a:pt x="99" y="83"/>
                    </a:lnTo>
                    <a:lnTo>
                      <a:pt x="107" y="83"/>
                    </a:lnTo>
                    <a:lnTo>
                      <a:pt x="107" y="98"/>
                    </a:lnTo>
                    <a:lnTo>
                      <a:pt x="94" y="103"/>
                    </a:lnTo>
                    <a:lnTo>
                      <a:pt x="99" y="135"/>
                    </a:lnTo>
                    <a:lnTo>
                      <a:pt x="63" y="217"/>
                    </a:lnTo>
                    <a:lnTo>
                      <a:pt x="72" y="256"/>
                    </a:lnTo>
                    <a:lnTo>
                      <a:pt x="63" y="286"/>
                    </a:lnTo>
                    <a:lnTo>
                      <a:pt x="63" y="299"/>
                    </a:lnTo>
                    <a:lnTo>
                      <a:pt x="57" y="308"/>
                    </a:lnTo>
                    <a:lnTo>
                      <a:pt x="57" y="343"/>
                    </a:lnTo>
                    <a:lnTo>
                      <a:pt x="52" y="368"/>
                    </a:lnTo>
                    <a:lnTo>
                      <a:pt x="52" y="457"/>
                    </a:lnTo>
                    <a:lnTo>
                      <a:pt x="57" y="457"/>
                    </a:lnTo>
                    <a:lnTo>
                      <a:pt x="52" y="501"/>
                    </a:lnTo>
                    <a:lnTo>
                      <a:pt x="42" y="526"/>
                    </a:lnTo>
                    <a:lnTo>
                      <a:pt x="42" y="540"/>
                    </a:lnTo>
                    <a:lnTo>
                      <a:pt x="28" y="572"/>
                    </a:lnTo>
                    <a:lnTo>
                      <a:pt x="28" y="594"/>
                    </a:lnTo>
                    <a:lnTo>
                      <a:pt x="42" y="585"/>
                    </a:lnTo>
                    <a:lnTo>
                      <a:pt x="42" y="617"/>
                    </a:lnTo>
                    <a:lnTo>
                      <a:pt x="52" y="622"/>
                    </a:lnTo>
                    <a:lnTo>
                      <a:pt x="94" y="622"/>
                    </a:lnTo>
                    <a:lnTo>
                      <a:pt x="94" y="639"/>
                    </a:lnTo>
                    <a:lnTo>
                      <a:pt x="85" y="639"/>
                    </a:lnTo>
                    <a:lnTo>
                      <a:pt x="63" y="646"/>
                    </a:lnTo>
                    <a:lnTo>
                      <a:pt x="63" y="661"/>
                    </a:lnTo>
                    <a:lnTo>
                      <a:pt x="57" y="661"/>
                    </a:lnTo>
                    <a:lnTo>
                      <a:pt x="52" y="654"/>
                    </a:lnTo>
                    <a:lnTo>
                      <a:pt x="57" y="654"/>
                    </a:lnTo>
                    <a:lnTo>
                      <a:pt x="57" y="646"/>
                    </a:lnTo>
                    <a:lnTo>
                      <a:pt x="42" y="654"/>
                    </a:lnTo>
                    <a:lnTo>
                      <a:pt x="28" y="646"/>
                    </a:lnTo>
                    <a:lnTo>
                      <a:pt x="28" y="639"/>
                    </a:lnTo>
                    <a:lnTo>
                      <a:pt x="20" y="639"/>
                    </a:lnTo>
                    <a:lnTo>
                      <a:pt x="11" y="622"/>
                    </a:lnTo>
                    <a:lnTo>
                      <a:pt x="11" y="639"/>
                    </a:lnTo>
                    <a:lnTo>
                      <a:pt x="6" y="622"/>
                    </a:lnTo>
                    <a:lnTo>
                      <a:pt x="6" y="617"/>
                    </a:lnTo>
                    <a:lnTo>
                      <a:pt x="11" y="610"/>
                    </a:lnTo>
                    <a:lnTo>
                      <a:pt x="11" y="594"/>
                    </a:lnTo>
                    <a:lnTo>
                      <a:pt x="11" y="610"/>
                    </a:lnTo>
                    <a:lnTo>
                      <a:pt x="6" y="617"/>
                    </a:lnTo>
                    <a:lnTo>
                      <a:pt x="11" y="610"/>
                    </a:lnTo>
                    <a:lnTo>
                      <a:pt x="11" y="578"/>
                    </a:lnTo>
                    <a:lnTo>
                      <a:pt x="6" y="578"/>
                    </a:lnTo>
                    <a:lnTo>
                      <a:pt x="0" y="572"/>
                    </a:lnTo>
                    <a:lnTo>
                      <a:pt x="0" y="563"/>
                    </a:lnTo>
                    <a:lnTo>
                      <a:pt x="6" y="533"/>
                    </a:lnTo>
                    <a:lnTo>
                      <a:pt x="6" y="526"/>
                    </a:lnTo>
                    <a:lnTo>
                      <a:pt x="11" y="540"/>
                    </a:lnTo>
                    <a:lnTo>
                      <a:pt x="20" y="518"/>
                    </a:lnTo>
                    <a:lnTo>
                      <a:pt x="6" y="501"/>
                    </a:lnTo>
                    <a:lnTo>
                      <a:pt x="0" y="501"/>
                    </a:lnTo>
                    <a:lnTo>
                      <a:pt x="6" y="488"/>
                    </a:lnTo>
                    <a:lnTo>
                      <a:pt x="11" y="488"/>
                    </a:lnTo>
                    <a:lnTo>
                      <a:pt x="11" y="457"/>
                    </a:lnTo>
                    <a:lnTo>
                      <a:pt x="20" y="451"/>
                    </a:lnTo>
                    <a:lnTo>
                      <a:pt x="20" y="464"/>
                    </a:lnTo>
                    <a:lnTo>
                      <a:pt x="42" y="412"/>
                    </a:lnTo>
                    <a:lnTo>
                      <a:pt x="42" y="405"/>
                    </a:lnTo>
                    <a:lnTo>
                      <a:pt x="28" y="405"/>
                    </a:lnTo>
                    <a:lnTo>
                      <a:pt x="20" y="399"/>
                    </a:lnTo>
                    <a:lnTo>
                      <a:pt x="20" y="368"/>
                    </a:lnTo>
                    <a:lnTo>
                      <a:pt x="28" y="353"/>
                    </a:lnTo>
                    <a:lnTo>
                      <a:pt x="20" y="331"/>
                    </a:lnTo>
                    <a:lnTo>
                      <a:pt x="28" y="323"/>
                    </a:lnTo>
                    <a:lnTo>
                      <a:pt x="57" y="232"/>
                    </a:lnTo>
                    <a:lnTo>
                      <a:pt x="52" y="210"/>
                    </a:lnTo>
                    <a:lnTo>
                      <a:pt x="57" y="195"/>
                    </a:lnTo>
                    <a:lnTo>
                      <a:pt x="63" y="83"/>
                    </a:lnTo>
                    <a:lnTo>
                      <a:pt x="72" y="52"/>
                    </a:lnTo>
                    <a:lnTo>
                      <a:pt x="63" y="7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13" name="Freeform 147"/>
              <p:cNvSpPr>
                <a:spLocks/>
              </p:cNvSpPr>
              <p:nvPr/>
            </p:nvSpPr>
            <p:spPr bwMode="auto">
              <a:xfrm>
                <a:off x="2573338" y="6589713"/>
                <a:ext cx="122237" cy="117475"/>
              </a:xfrm>
              <a:custGeom>
                <a:avLst/>
                <a:gdLst>
                  <a:gd name="T0" fmla="*/ 70 w 70"/>
                  <a:gd name="T1" fmla="*/ 52 h 67"/>
                  <a:gd name="T2" fmla="*/ 70 w 70"/>
                  <a:gd name="T3" fmla="*/ 0 h 67"/>
                  <a:gd name="T4" fmla="*/ 50 w 70"/>
                  <a:gd name="T5" fmla="*/ 8 h 67"/>
                  <a:gd name="T6" fmla="*/ 50 w 70"/>
                  <a:gd name="T7" fmla="*/ 22 h 67"/>
                  <a:gd name="T8" fmla="*/ 42 w 70"/>
                  <a:gd name="T9" fmla="*/ 30 h 67"/>
                  <a:gd name="T10" fmla="*/ 35 w 70"/>
                  <a:gd name="T11" fmla="*/ 30 h 67"/>
                  <a:gd name="T12" fmla="*/ 7 w 70"/>
                  <a:gd name="T13" fmla="*/ 15 h 67"/>
                  <a:gd name="T14" fmla="*/ 0 w 70"/>
                  <a:gd name="T15" fmla="*/ 22 h 67"/>
                  <a:gd name="T16" fmla="*/ 7 w 70"/>
                  <a:gd name="T17" fmla="*/ 30 h 67"/>
                  <a:gd name="T18" fmla="*/ 20 w 70"/>
                  <a:gd name="T19" fmla="*/ 30 h 67"/>
                  <a:gd name="T20" fmla="*/ 20 w 70"/>
                  <a:gd name="T21" fmla="*/ 45 h 67"/>
                  <a:gd name="T22" fmla="*/ 30 w 70"/>
                  <a:gd name="T23" fmla="*/ 45 h 67"/>
                  <a:gd name="T24" fmla="*/ 30 w 70"/>
                  <a:gd name="T25" fmla="*/ 52 h 67"/>
                  <a:gd name="T26" fmla="*/ 42 w 70"/>
                  <a:gd name="T27" fmla="*/ 60 h 67"/>
                  <a:gd name="T28" fmla="*/ 50 w 70"/>
                  <a:gd name="T29" fmla="*/ 60 h 67"/>
                  <a:gd name="T30" fmla="*/ 62 w 70"/>
                  <a:gd name="T31" fmla="*/ 67 h 67"/>
                  <a:gd name="T32" fmla="*/ 70 w 70"/>
                  <a:gd name="T33" fmla="*/ 52 h 67"/>
                  <a:gd name="T34" fmla="*/ 70 w 70"/>
                  <a:gd name="T35" fmla="*/ 52 h 67"/>
                  <a:gd name="T36" fmla="*/ 70 w 70"/>
                  <a:gd name="T37" fmla="*/ 52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0" h="67">
                    <a:moveTo>
                      <a:pt x="70" y="52"/>
                    </a:moveTo>
                    <a:lnTo>
                      <a:pt x="70" y="0"/>
                    </a:lnTo>
                    <a:lnTo>
                      <a:pt x="50" y="8"/>
                    </a:lnTo>
                    <a:lnTo>
                      <a:pt x="50" y="22"/>
                    </a:lnTo>
                    <a:lnTo>
                      <a:pt x="42" y="30"/>
                    </a:lnTo>
                    <a:lnTo>
                      <a:pt x="35" y="30"/>
                    </a:lnTo>
                    <a:lnTo>
                      <a:pt x="7" y="15"/>
                    </a:lnTo>
                    <a:lnTo>
                      <a:pt x="0" y="22"/>
                    </a:lnTo>
                    <a:lnTo>
                      <a:pt x="7" y="30"/>
                    </a:lnTo>
                    <a:lnTo>
                      <a:pt x="20" y="30"/>
                    </a:lnTo>
                    <a:lnTo>
                      <a:pt x="20" y="45"/>
                    </a:lnTo>
                    <a:lnTo>
                      <a:pt x="30" y="45"/>
                    </a:lnTo>
                    <a:lnTo>
                      <a:pt x="30" y="52"/>
                    </a:lnTo>
                    <a:lnTo>
                      <a:pt x="42" y="60"/>
                    </a:lnTo>
                    <a:lnTo>
                      <a:pt x="50" y="60"/>
                    </a:lnTo>
                    <a:lnTo>
                      <a:pt x="62" y="67"/>
                    </a:lnTo>
                    <a:lnTo>
                      <a:pt x="70" y="52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14" name="Freeform 148"/>
              <p:cNvSpPr>
                <a:spLocks/>
              </p:cNvSpPr>
              <p:nvPr/>
            </p:nvSpPr>
            <p:spPr bwMode="auto">
              <a:xfrm>
                <a:off x="2695575" y="6589713"/>
                <a:ext cx="88900" cy="125412"/>
              </a:xfrm>
              <a:custGeom>
                <a:avLst/>
                <a:gdLst>
                  <a:gd name="T0" fmla="*/ 0 w 50"/>
                  <a:gd name="T1" fmla="*/ 52 h 72"/>
                  <a:gd name="T2" fmla="*/ 0 w 50"/>
                  <a:gd name="T3" fmla="*/ 0 h 72"/>
                  <a:gd name="T4" fmla="*/ 9 w 50"/>
                  <a:gd name="T5" fmla="*/ 22 h 72"/>
                  <a:gd name="T6" fmla="*/ 35 w 50"/>
                  <a:gd name="T7" fmla="*/ 45 h 72"/>
                  <a:gd name="T8" fmla="*/ 50 w 50"/>
                  <a:gd name="T9" fmla="*/ 52 h 72"/>
                  <a:gd name="T10" fmla="*/ 44 w 50"/>
                  <a:gd name="T11" fmla="*/ 59 h 72"/>
                  <a:gd name="T12" fmla="*/ 14 w 50"/>
                  <a:gd name="T13" fmla="*/ 67 h 72"/>
                  <a:gd name="T14" fmla="*/ 9 w 50"/>
                  <a:gd name="T15" fmla="*/ 72 h 72"/>
                  <a:gd name="T16" fmla="*/ 0 w 50"/>
                  <a:gd name="T17" fmla="*/ 52 h 72"/>
                  <a:gd name="T18" fmla="*/ 0 w 50"/>
                  <a:gd name="T19" fmla="*/ 52 h 72"/>
                  <a:gd name="T20" fmla="*/ 0 w 50"/>
                  <a:gd name="T21" fmla="*/ 5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0" h="72">
                    <a:moveTo>
                      <a:pt x="0" y="52"/>
                    </a:moveTo>
                    <a:lnTo>
                      <a:pt x="0" y="0"/>
                    </a:lnTo>
                    <a:lnTo>
                      <a:pt x="9" y="22"/>
                    </a:lnTo>
                    <a:lnTo>
                      <a:pt x="35" y="45"/>
                    </a:lnTo>
                    <a:lnTo>
                      <a:pt x="50" y="52"/>
                    </a:lnTo>
                    <a:lnTo>
                      <a:pt x="44" y="59"/>
                    </a:lnTo>
                    <a:lnTo>
                      <a:pt x="14" y="67"/>
                    </a:lnTo>
                    <a:lnTo>
                      <a:pt x="9" y="72"/>
                    </a:lnTo>
                    <a:lnTo>
                      <a:pt x="0" y="52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15" name="Freeform 149"/>
              <p:cNvSpPr>
                <a:spLocks/>
              </p:cNvSpPr>
              <p:nvPr/>
            </p:nvSpPr>
            <p:spPr bwMode="auto">
              <a:xfrm>
                <a:off x="2590800" y="5572125"/>
                <a:ext cx="471488" cy="987425"/>
              </a:xfrm>
              <a:custGeom>
                <a:avLst/>
                <a:gdLst>
                  <a:gd name="T0" fmla="*/ 211 w 268"/>
                  <a:gd name="T1" fmla="*/ 143 h 565"/>
                  <a:gd name="T2" fmla="*/ 268 w 268"/>
                  <a:gd name="T3" fmla="*/ 81 h 565"/>
                  <a:gd name="T4" fmla="*/ 246 w 268"/>
                  <a:gd name="T5" fmla="*/ 61 h 565"/>
                  <a:gd name="T6" fmla="*/ 233 w 268"/>
                  <a:gd name="T7" fmla="*/ 81 h 565"/>
                  <a:gd name="T8" fmla="*/ 196 w 268"/>
                  <a:gd name="T9" fmla="*/ 81 h 565"/>
                  <a:gd name="T10" fmla="*/ 204 w 268"/>
                  <a:gd name="T11" fmla="*/ 61 h 565"/>
                  <a:gd name="T12" fmla="*/ 161 w 268"/>
                  <a:gd name="T13" fmla="*/ 39 h 565"/>
                  <a:gd name="T14" fmla="*/ 126 w 268"/>
                  <a:gd name="T15" fmla="*/ 0 h 565"/>
                  <a:gd name="T16" fmla="*/ 99 w 268"/>
                  <a:gd name="T17" fmla="*/ 0 h 565"/>
                  <a:gd name="T18" fmla="*/ 77 w 268"/>
                  <a:gd name="T19" fmla="*/ 39 h 565"/>
                  <a:gd name="T20" fmla="*/ 70 w 268"/>
                  <a:gd name="T21" fmla="*/ 74 h 565"/>
                  <a:gd name="T22" fmla="*/ 43 w 268"/>
                  <a:gd name="T23" fmla="*/ 197 h 565"/>
                  <a:gd name="T24" fmla="*/ 33 w 268"/>
                  <a:gd name="T25" fmla="*/ 241 h 565"/>
                  <a:gd name="T26" fmla="*/ 22 w 268"/>
                  <a:gd name="T27" fmla="*/ 400 h 565"/>
                  <a:gd name="T28" fmla="*/ 22 w 268"/>
                  <a:gd name="T29" fmla="*/ 444 h 565"/>
                  <a:gd name="T30" fmla="*/ 12 w 268"/>
                  <a:gd name="T31" fmla="*/ 484 h 565"/>
                  <a:gd name="T32" fmla="*/ 0 w 268"/>
                  <a:gd name="T33" fmla="*/ 537 h 565"/>
                  <a:gd name="T34" fmla="*/ 12 w 268"/>
                  <a:gd name="T35" fmla="*/ 560 h 565"/>
                  <a:gd name="T36" fmla="*/ 62 w 268"/>
                  <a:gd name="T37" fmla="*/ 565 h 565"/>
                  <a:gd name="T38" fmla="*/ 70 w 268"/>
                  <a:gd name="T39" fmla="*/ 521 h 565"/>
                  <a:gd name="T40" fmla="*/ 105 w 268"/>
                  <a:gd name="T41" fmla="*/ 476 h 565"/>
                  <a:gd name="T42" fmla="*/ 99 w 268"/>
                  <a:gd name="T43" fmla="*/ 463 h 565"/>
                  <a:gd name="T44" fmla="*/ 77 w 268"/>
                  <a:gd name="T45" fmla="*/ 431 h 565"/>
                  <a:gd name="T46" fmla="*/ 105 w 268"/>
                  <a:gd name="T47" fmla="*/ 407 h 565"/>
                  <a:gd name="T48" fmla="*/ 114 w 268"/>
                  <a:gd name="T49" fmla="*/ 400 h 565"/>
                  <a:gd name="T50" fmla="*/ 121 w 268"/>
                  <a:gd name="T51" fmla="*/ 370 h 565"/>
                  <a:gd name="T52" fmla="*/ 126 w 268"/>
                  <a:gd name="T53" fmla="*/ 362 h 565"/>
                  <a:gd name="T54" fmla="*/ 114 w 268"/>
                  <a:gd name="T55" fmla="*/ 355 h 565"/>
                  <a:gd name="T56" fmla="*/ 126 w 268"/>
                  <a:gd name="T57" fmla="*/ 340 h 565"/>
                  <a:gd name="T58" fmla="*/ 156 w 268"/>
                  <a:gd name="T59" fmla="*/ 295 h 565"/>
                  <a:gd name="T60" fmla="*/ 211 w 268"/>
                  <a:gd name="T61" fmla="*/ 281 h 565"/>
                  <a:gd name="T62" fmla="*/ 224 w 268"/>
                  <a:gd name="T63" fmla="*/ 241 h 565"/>
                  <a:gd name="T64" fmla="*/ 211 w 268"/>
                  <a:gd name="T65" fmla="*/ 227 h 565"/>
                  <a:gd name="T66" fmla="*/ 196 w 268"/>
                  <a:gd name="T67" fmla="*/ 204 h 565"/>
                  <a:gd name="T68" fmla="*/ 196 w 268"/>
                  <a:gd name="T69" fmla="*/ 204 h 5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68" h="565">
                    <a:moveTo>
                      <a:pt x="196" y="204"/>
                    </a:moveTo>
                    <a:lnTo>
                      <a:pt x="211" y="143"/>
                    </a:lnTo>
                    <a:lnTo>
                      <a:pt x="246" y="96"/>
                    </a:lnTo>
                    <a:lnTo>
                      <a:pt x="268" y="81"/>
                    </a:lnTo>
                    <a:lnTo>
                      <a:pt x="255" y="61"/>
                    </a:lnTo>
                    <a:lnTo>
                      <a:pt x="246" y="61"/>
                    </a:lnTo>
                    <a:lnTo>
                      <a:pt x="246" y="74"/>
                    </a:lnTo>
                    <a:lnTo>
                      <a:pt x="233" y="81"/>
                    </a:lnTo>
                    <a:lnTo>
                      <a:pt x="224" y="96"/>
                    </a:lnTo>
                    <a:lnTo>
                      <a:pt x="196" y="81"/>
                    </a:lnTo>
                    <a:lnTo>
                      <a:pt x="204" y="69"/>
                    </a:lnTo>
                    <a:lnTo>
                      <a:pt x="204" y="61"/>
                    </a:lnTo>
                    <a:lnTo>
                      <a:pt x="191" y="39"/>
                    </a:lnTo>
                    <a:lnTo>
                      <a:pt x="161" y="39"/>
                    </a:lnTo>
                    <a:lnTo>
                      <a:pt x="147" y="16"/>
                    </a:lnTo>
                    <a:lnTo>
                      <a:pt x="126" y="0"/>
                    </a:lnTo>
                    <a:lnTo>
                      <a:pt x="121" y="16"/>
                    </a:lnTo>
                    <a:lnTo>
                      <a:pt x="99" y="0"/>
                    </a:lnTo>
                    <a:lnTo>
                      <a:pt x="77" y="24"/>
                    </a:lnTo>
                    <a:lnTo>
                      <a:pt x="77" y="39"/>
                    </a:lnTo>
                    <a:lnTo>
                      <a:pt x="62" y="42"/>
                    </a:lnTo>
                    <a:lnTo>
                      <a:pt x="70" y="74"/>
                    </a:lnTo>
                    <a:lnTo>
                      <a:pt x="33" y="158"/>
                    </a:lnTo>
                    <a:lnTo>
                      <a:pt x="43" y="197"/>
                    </a:lnTo>
                    <a:lnTo>
                      <a:pt x="33" y="227"/>
                    </a:lnTo>
                    <a:lnTo>
                      <a:pt x="33" y="241"/>
                    </a:lnTo>
                    <a:lnTo>
                      <a:pt x="27" y="249"/>
                    </a:lnTo>
                    <a:lnTo>
                      <a:pt x="22" y="400"/>
                    </a:lnTo>
                    <a:lnTo>
                      <a:pt x="27" y="400"/>
                    </a:lnTo>
                    <a:lnTo>
                      <a:pt x="22" y="444"/>
                    </a:lnTo>
                    <a:lnTo>
                      <a:pt x="12" y="469"/>
                    </a:lnTo>
                    <a:lnTo>
                      <a:pt x="12" y="484"/>
                    </a:lnTo>
                    <a:lnTo>
                      <a:pt x="0" y="515"/>
                    </a:lnTo>
                    <a:lnTo>
                      <a:pt x="0" y="537"/>
                    </a:lnTo>
                    <a:lnTo>
                      <a:pt x="12" y="530"/>
                    </a:lnTo>
                    <a:lnTo>
                      <a:pt x="12" y="560"/>
                    </a:lnTo>
                    <a:lnTo>
                      <a:pt x="22" y="565"/>
                    </a:lnTo>
                    <a:lnTo>
                      <a:pt x="62" y="565"/>
                    </a:lnTo>
                    <a:lnTo>
                      <a:pt x="55" y="537"/>
                    </a:lnTo>
                    <a:lnTo>
                      <a:pt x="70" y="521"/>
                    </a:lnTo>
                    <a:lnTo>
                      <a:pt x="77" y="491"/>
                    </a:lnTo>
                    <a:lnTo>
                      <a:pt x="105" y="476"/>
                    </a:lnTo>
                    <a:lnTo>
                      <a:pt x="105" y="463"/>
                    </a:lnTo>
                    <a:lnTo>
                      <a:pt x="99" y="463"/>
                    </a:lnTo>
                    <a:lnTo>
                      <a:pt x="77" y="439"/>
                    </a:lnTo>
                    <a:lnTo>
                      <a:pt x="77" y="431"/>
                    </a:lnTo>
                    <a:lnTo>
                      <a:pt x="85" y="416"/>
                    </a:lnTo>
                    <a:lnTo>
                      <a:pt x="105" y="407"/>
                    </a:lnTo>
                    <a:lnTo>
                      <a:pt x="105" y="400"/>
                    </a:lnTo>
                    <a:lnTo>
                      <a:pt x="114" y="400"/>
                    </a:lnTo>
                    <a:lnTo>
                      <a:pt x="114" y="387"/>
                    </a:lnTo>
                    <a:lnTo>
                      <a:pt x="121" y="370"/>
                    </a:lnTo>
                    <a:lnTo>
                      <a:pt x="121" y="362"/>
                    </a:lnTo>
                    <a:lnTo>
                      <a:pt x="126" y="362"/>
                    </a:lnTo>
                    <a:lnTo>
                      <a:pt x="126" y="355"/>
                    </a:lnTo>
                    <a:lnTo>
                      <a:pt x="114" y="355"/>
                    </a:lnTo>
                    <a:lnTo>
                      <a:pt x="114" y="325"/>
                    </a:lnTo>
                    <a:lnTo>
                      <a:pt x="126" y="340"/>
                    </a:lnTo>
                    <a:lnTo>
                      <a:pt x="147" y="325"/>
                    </a:lnTo>
                    <a:lnTo>
                      <a:pt x="156" y="295"/>
                    </a:lnTo>
                    <a:lnTo>
                      <a:pt x="147" y="286"/>
                    </a:lnTo>
                    <a:lnTo>
                      <a:pt x="211" y="281"/>
                    </a:lnTo>
                    <a:lnTo>
                      <a:pt x="224" y="249"/>
                    </a:lnTo>
                    <a:lnTo>
                      <a:pt x="224" y="241"/>
                    </a:lnTo>
                    <a:lnTo>
                      <a:pt x="211" y="234"/>
                    </a:lnTo>
                    <a:lnTo>
                      <a:pt x="211" y="227"/>
                    </a:lnTo>
                    <a:lnTo>
                      <a:pt x="196" y="219"/>
                    </a:lnTo>
                    <a:lnTo>
                      <a:pt x="196" y="204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16" name="Freeform 150"/>
              <p:cNvSpPr>
                <a:spLocks/>
              </p:cNvSpPr>
              <p:nvPr/>
            </p:nvSpPr>
            <p:spPr bwMode="auto">
              <a:xfrm>
                <a:off x="2222500" y="4540250"/>
                <a:ext cx="41275" cy="50800"/>
              </a:xfrm>
              <a:custGeom>
                <a:avLst/>
                <a:gdLst>
                  <a:gd name="T0" fmla="*/ 0 w 24"/>
                  <a:gd name="T1" fmla="*/ 29 h 29"/>
                  <a:gd name="T2" fmla="*/ 24 w 24"/>
                  <a:gd name="T3" fmla="*/ 29 h 29"/>
                  <a:gd name="T4" fmla="*/ 24 w 24"/>
                  <a:gd name="T5" fmla="*/ 0 h 29"/>
                  <a:gd name="T6" fmla="*/ 0 w 24"/>
                  <a:gd name="T7" fmla="*/ 5 h 29"/>
                  <a:gd name="T8" fmla="*/ 0 w 24"/>
                  <a:gd name="T9" fmla="*/ 29 h 29"/>
                  <a:gd name="T10" fmla="*/ 0 w 24"/>
                  <a:gd name="T11" fmla="*/ 29 h 29"/>
                  <a:gd name="T12" fmla="*/ 0 w 24"/>
                  <a:gd name="T13" fmla="*/ 2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29">
                    <a:moveTo>
                      <a:pt x="0" y="29"/>
                    </a:moveTo>
                    <a:lnTo>
                      <a:pt x="24" y="29"/>
                    </a:lnTo>
                    <a:lnTo>
                      <a:pt x="24" y="0"/>
                    </a:lnTo>
                    <a:lnTo>
                      <a:pt x="0" y="5"/>
                    </a:lnTo>
                    <a:lnTo>
                      <a:pt x="0" y="29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17" name="Freeform 151"/>
              <p:cNvSpPr>
                <a:spLocks/>
              </p:cNvSpPr>
              <p:nvPr/>
            </p:nvSpPr>
            <p:spPr bwMode="auto">
              <a:xfrm>
                <a:off x="2146300" y="4545013"/>
                <a:ext cx="90488" cy="114300"/>
              </a:xfrm>
              <a:custGeom>
                <a:avLst/>
                <a:gdLst>
                  <a:gd name="T0" fmla="*/ 43 w 52"/>
                  <a:gd name="T1" fmla="*/ 25 h 66"/>
                  <a:gd name="T2" fmla="*/ 52 w 52"/>
                  <a:gd name="T3" fmla="*/ 39 h 66"/>
                  <a:gd name="T4" fmla="*/ 27 w 52"/>
                  <a:gd name="T5" fmla="*/ 56 h 66"/>
                  <a:gd name="T6" fmla="*/ 22 w 52"/>
                  <a:gd name="T7" fmla="*/ 66 h 66"/>
                  <a:gd name="T8" fmla="*/ 0 w 52"/>
                  <a:gd name="T9" fmla="*/ 56 h 66"/>
                  <a:gd name="T10" fmla="*/ 7 w 52"/>
                  <a:gd name="T11" fmla="*/ 25 h 66"/>
                  <a:gd name="T12" fmla="*/ 22 w 52"/>
                  <a:gd name="T13" fmla="*/ 25 h 66"/>
                  <a:gd name="T14" fmla="*/ 7 w 52"/>
                  <a:gd name="T15" fmla="*/ 10 h 66"/>
                  <a:gd name="T16" fmla="*/ 13 w 52"/>
                  <a:gd name="T17" fmla="*/ 0 h 66"/>
                  <a:gd name="T18" fmla="*/ 43 w 52"/>
                  <a:gd name="T19" fmla="*/ 0 h 66"/>
                  <a:gd name="T20" fmla="*/ 43 w 52"/>
                  <a:gd name="T21" fmla="*/ 25 h 66"/>
                  <a:gd name="T22" fmla="*/ 43 w 52"/>
                  <a:gd name="T23" fmla="*/ 25 h 66"/>
                  <a:gd name="T24" fmla="*/ 43 w 52"/>
                  <a:gd name="T25" fmla="*/ 25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2" h="66">
                    <a:moveTo>
                      <a:pt x="43" y="25"/>
                    </a:moveTo>
                    <a:lnTo>
                      <a:pt x="52" y="39"/>
                    </a:lnTo>
                    <a:lnTo>
                      <a:pt x="27" y="56"/>
                    </a:lnTo>
                    <a:lnTo>
                      <a:pt x="22" y="66"/>
                    </a:lnTo>
                    <a:lnTo>
                      <a:pt x="0" y="56"/>
                    </a:lnTo>
                    <a:lnTo>
                      <a:pt x="7" y="25"/>
                    </a:lnTo>
                    <a:lnTo>
                      <a:pt x="22" y="25"/>
                    </a:lnTo>
                    <a:lnTo>
                      <a:pt x="7" y="10"/>
                    </a:lnTo>
                    <a:lnTo>
                      <a:pt x="13" y="0"/>
                    </a:lnTo>
                    <a:lnTo>
                      <a:pt x="43" y="0"/>
                    </a:lnTo>
                    <a:lnTo>
                      <a:pt x="43" y="25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18" name="Freeform 152"/>
              <p:cNvSpPr>
                <a:spLocks/>
              </p:cNvSpPr>
              <p:nvPr/>
            </p:nvSpPr>
            <p:spPr bwMode="auto">
              <a:xfrm>
                <a:off x="2195513" y="4608513"/>
                <a:ext cx="147637" cy="58737"/>
              </a:xfrm>
              <a:custGeom>
                <a:avLst/>
                <a:gdLst>
                  <a:gd name="T0" fmla="*/ 22 w 84"/>
                  <a:gd name="T1" fmla="*/ 0 h 34"/>
                  <a:gd name="T2" fmla="*/ 64 w 84"/>
                  <a:gd name="T3" fmla="*/ 0 h 34"/>
                  <a:gd name="T4" fmla="*/ 84 w 84"/>
                  <a:gd name="T5" fmla="*/ 8 h 34"/>
                  <a:gd name="T6" fmla="*/ 39 w 84"/>
                  <a:gd name="T7" fmla="*/ 34 h 34"/>
                  <a:gd name="T8" fmla="*/ 31 w 84"/>
                  <a:gd name="T9" fmla="*/ 34 h 34"/>
                  <a:gd name="T10" fmla="*/ 31 w 84"/>
                  <a:gd name="T11" fmla="*/ 29 h 34"/>
                  <a:gd name="T12" fmla="*/ 0 w 84"/>
                  <a:gd name="T13" fmla="*/ 17 h 34"/>
                  <a:gd name="T14" fmla="*/ 22 w 84"/>
                  <a:gd name="T15" fmla="*/ 0 h 34"/>
                  <a:gd name="T16" fmla="*/ 22 w 84"/>
                  <a:gd name="T17" fmla="*/ 0 h 34"/>
                  <a:gd name="T18" fmla="*/ 22 w 84"/>
                  <a:gd name="T19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4" h="34">
                    <a:moveTo>
                      <a:pt x="22" y="0"/>
                    </a:moveTo>
                    <a:lnTo>
                      <a:pt x="64" y="0"/>
                    </a:lnTo>
                    <a:lnTo>
                      <a:pt x="84" y="8"/>
                    </a:lnTo>
                    <a:lnTo>
                      <a:pt x="39" y="34"/>
                    </a:lnTo>
                    <a:lnTo>
                      <a:pt x="31" y="34"/>
                    </a:lnTo>
                    <a:lnTo>
                      <a:pt x="31" y="29"/>
                    </a:lnTo>
                    <a:lnTo>
                      <a:pt x="0" y="17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19" name="Freeform 153"/>
              <p:cNvSpPr>
                <a:spLocks/>
              </p:cNvSpPr>
              <p:nvPr/>
            </p:nvSpPr>
            <p:spPr bwMode="auto">
              <a:xfrm>
                <a:off x="2185988" y="4638675"/>
                <a:ext cx="63500" cy="46038"/>
              </a:xfrm>
              <a:custGeom>
                <a:avLst/>
                <a:gdLst>
                  <a:gd name="T0" fmla="*/ 8 w 37"/>
                  <a:gd name="T1" fmla="*/ 0 h 27"/>
                  <a:gd name="T2" fmla="*/ 0 w 37"/>
                  <a:gd name="T3" fmla="*/ 15 h 27"/>
                  <a:gd name="T4" fmla="*/ 8 w 37"/>
                  <a:gd name="T5" fmla="*/ 27 h 27"/>
                  <a:gd name="T6" fmla="*/ 37 w 37"/>
                  <a:gd name="T7" fmla="*/ 27 h 27"/>
                  <a:gd name="T8" fmla="*/ 37 w 37"/>
                  <a:gd name="T9" fmla="*/ 15 h 27"/>
                  <a:gd name="T10" fmla="*/ 8 w 37"/>
                  <a:gd name="T11" fmla="*/ 0 h 27"/>
                  <a:gd name="T12" fmla="*/ 8 w 37"/>
                  <a:gd name="T13" fmla="*/ 0 h 27"/>
                  <a:gd name="T14" fmla="*/ 8 w 37"/>
                  <a:gd name="T1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7" h="27">
                    <a:moveTo>
                      <a:pt x="8" y="0"/>
                    </a:moveTo>
                    <a:lnTo>
                      <a:pt x="0" y="15"/>
                    </a:lnTo>
                    <a:lnTo>
                      <a:pt x="8" y="27"/>
                    </a:lnTo>
                    <a:lnTo>
                      <a:pt x="37" y="27"/>
                    </a:lnTo>
                    <a:lnTo>
                      <a:pt x="37" y="15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20" name="Freeform 154"/>
              <p:cNvSpPr>
                <a:spLocks/>
              </p:cNvSpPr>
              <p:nvPr/>
            </p:nvSpPr>
            <p:spPr bwMode="auto">
              <a:xfrm>
                <a:off x="2263775" y="4629150"/>
                <a:ext cx="79375" cy="117475"/>
              </a:xfrm>
              <a:custGeom>
                <a:avLst/>
                <a:gdLst>
                  <a:gd name="T0" fmla="*/ 45 w 45"/>
                  <a:gd name="T1" fmla="*/ 0 h 67"/>
                  <a:gd name="T2" fmla="*/ 38 w 45"/>
                  <a:gd name="T3" fmla="*/ 54 h 67"/>
                  <a:gd name="T4" fmla="*/ 45 w 45"/>
                  <a:gd name="T5" fmla="*/ 67 h 67"/>
                  <a:gd name="T6" fmla="*/ 38 w 45"/>
                  <a:gd name="T7" fmla="*/ 67 h 67"/>
                  <a:gd name="T8" fmla="*/ 0 w 45"/>
                  <a:gd name="T9" fmla="*/ 40 h 67"/>
                  <a:gd name="T10" fmla="*/ 0 w 45"/>
                  <a:gd name="T11" fmla="*/ 23 h 67"/>
                  <a:gd name="T12" fmla="*/ 45 w 45"/>
                  <a:gd name="T13" fmla="*/ 0 h 67"/>
                  <a:gd name="T14" fmla="*/ 45 w 45"/>
                  <a:gd name="T15" fmla="*/ 0 h 67"/>
                  <a:gd name="T16" fmla="*/ 45 w 45"/>
                  <a:gd name="T17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" h="67">
                    <a:moveTo>
                      <a:pt x="45" y="0"/>
                    </a:moveTo>
                    <a:lnTo>
                      <a:pt x="38" y="54"/>
                    </a:lnTo>
                    <a:lnTo>
                      <a:pt x="45" y="67"/>
                    </a:lnTo>
                    <a:lnTo>
                      <a:pt x="38" y="67"/>
                    </a:lnTo>
                    <a:lnTo>
                      <a:pt x="0" y="40"/>
                    </a:lnTo>
                    <a:lnTo>
                      <a:pt x="0" y="23"/>
                    </a:lnTo>
                    <a:lnTo>
                      <a:pt x="45" y="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21" name="Freeform 155"/>
              <p:cNvSpPr>
                <a:spLocks/>
              </p:cNvSpPr>
              <p:nvPr/>
            </p:nvSpPr>
            <p:spPr bwMode="auto">
              <a:xfrm>
                <a:off x="2295525" y="4724400"/>
                <a:ext cx="69850" cy="74613"/>
              </a:xfrm>
              <a:custGeom>
                <a:avLst/>
                <a:gdLst>
                  <a:gd name="T0" fmla="*/ 39 w 39"/>
                  <a:gd name="T1" fmla="*/ 43 h 43"/>
                  <a:gd name="T2" fmla="*/ 39 w 39"/>
                  <a:gd name="T3" fmla="*/ 28 h 43"/>
                  <a:gd name="T4" fmla="*/ 29 w 39"/>
                  <a:gd name="T5" fmla="*/ 20 h 43"/>
                  <a:gd name="T6" fmla="*/ 29 w 39"/>
                  <a:gd name="T7" fmla="*/ 13 h 43"/>
                  <a:gd name="T8" fmla="*/ 24 w 39"/>
                  <a:gd name="T9" fmla="*/ 13 h 43"/>
                  <a:gd name="T10" fmla="*/ 0 w 39"/>
                  <a:gd name="T11" fmla="*/ 0 h 43"/>
                  <a:gd name="T12" fmla="*/ 0 w 39"/>
                  <a:gd name="T13" fmla="*/ 20 h 43"/>
                  <a:gd name="T14" fmla="*/ 7 w 39"/>
                  <a:gd name="T15" fmla="*/ 28 h 43"/>
                  <a:gd name="T16" fmla="*/ 17 w 39"/>
                  <a:gd name="T17" fmla="*/ 20 h 43"/>
                  <a:gd name="T18" fmla="*/ 24 w 39"/>
                  <a:gd name="T19" fmla="*/ 35 h 43"/>
                  <a:gd name="T20" fmla="*/ 39 w 39"/>
                  <a:gd name="T21" fmla="*/ 43 h 43"/>
                  <a:gd name="T22" fmla="*/ 39 w 39"/>
                  <a:gd name="T23" fmla="*/ 43 h 43"/>
                  <a:gd name="T24" fmla="*/ 39 w 39"/>
                  <a:gd name="T25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" h="43">
                    <a:moveTo>
                      <a:pt x="39" y="43"/>
                    </a:moveTo>
                    <a:lnTo>
                      <a:pt x="39" y="28"/>
                    </a:lnTo>
                    <a:lnTo>
                      <a:pt x="29" y="20"/>
                    </a:lnTo>
                    <a:lnTo>
                      <a:pt x="29" y="13"/>
                    </a:lnTo>
                    <a:lnTo>
                      <a:pt x="24" y="13"/>
                    </a:lnTo>
                    <a:lnTo>
                      <a:pt x="0" y="0"/>
                    </a:lnTo>
                    <a:lnTo>
                      <a:pt x="0" y="20"/>
                    </a:lnTo>
                    <a:lnTo>
                      <a:pt x="7" y="28"/>
                    </a:lnTo>
                    <a:lnTo>
                      <a:pt x="17" y="20"/>
                    </a:lnTo>
                    <a:lnTo>
                      <a:pt x="24" y="35"/>
                    </a:lnTo>
                    <a:lnTo>
                      <a:pt x="39" y="43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22" name="Freeform 156"/>
              <p:cNvSpPr>
                <a:spLocks/>
              </p:cNvSpPr>
              <p:nvPr/>
            </p:nvSpPr>
            <p:spPr bwMode="auto">
              <a:xfrm>
                <a:off x="2365375" y="4772025"/>
                <a:ext cx="133350" cy="61913"/>
              </a:xfrm>
              <a:custGeom>
                <a:avLst/>
                <a:gdLst>
                  <a:gd name="T0" fmla="*/ 0 w 77"/>
                  <a:gd name="T1" fmla="*/ 15 h 35"/>
                  <a:gd name="T2" fmla="*/ 32 w 77"/>
                  <a:gd name="T3" fmla="*/ 27 h 35"/>
                  <a:gd name="T4" fmla="*/ 32 w 77"/>
                  <a:gd name="T5" fmla="*/ 35 h 35"/>
                  <a:gd name="T6" fmla="*/ 38 w 77"/>
                  <a:gd name="T7" fmla="*/ 27 h 35"/>
                  <a:gd name="T8" fmla="*/ 70 w 77"/>
                  <a:gd name="T9" fmla="*/ 35 h 35"/>
                  <a:gd name="T10" fmla="*/ 77 w 77"/>
                  <a:gd name="T11" fmla="*/ 22 h 35"/>
                  <a:gd name="T12" fmla="*/ 48 w 77"/>
                  <a:gd name="T13" fmla="*/ 0 h 35"/>
                  <a:gd name="T14" fmla="*/ 25 w 77"/>
                  <a:gd name="T15" fmla="*/ 5 h 35"/>
                  <a:gd name="T16" fmla="*/ 17 w 77"/>
                  <a:gd name="T17" fmla="*/ 5 h 35"/>
                  <a:gd name="T18" fmla="*/ 0 w 77"/>
                  <a:gd name="T19" fmla="*/ 0 h 35"/>
                  <a:gd name="T20" fmla="*/ 0 w 77"/>
                  <a:gd name="T21" fmla="*/ 15 h 35"/>
                  <a:gd name="T22" fmla="*/ 0 w 77"/>
                  <a:gd name="T23" fmla="*/ 1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7" h="35">
                    <a:moveTo>
                      <a:pt x="0" y="15"/>
                    </a:moveTo>
                    <a:lnTo>
                      <a:pt x="32" y="27"/>
                    </a:lnTo>
                    <a:lnTo>
                      <a:pt x="32" y="35"/>
                    </a:lnTo>
                    <a:lnTo>
                      <a:pt x="38" y="27"/>
                    </a:lnTo>
                    <a:lnTo>
                      <a:pt x="70" y="35"/>
                    </a:lnTo>
                    <a:lnTo>
                      <a:pt x="77" y="22"/>
                    </a:lnTo>
                    <a:lnTo>
                      <a:pt x="48" y="0"/>
                    </a:lnTo>
                    <a:lnTo>
                      <a:pt x="25" y="5"/>
                    </a:lnTo>
                    <a:lnTo>
                      <a:pt x="17" y="5"/>
                    </a:lnTo>
                    <a:lnTo>
                      <a:pt x="0" y="0"/>
                    </a:lnTo>
                    <a:lnTo>
                      <a:pt x="0" y="15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23" name="Freeform 157"/>
              <p:cNvSpPr>
                <a:spLocks/>
              </p:cNvSpPr>
              <p:nvPr/>
            </p:nvSpPr>
            <p:spPr bwMode="auto">
              <a:xfrm>
                <a:off x="2463800" y="4694238"/>
                <a:ext cx="261938" cy="423862"/>
              </a:xfrm>
              <a:custGeom>
                <a:avLst/>
                <a:gdLst>
                  <a:gd name="T0" fmla="*/ 115 w 149"/>
                  <a:gd name="T1" fmla="*/ 242 h 242"/>
                  <a:gd name="T2" fmla="*/ 129 w 149"/>
                  <a:gd name="T3" fmla="*/ 207 h 242"/>
                  <a:gd name="T4" fmla="*/ 115 w 149"/>
                  <a:gd name="T5" fmla="*/ 176 h 242"/>
                  <a:gd name="T6" fmla="*/ 129 w 149"/>
                  <a:gd name="T7" fmla="*/ 176 h 242"/>
                  <a:gd name="T8" fmla="*/ 115 w 149"/>
                  <a:gd name="T9" fmla="*/ 168 h 242"/>
                  <a:gd name="T10" fmla="*/ 115 w 149"/>
                  <a:gd name="T11" fmla="*/ 159 h 242"/>
                  <a:gd name="T12" fmla="*/ 149 w 149"/>
                  <a:gd name="T13" fmla="*/ 159 h 242"/>
                  <a:gd name="T14" fmla="*/ 149 w 149"/>
                  <a:gd name="T15" fmla="*/ 138 h 242"/>
                  <a:gd name="T16" fmla="*/ 142 w 149"/>
                  <a:gd name="T17" fmla="*/ 122 h 242"/>
                  <a:gd name="T18" fmla="*/ 149 w 149"/>
                  <a:gd name="T19" fmla="*/ 92 h 242"/>
                  <a:gd name="T20" fmla="*/ 129 w 149"/>
                  <a:gd name="T21" fmla="*/ 92 h 242"/>
                  <a:gd name="T22" fmla="*/ 115 w 149"/>
                  <a:gd name="T23" fmla="*/ 84 h 242"/>
                  <a:gd name="T24" fmla="*/ 95 w 149"/>
                  <a:gd name="T25" fmla="*/ 84 h 242"/>
                  <a:gd name="T26" fmla="*/ 85 w 149"/>
                  <a:gd name="T27" fmla="*/ 77 h 242"/>
                  <a:gd name="T28" fmla="*/ 85 w 149"/>
                  <a:gd name="T29" fmla="*/ 62 h 242"/>
                  <a:gd name="T30" fmla="*/ 74 w 149"/>
                  <a:gd name="T31" fmla="*/ 47 h 242"/>
                  <a:gd name="T32" fmla="*/ 100 w 149"/>
                  <a:gd name="T33" fmla="*/ 10 h 242"/>
                  <a:gd name="T34" fmla="*/ 95 w 149"/>
                  <a:gd name="T35" fmla="*/ 0 h 242"/>
                  <a:gd name="T36" fmla="*/ 50 w 149"/>
                  <a:gd name="T37" fmla="*/ 30 h 242"/>
                  <a:gd name="T38" fmla="*/ 43 w 149"/>
                  <a:gd name="T39" fmla="*/ 47 h 242"/>
                  <a:gd name="T40" fmla="*/ 22 w 149"/>
                  <a:gd name="T41" fmla="*/ 54 h 242"/>
                  <a:gd name="T42" fmla="*/ 23 w 149"/>
                  <a:gd name="T43" fmla="*/ 60 h 242"/>
                  <a:gd name="T44" fmla="*/ 22 w 149"/>
                  <a:gd name="T45" fmla="*/ 64 h 242"/>
                  <a:gd name="T46" fmla="*/ 22 w 149"/>
                  <a:gd name="T47" fmla="*/ 62 h 242"/>
                  <a:gd name="T48" fmla="*/ 15 w 149"/>
                  <a:gd name="T49" fmla="*/ 77 h 242"/>
                  <a:gd name="T50" fmla="*/ 15 w 149"/>
                  <a:gd name="T51" fmla="*/ 129 h 242"/>
                  <a:gd name="T52" fmla="*/ 22 w 149"/>
                  <a:gd name="T53" fmla="*/ 129 h 242"/>
                  <a:gd name="T54" fmla="*/ 15 w 149"/>
                  <a:gd name="T55" fmla="*/ 153 h 242"/>
                  <a:gd name="T56" fmla="*/ 10 w 149"/>
                  <a:gd name="T57" fmla="*/ 153 h 242"/>
                  <a:gd name="T58" fmla="*/ 10 w 149"/>
                  <a:gd name="T59" fmla="*/ 159 h 242"/>
                  <a:gd name="T60" fmla="*/ 0 w 149"/>
                  <a:gd name="T61" fmla="*/ 159 h 242"/>
                  <a:gd name="T62" fmla="*/ 0 w 149"/>
                  <a:gd name="T63" fmla="*/ 168 h 242"/>
                  <a:gd name="T64" fmla="*/ 22 w 149"/>
                  <a:gd name="T65" fmla="*/ 185 h 242"/>
                  <a:gd name="T66" fmla="*/ 43 w 149"/>
                  <a:gd name="T67" fmla="*/ 176 h 242"/>
                  <a:gd name="T68" fmla="*/ 74 w 149"/>
                  <a:gd name="T69" fmla="*/ 222 h 242"/>
                  <a:gd name="T70" fmla="*/ 107 w 149"/>
                  <a:gd name="T71" fmla="*/ 215 h 242"/>
                  <a:gd name="T72" fmla="*/ 115 w 149"/>
                  <a:gd name="T73" fmla="*/ 222 h 242"/>
                  <a:gd name="T74" fmla="*/ 115 w 149"/>
                  <a:gd name="T75" fmla="*/ 227 h 242"/>
                  <a:gd name="T76" fmla="*/ 107 w 149"/>
                  <a:gd name="T77" fmla="*/ 227 h 242"/>
                  <a:gd name="T78" fmla="*/ 115 w 149"/>
                  <a:gd name="T79" fmla="*/ 242 h 242"/>
                  <a:gd name="T80" fmla="*/ 115 w 149"/>
                  <a:gd name="T81" fmla="*/ 242 h 242"/>
                  <a:gd name="T82" fmla="*/ 115 w 149"/>
                  <a:gd name="T83" fmla="*/ 242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49" h="242">
                    <a:moveTo>
                      <a:pt x="115" y="242"/>
                    </a:moveTo>
                    <a:lnTo>
                      <a:pt x="129" y="207"/>
                    </a:lnTo>
                    <a:lnTo>
                      <a:pt x="115" y="176"/>
                    </a:lnTo>
                    <a:lnTo>
                      <a:pt x="129" y="176"/>
                    </a:lnTo>
                    <a:lnTo>
                      <a:pt x="115" y="168"/>
                    </a:lnTo>
                    <a:lnTo>
                      <a:pt x="115" y="159"/>
                    </a:lnTo>
                    <a:lnTo>
                      <a:pt x="149" y="159"/>
                    </a:lnTo>
                    <a:lnTo>
                      <a:pt x="149" y="138"/>
                    </a:lnTo>
                    <a:lnTo>
                      <a:pt x="142" y="122"/>
                    </a:lnTo>
                    <a:lnTo>
                      <a:pt x="149" y="92"/>
                    </a:lnTo>
                    <a:lnTo>
                      <a:pt x="129" y="92"/>
                    </a:lnTo>
                    <a:lnTo>
                      <a:pt x="115" y="84"/>
                    </a:lnTo>
                    <a:lnTo>
                      <a:pt x="95" y="84"/>
                    </a:lnTo>
                    <a:lnTo>
                      <a:pt x="85" y="77"/>
                    </a:lnTo>
                    <a:lnTo>
                      <a:pt x="85" y="62"/>
                    </a:lnTo>
                    <a:lnTo>
                      <a:pt x="74" y="47"/>
                    </a:lnTo>
                    <a:lnTo>
                      <a:pt x="100" y="10"/>
                    </a:lnTo>
                    <a:lnTo>
                      <a:pt x="95" y="0"/>
                    </a:lnTo>
                    <a:lnTo>
                      <a:pt x="50" y="30"/>
                    </a:lnTo>
                    <a:lnTo>
                      <a:pt x="43" y="47"/>
                    </a:lnTo>
                    <a:lnTo>
                      <a:pt x="22" y="54"/>
                    </a:lnTo>
                    <a:lnTo>
                      <a:pt x="23" y="60"/>
                    </a:lnTo>
                    <a:lnTo>
                      <a:pt x="22" y="64"/>
                    </a:lnTo>
                    <a:lnTo>
                      <a:pt x="22" y="62"/>
                    </a:lnTo>
                    <a:lnTo>
                      <a:pt x="15" y="77"/>
                    </a:lnTo>
                    <a:lnTo>
                      <a:pt x="15" y="129"/>
                    </a:lnTo>
                    <a:lnTo>
                      <a:pt x="22" y="129"/>
                    </a:lnTo>
                    <a:lnTo>
                      <a:pt x="15" y="153"/>
                    </a:lnTo>
                    <a:lnTo>
                      <a:pt x="10" y="153"/>
                    </a:lnTo>
                    <a:lnTo>
                      <a:pt x="10" y="159"/>
                    </a:lnTo>
                    <a:lnTo>
                      <a:pt x="0" y="159"/>
                    </a:lnTo>
                    <a:lnTo>
                      <a:pt x="0" y="168"/>
                    </a:lnTo>
                    <a:lnTo>
                      <a:pt x="22" y="185"/>
                    </a:lnTo>
                    <a:lnTo>
                      <a:pt x="43" y="176"/>
                    </a:lnTo>
                    <a:lnTo>
                      <a:pt x="74" y="222"/>
                    </a:lnTo>
                    <a:lnTo>
                      <a:pt x="107" y="215"/>
                    </a:lnTo>
                    <a:lnTo>
                      <a:pt x="115" y="222"/>
                    </a:lnTo>
                    <a:lnTo>
                      <a:pt x="115" y="227"/>
                    </a:lnTo>
                    <a:lnTo>
                      <a:pt x="107" y="227"/>
                    </a:lnTo>
                    <a:lnTo>
                      <a:pt x="115" y="242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24" name="Freeform 158"/>
              <p:cNvSpPr>
                <a:spLocks/>
              </p:cNvSpPr>
              <p:nvPr/>
            </p:nvSpPr>
            <p:spPr bwMode="auto">
              <a:xfrm>
                <a:off x="2413000" y="4984750"/>
                <a:ext cx="136525" cy="158750"/>
              </a:xfrm>
              <a:custGeom>
                <a:avLst/>
                <a:gdLst>
                  <a:gd name="T0" fmla="*/ 77 w 77"/>
                  <a:gd name="T1" fmla="*/ 15 h 91"/>
                  <a:gd name="T2" fmla="*/ 71 w 77"/>
                  <a:gd name="T3" fmla="*/ 9 h 91"/>
                  <a:gd name="T4" fmla="*/ 49 w 77"/>
                  <a:gd name="T5" fmla="*/ 15 h 91"/>
                  <a:gd name="T6" fmla="*/ 27 w 77"/>
                  <a:gd name="T7" fmla="*/ 0 h 91"/>
                  <a:gd name="T8" fmla="*/ 5 w 77"/>
                  <a:gd name="T9" fmla="*/ 9 h 91"/>
                  <a:gd name="T10" fmla="*/ 5 w 77"/>
                  <a:gd name="T11" fmla="*/ 15 h 91"/>
                  <a:gd name="T12" fmla="*/ 0 w 77"/>
                  <a:gd name="T13" fmla="*/ 30 h 91"/>
                  <a:gd name="T14" fmla="*/ 0 w 77"/>
                  <a:gd name="T15" fmla="*/ 46 h 91"/>
                  <a:gd name="T16" fmla="*/ 5 w 77"/>
                  <a:gd name="T17" fmla="*/ 59 h 91"/>
                  <a:gd name="T18" fmla="*/ 5 w 77"/>
                  <a:gd name="T19" fmla="*/ 54 h 91"/>
                  <a:gd name="T20" fmla="*/ 14 w 77"/>
                  <a:gd name="T21" fmla="*/ 54 h 91"/>
                  <a:gd name="T22" fmla="*/ 5 w 77"/>
                  <a:gd name="T23" fmla="*/ 59 h 91"/>
                  <a:gd name="T24" fmla="*/ 0 w 77"/>
                  <a:gd name="T25" fmla="*/ 83 h 91"/>
                  <a:gd name="T26" fmla="*/ 14 w 77"/>
                  <a:gd name="T27" fmla="*/ 91 h 91"/>
                  <a:gd name="T28" fmla="*/ 42 w 77"/>
                  <a:gd name="T29" fmla="*/ 59 h 91"/>
                  <a:gd name="T30" fmla="*/ 71 w 77"/>
                  <a:gd name="T31" fmla="*/ 46 h 91"/>
                  <a:gd name="T32" fmla="*/ 77 w 77"/>
                  <a:gd name="T33" fmla="*/ 30 h 91"/>
                  <a:gd name="T34" fmla="*/ 71 w 77"/>
                  <a:gd name="T35" fmla="*/ 15 h 91"/>
                  <a:gd name="T36" fmla="*/ 77 w 77"/>
                  <a:gd name="T37" fmla="*/ 15 h 91"/>
                  <a:gd name="T38" fmla="*/ 77 w 77"/>
                  <a:gd name="T39" fmla="*/ 15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7" h="91">
                    <a:moveTo>
                      <a:pt x="77" y="15"/>
                    </a:moveTo>
                    <a:lnTo>
                      <a:pt x="71" y="9"/>
                    </a:lnTo>
                    <a:lnTo>
                      <a:pt x="49" y="15"/>
                    </a:lnTo>
                    <a:lnTo>
                      <a:pt x="27" y="0"/>
                    </a:lnTo>
                    <a:lnTo>
                      <a:pt x="5" y="9"/>
                    </a:lnTo>
                    <a:lnTo>
                      <a:pt x="5" y="15"/>
                    </a:lnTo>
                    <a:lnTo>
                      <a:pt x="0" y="30"/>
                    </a:lnTo>
                    <a:lnTo>
                      <a:pt x="0" y="46"/>
                    </a:lnTo>
                    <a:lnTo>
                      <a:pt x="5" y="59"/>
                    </a:lnTo>
                    <a:lnTo>
                      <a:pt x="5" y="54"/>
                    </a:lnTo>
                    <a:lnTo>
                      <a:pt x="14" y="54"/>
                    </a:lnTo>
                    <a:lnTo>
                      <a:pt x="5" y="59"/>
                    </a:lnTo>
                    <a:lnTo>
                      <a:pt x="0" y="83"/>
                    </a:lnTo>
                    <a:lnTo>
                      <a:pt x="14" y="91"/>
                    </a:lnTo>
                    <a:lnTo>
                      <a:pt x="42" y="59"/>
                    </a:lnTo>
                    <a:lnTo>
                      <a:pt x="71" y="46"/>
                    </a:lnTo>
                    <a:lnTo>
                      <a:pt x="77" y="30"/>
                    </a:lnTo>
                    <a:lnTo>
                      <a:pt x="71" y="15"/>
                    </a:lnTo>
                    <a:lnTo>
                      <a:pt x="77" y="15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25" name="Freeform 159"/>
              <p:cNvSpPr>
                <a:spLocks/>
              </p:cNvSpPr>
              <p:nvPr/>
            </p:nvSpPr>
            <p:spPr bwMode="auto">
              <a:xfrm>
                <a:off x="2400300" y="5010150"/>
                <a:ext cx="298450" cy="474663"/>
              </a:xfrm>
              <a:custGeom>
                <a:avLst/>
                <a:gdLst>
                  <a:gd name="T0" fmla="*/ 164 w 171"/>
                  <a:gd name="T1" fmla="*/ 158 h 272"/>
                  <a:gd name="T2" fmla="*/ 142 w 171"/>
                  <a:gd name="T3" fmla="*/ 158 h 272"/>
                  <a:gd name="T4" fmla="*/ 142 w 171"/>
                  <a:gd name="T5" fmla="*/ 143 h 272"/>
                  <a:gd name="T6" fmla="*/ 129 w 171"/>
                  <a:gd name="T7" fmla="*/ 151 h 272"/>
                  <a:gd name="T8" fmla="*/ 107 w 171"/>
                  <a:gd name="T9" fmla="*/ 143 h 272"/>
                  <a:gd name="T10" fmla="*/ 99 w 171"/>
                  <a:gd name="T11" fmla="*/ 112 h 272"/>
                  <a:gd name="T12" fmla="*/ 121 w 171"/>
                  <a:gd name="T13" fmla="*/ 75 h 272"/>
                  <a:gd name="T14" fmla="*/ 151 w 171"/>
                  <a:gd name="T15" fmla="*/ 60 h 272"/>
                  <a:gd name="T16" fmla="*/ 142 w 171"/>
                  <a:gd name="T17" fmla="*/ 45 h 272"/>
                  <a:gd name="T18" fmla="*/ 151 w 171"/>
                  <a:gd name="T19" fmla="*/ 45 h 272"/>
                  <a:gd name="T20" fmla="*/ 151 w 171"/>
                  <a:gd name="T21" fmla="*/ 38 h 272"/>
                  <a:gd name="T22" fmla="*/ 142 w 171"/>
                  <a:gd name="T23" fmla="*/ 30 h 272"/>
                  <a:gd name="T24" fmla="*/ 107 w 171"/>
                  <a:gd name="T25" fmla="*/ 38 h 272"/>
                  <a:gd name="T26" fmla="*/ 84 w 171"/>
                  <a:gd name="T27" fmla="*/ 0 h 272"/>
                  <a:gd name="T28" fmla="*/ 79 w 171"/>
                  <a:gd name="T29" fmla="*/ 0 h 272"/>
                  <a:gd name="T30" fmla="*/ 84 w 171"/>
                  <a:gd name="T31" fmla="*/ 15 h 272"/>
                  <a:gd name="T32" fmla="*/ 79 w 171"/>
                  <a:gd name="T33" fmla="*/ 30 h 272"/>
                  <a:gd name="T34" fmla="*/ 50 w 171"/>
                  <a:gd name="T35" fmla="*/ 45 h 272"/>
                  <a:gd name="T36" fmla="*/ 22 w 171"/>
                  <a:gd name="T37" fmla="*/ 75 h 272"/>
                  <a:gd name="T38" fmla="*/ 8 w 171"/>
                  <a:gd name="T39" fmla="*/ 67 h 272"/>
                  <a:gd name="T40" fmla="*/ 13 w 171"/>
                  <a:gd name="T41" fmla="*/ 45 h 272"/>
                  <a:gd name="T42" fmla="*/ 0 w 171"/>
                  <a:gd name="T43" fmla="*/ 67 h 272"/>
                  <a:gd name="T44" fmla="*/ 8 w 171"/>
                  <a:gd name="T45" fmla="*/ 82 h 272"/>
                  <a:gd name="T46" fmla="*/ 0 w 171"/>
                  <a:gd name="T47" fmla="*/ 82 h 272"/>
                  <a:gd name="T48" fmla="*/ 13 w 171"/>
                  <a:gd name="T49" fmla="*/ 106 h 272"/>
                  <a:gd name="T50" fmla="*/ 35 w 171"/>
                  <a:gd name="T51" fmla="*/ 121 h 272"/>
                  <a:gd name="T52" fmla="*/ 79 w 171"/>
                  <a:gd name="T53" fmla="*/ 220 h 272"/>
                  <a:gd name="T54" fmla="*/ 142 w 171"/>
                  <a:gd name="T55" fmla="*/ 272 h 272"/>
                  <a:gd name="T56" fmla="*/ 164 w 171"/>
                  <a:gd name="T57" fmla="*/ 265 h 272"/>
                  <a:gd name="T58" fmla="*/ 171 w 171"/>
                  <a:gd name="T59" fmla="*/ 242 h 272"/>
                  <a:gd name="T60" fmla="*/ 164 w 171"/>
                  <a:gd name="T61" fmla="*/ 233 h 272"/>
                  <a:gd name="T62" fmla="*/ 171 w 171"/>
                  <a:gd name="T63" fmla="*/ 179 h 272"/>
                  <a:gd name="T64" fmla="*/ 164 w 171"/>
                  <a:gd name="T65" fmla="*/ 158 h 272"/>
                  <a:gd name="T66" fmla="*/ 164 w 171"/>
                  <a:gd name="T67" fmla="*/ 158 h 272"/>
                  <a:gd name="T68" fmla="*/ 164 w 171"/>
                  <a:gd name="T69" fmla="*/ 158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71" h="272">
                    <a:moveTo>
                      <a:pt x="164" y="158"/>
                    </a:moveTo>
                    <a:lnTo>
                      <a:pt x="142" y="158"/>
                    </a:lnTo>
                    <a:lnTo>
                      <a:pt x="142" y="143"/>
                    </a:lnTo>
                    <a:lnTo>
                      <a:pt x="129" y="151"/>
                    </a:lnTo>
                    <a:lnTo>
                      <a:pt x="107" y="143"/>
                    </a:lnTo>
                    <a:lnTo>
                      <a:pt x="99" y="112"/>
                    </a:lnTo>
                    <a:lnTo>
                      <a:pt x="121" y="75"/>
                    </a:lnTo>
                    <a:lnTo>
                      <a:pt x="151" y="60"/>
                    </a:lnTo>
                    <a:lnTo>
                      <a:pt x="142" y="45"/>
                    </a:lnTo>
                    <a:lnTo>
                      <a:pt x="151" y="45"/>
                    </a:lnTo>
                    <a:lnTo>
                      <a:pt x="151" y="38"/>
                    </a:lnTo>
                    <a:lnTo>
                      <a:pt x="142" y="30"/>
                    </a:lnTo>
                    <a:lnTo>
                      <a:pt x="107" y="38"/>
                    </a:lnTo>
                    <a:lnTo>
                      <a:pt x="84" y="0"/>
                    </a:lnTo>
                    <a:lnTo>
                      <a:pt x="79" y="0"/>
                    </a:lnTo>
                    <a:lnTo>
                      <a:pt x="84" y="15"/>
                    </a:lnTo>
                    <a:lnTo>
                      <a:pt x="79" y="30"/>
                    </a:lnTo>
                    <a:lnTo>
                      <a:pt x="50" y="45"/>
                    </a:lnTo>
                    <a:lnTo>
                      <a:pt x="22" y="75"/>
                    </a:lnTo>
                    <a:lnTo>
                      <a:pt x="8" y="67"/>
                    </a:lnTo>
                    <a:lnTo>
                      <a:pt x="13" y="45"/>
                    </a:lnTo>
                    <a:lnTo>
                      <a:pt x="0" y="67"/>
                    </a:lnTo>
                    <a:lnTo>
                      <a:pt x="8" y="82"/>
                    </a:lnTo>
                    <a:lnTo>
                      <a:pt x="0" y="82"/>
                    </a:lnTo>
                    <a:lnTo>
                      <a:pt x="13" y="106"/>
                    </a:lnTo>
                    <a:lnTo>
                      <a:pt x="35" y="121"/>
                    </a:lnTo>
                    <a:lnTo>
                      <a:pt x="79" y="220"/>
                    </a:lnTo>
                    <a:lnTo>
                      <a:pt x="142" y="272"/>
                    </a:lnTo>
                    <a:lnTo>
                      <a:pt x="164" y="265"/>
                    </a:lnTo>
                    <a:lnTo>
                      <a:pt x="171" y="242"/>
                    </a:lnTo>
                    <a:lnTo>
                      <a:pt x="164" y="233"/>
                    </a:lnTo>
                    <a:lnTo>
                      <a:pt x="171" y="179"/>
                    </a:lnTo>
                    <a:lnTo>
                      <a:pt x="164" y="158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26" name="Freeform 160"/>
              <p:cNvSpPr>
                <a:spLocks/>
              </p:cNvSpPr>
              <p:nvPr/>
            </p:nvSpPr>
            <p:spPr bwMode="auto">
              <a:xfrm>
                <a:off x="2684463" y="5259388"/>
                <a:ext cx="266700" cy="354012"/>
              </a:xfrm>
              <a:custGeom>
                <a:avLst/>
                <a:gdLst>
                  <a:gd name="T0" fmla="*/ 152 w 152"/>
                  <a:gd name="T1" fmla="*/ 159 h 203"/>
                  <a:gd name="T2" fmla="*/ 152 w 152"/>
                  <a:gd name="T3" fmla="*/ 129 h 203"/>
                  <a:gd name="T4" fmla="*/ 145 w 152"/>
                  <a:gd name="T5" fmla="*/ 105 h 203"/>
                  <a:gd name="T6" fmla="*/ 145 w 152"/>
                  <a:gd name="T7" fmla="*/ 100 h 203"/>
                  <a:gd name="T8" fmla="*/ 130 w 152"/>
                  <a:gd name="T9" fmla="*/ 100 h 203"/>
                  <a:gd name="T10" fmla="*/ 115 w 152"/>
                  <a:gd name="T11" fmla="*/ 84 h 203"/>
                  <a:gd name="T12" fmla="*/ 115 w 152"/>
                  <a:gd name="T13" fmla="*/ 77 h 203"/>
                  <a:gd name="T14" fmla="*/ 108 w 152"/>
                  <a:gd name="T15" fmla="*/ 55 h 203"/>
                  <a:gd name="T16" fmla="*/ 58 w 152"/>
                  <a:gd name="T17" fmla="*/ 38 h 203"/>
                  <a:gd name="T18" fmla="*/ 50 w 152"/>
                  <a:gd name="T19" fmla="*/ 23 h 203"/>
                  <a:gd name="T20" fmla="*/ 50 w 152"/>
                  <a:gd name="T21" fmla="*/ 0 h 203"/>
                  <a:gd name="T22" fmla="*/ 31 w 152"/>
                  <a:gd name="T23" fmla="*/ 0 h 203"/>
                  <a:gd name="T24" fmla="*/ 15 w 152"/>
                  <a:gd name="T25" fmla="*/ 18 h 203"/>
                  <a:gd name="T26" fmla="*/ 0 w 152"/>
                  <a:gd name="T27" fmla="*/ 18 h 203"/>
                  <a:gd name="T28" fmla="*/ 8 w 152"/>
                  <a:gd name="T29" fmla="*/ 38 h 203"/>
                  <a:gd name="T30" fmla="*/ 0 w 152"/>
                  <a:gd name="T31" fmla="*/ 92 h 203"/>
                  <a:gd name="T32" fmla="*/ 8 w 152"/>
                  <a:gd name="T33" fmla="*/ 100 h 203"/>
                  <a:gd name="T34" fmla="*/ 0 w 152"/>
                  <a:gd name="T35" fmla="*/ 122 h 203"/>
                  <a:gd name="T36" fmla="*/ 8 w 152"/>
                  <a:gd name="T37" fmla="*/ 144 h 203"/>
                  <a:gd name="T38" fmla="*/ 15 w 152"/>
                  <a:gd name="T39" fmla="*/ 203 h 203"/>
                  <a:gd name="T40" fmla="*/ 21 w 152"/>
                  <a:gd name="T41" fmla="*/ 203 h 203"/>
                  <a:gd name="T42" fmla="*/ 43 w 152"/>
                  <a:gd name="T43" fmla="*/ 181 h 203"/>
                  <a:gd name="T44" fmla="*/ 65 w 152"/>
                  <a:gd name="T45" fmla="*/ 198 h 203"/>
                  <a:gd name="T46" fmla="*/ 73 w 152"/>
                  <a:gd name="T47" fmla="*/ 181 h 203"/>
                  <a:gd name="T48" fmla="*/ 95 w 152"/>
                  <a:gd name="T49" fmla="*/ 198 h 203"/>
                  <a:gd name="T50" fmla="*/ 102 w 152"/>
                  <a:gd name="T51" fmla="*/ 144 h 203"/>
                  <a:gd name="T52" fmla="*/ 139 w 152"/>
                  <a:gd name="T53" fmla="*/ 144 h 203"/>
                  <a:gd name="T54" fmla="*/ 152 w 152"/>
                  <a:gd name="T55" fmla="*/ 159 h 203"/>
                  <a:gd name="T56" fmla="*/ 152 w 152"/>
                  <a:gd name="T57" fmla="*/ 159 h 203"/>
                  <a:gd name="T58" fmla="*/ 152 w 152"/>
                  <a:gd name="T59" fmla="*/ 159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52" h="203">
                    <a:moveTo>
                      <a:pt x="152" y="159"/>
                    </a:moveTo>
                    <a:lnTo>
                      <a:pt x="152" y="129"/>
                    </a:lnTo>
                    <a:lnTo>
                      <a:pt x="145" y="105"/>
                    </a:lnTo>
                    <a:lnTo>
                      <a:pt x="145" y="100"/>
                    </a:lnTo>
                    <a:lnTo>
                      <a:pt x="130" y="100"/>
                    </a:lnTo>
                    <a:lnTo>
                      <a:pt x="115" y="84"/>
                    </a:lnTo>
                    <a:lnTo>
                      <a:pt x="115" y="77"/>
                    </a:lnTo>
                    <a:lnTo>
                      <a:pt x="108" y="55"/>
                    </a:lnTo>
                    <a:lnTo>
                      <a:pt x="58" y="38"/>
                    </a:lnTo>
                    <a:lnTo>
                      <a:pt x="50" y="23"/>
                    </a:lnTo>
                    <a:lnTo>
                      <a:pt x="50" y="0"/>
                    </a:lnTo>
                    <a:lnTo>
                      <a:pt x="31" y="0"/>
                    </a:lnTo>
                    <a:lnTo>
                      <a:pt x="15" y="18"/>
                    </a:lnTo>
                    <a:lnTo>
                      <a:pt x="0" y="18"/>
                    </a:lnTo>
                    <a:lnTo>
                      <a:pt x="8" y="38"/>
                    </a:lnTo>
                    <a:lnTo>
                      <a:pt x="0" y="92"/>
                    </a:lnTo>
                    <a:lnTo>
                      <a:pt x="8" y="100"/>
                    </a:lnTo>
                    <a:lnTo>
                      <a:pt x="0" y="122"/>
                    </a:lnTo>
                    <a:lnTo>
                      <a:pt x="8" y="144"/>
                    </a:lnTo>
                    <a:lnTo>
                      <a:pt x="15" y="203"/>
                    </a:lnTo>
                    <a:lnTo>
                      <a:pt x="21" y="203"/>
                    </a:lnTo>
                    <a:lnTo>
                      <a:pt x="43" y="181"/>
                    </a:lnTo>
                    <a:lnTo>
                      <a:pt x="65" y="198"/>
                    </a:lnTo>
                    <a:lnTo>
                      <a:pt x="73" y="181"/>
                    </a:lnTo>
                    <a:lnTo>
                      <a:pt x="95" y="198"/>
                    </a:lnTo>
                    <a:lnTo>
                      <a:pt x="102" y="144"/>
                    </a:lnTo>
                    <a:lnTo>
                      <a:pt x="139" y="144"/>
                    </a:lnTo>
                    <a:lnTo>
                      <a:pt x="152" y="159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27" name="Freeform 161"/>
              <p:cNvSpPr>
                <a:spLocks/>
              </p:cNvSpPr>
              <p:nvPr/>
            </p:nvSpPr>
            <p:spPr bwMode="auto">
              <a:xfrm>
                <a:off x="2849563" y="5507038"/>
                <a:ext cx="185737" cy="236537"/>
              </a:xfrm>
              <a:custGeom>
                <a:avLst/>
                <a:gdLst>
                  <a:gd name="T0" fmla="*/ 99 w 106"/>
                  <a:gd name="T1" fmla="*/ 100 h 135"/>
                  <a:gd name="T2" fmla="*/ 106 w 106"/>
                  <a:gd name="T3" fmla="*/ 78 h 135"/>
                  <a:gd name="T4" fmla="*/ 92 w 106"/>
                  <a:gd name="T5" fmla="*/ 69 h 135"/>
                  <a:gd name="T6" fmla="*/ 92 w 106"/>
                  <a:gd name="T7" fmla="*/ 56 h 135"/>
                  <a:gd name="T8" fmla="*/ 87 w 106"/>
                  <a:gd name="T9" fmla="*/ 56 h 135"/>
                  <a:gd name="T10" fmla="*/ 57 w 106"/>
                  <a:gd name="T11" fmla="*/ 37 h 135"/>
                  <a:gd name="T12" fmla="*/ 57 w 106"/>
                  <a:gd name="T13" fmla="*/ 16 h 135"/>
                  <a:gd name="T14" fmla="*/ 44 w 106"/>
                  <a:gd name="T15" fmla="*/ 0 h 135"/>
                  <a:gd name="T16" fmla="*/ 9 w 106"/>
                  <a:gd name="T17" fmla="*/ 0 h 135"/>
                  <a:gd name="T18" fmla="*/ 0 w 106"/>
                  <a:gd name="T19" fmla="*/ 56 h 135"/>
                  <a:gd name="T20" fmla="*/ 14 w 106"/>
                  <a:gd name="T21" fmla="*/ 78 h 135"/>
                  <a:gd name="T22" fmla="*/ 44 w 106"/>
                  <a:gd name="T23" fmla="*/ 78 h 135"/>
                  <a:gd name="T24" fmla="*/ 57 w 106"/>
                  <a:gd name="T25" fmla="*/ 100 h 135"/>
                  <a:gd name="T26" fmla="*/ 57 w 106"/>
                  <a:gd name="T27" fmla="*/ 106 h 135"/>
                  <a:gd name="T28" fmla="*/ 51 w 106"/>
                  <a:gd name="T29" fmla="*/ 121 h 135"/>
                  <a:gd name="T30" fmla="*/ 76 w 106"/>
                  <a:gd name="T31" fmla="*/ 135 h 135"/>
                  <a:gd name="T32" fmla="*/ 87 w 106"/>
                  <a:gd name="T33" fmla="*/ 121 h 135"/>
                  <a:gd name="T34" fmla="*/ 99 w 106"/>
                  <a:gd name="T35" fmla="*/ 115 h 135"/>
                  <a:gd name="T36" fmla="*/ 99 w 106"/>
                  <a:gd name="T37" fmla="*/ 100 h 135"/>
                  <a:gd name="T38" fmla="*/ 99 w 106"/>
                  <a:gd name="T39" fmla="*/ 100 h 135"/>
                  <a:gd name="T40" fmla="*/ 99 w 106"/>
                  <a:gd name="T41" fmla="*/ 10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06" h="135">
                    <a:moveTo>
                      <a:pt x="99" y="100"/>
                    </a:moveTo>
                    <a:lnTo>
                      <a:pt x="106" y="78"/>
                    </a:lnTo>
                    <a:lnTo>
                      <a:pt x="92" y="69"/>
                    </a:lnTo>
                    <a:lnTo>
                      <a:pt x="92" y="56"/>
                    </a:lnTo>
                    <a:lnTo>
                      <a:pt x="87" y="56"/>
                    </a:lnTo>
                    <a:lnTo>
                      <a:pt x="57" y="37"/>
                    </a:lnTo>
                    <a:lnTo>
                      <a:pt x="57" y="16"/>
                    </a:lnTo>
                    <a:lnTo>
                      <a:pt x="44" y="0"/>
                    </a:lnTo>
                    <a:lnTo>
                      <a:pt x="9" y="0"/>
                    </a:lnTo>
                    <a:lnTo>
                      <a:pt x="0" y="56"/>
                    </a:lnTo>
                    <a:lnTo>
                      <a:pt x="14" y="78"/>
                    </a:lnTo>
                    <a:lnTo>
                      <a:pt x="44" y="78"/>
                    </a:lnTo>
                    <a:lnTo>
                      <a:pt x="57" y="100"/>
                    </a:lnTo>
                    <a:lnTo>
                      <a:pt x="57" y="106"/>
                    </a:lnTo>
                    <a:lnTo>
                      <a:pt x="51" y="121"/>
                    </a:lnTo>
                    <a:lnTo>
                      <a:pt x="76" y="135"/>
                    </a:lnTo>
                    <a:lnTo>
                      <a:pt x="87" y="121"/>
                    </a:lnTo>
                    <a:lnTo>
                      <a:pt x="99" y="115"/>
                    </a:lnTo>
                    <a:lnTo>
                      <a:pt x="99" y="10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28" name="Freeform 162"/>
              <p:cNvSpPr>
                <a:spLocks/>
              </p:cNvSpPr>
              <p:nvPr/>
            </p:nvSpPr>
            <p:spPr bwMode="auto">
              <a:xfrm>
                <a:off x="2570163" y="4876800"/>
                <a:ext cx="930275" cy="1046163"/>
              </a:xfrm>
              <a:custGeom>
                <a:avLst/>
                <a:gdLst>
                  <a:gd name="T0" fmla="*/ 297 w 530"/>
                  <a:gd name="T1" fmla="*/ 25 h 598"/>
                  <a:gd name="T2" fmla="*/ 277 w 530"/>
                  <a:gd name="T3" fmla="*/ 55 h 598"/>
                  <a:gd name="T4" fmla="*/ 250 w 530"/>
                  <a:gd name="T5" fmla="*/ 47 h 598"/>
                  <a:gd name="T6" fmla="*/ 235 w 530"/>
                  <a:gd name="T7" fmla="*/ 55 h 598"/>
                  <a:gd name="T8" fmla="*/ 200 w 530"/>
                  <a:gd name="T9" fmla="*/ 64 h 598"/>
                  <a:gd name="T10" fmla="*/ 193 w 530"/>
                  <a:gd name="T11" fmla="*/ 0 h 598"/>
                  <a:gd name="T12" fmla="*/ 171 w 530"/>
                  <a:gd name="T13" fmla="*/ 17 h 598"/>
                  <a:gd name="T14" fmla="*/ 122 w 530"/>
                  <a:gd name="T15" fmla="*/ 17 h 598"/>
                  <a:gd name="T16" fmla="*/ 131 w 530"/>
                  <a:gd name="T17" fmla="*/ 47 h 598"/>
                  <a:gd name="T18" fmla="*/ 116 w 530"/>
                  <a:gd name="T19" fmla="*/ 71 h 598"/>
                  <a:gd name="T20" fmla="*/ 96 w 530"/>
                  <a:gd name="T21" fmla="*/ 64 h 598"/>
                  <a:gd name="T22" fmla="*/ 52 w 530"/>
                  <a:gd name="T23" fmla="*/ 55 h 598"/>
                  <a:gd name="T24" fmla="*/ 66 w 530"/>
                  <a:gd name="T25" fmla="*/ 71 h 598"/>
                  <a:gd name="T26" fmla="*/ 66 w 530"/>
                  <a:gd name="T27" fmla="*/ 99 h 598"/>
                  <a:gd name="T28" fmla="*/ 24 w 530"/>
                  <a:gd name="T29" fmla="*/ 155 h 598"/>
                  <a:gd name="T30" fmla="*/ 10 w 530"/>
                  <a:gd name="T31" fmla="*/ 220 h 598"/>
                  <a:gd name="T32" fmla="*/ 45 w 530"/>
                  <a:gd name="T33" fmla="*/ 220 h 598"/>
                  <a:gd name="T34" fmla="*/ 81 w 530"/>
                  <a:gd name="T35" fmla="*/ 235 h 598"/>
                  <a:gd name="T36" fmla="*/ 116 w 530"/>
                  <a:gd name="T37" fmla="*/ 220 h 598"/>
                  <a:gd name="T38" fmla="*/ 122 w 530"/>
                  <a:gd name="T39" fmla="*/ 257 h 598"/>
                  <a:gd name="T40" fmla="*/ 178 w 530"/>
                  <a:gd name="T41" fmla="*/ 298 h 598"/>
                  <a:gd name="T42" fmla="*/ 193 w 530"/>
                  <a:gd name="T43" fmla="*/ 319 h 598"/>
                  <a:gd name="T44" fmla="*/ 208 w 530"/>
                  <a:gd name="T45" fmla="*/ 326 h 598"/>
                  <a:gd name="T46" fmla="*/ 215 w 530"/>
                  <a:gd name="T47" fmla="*/ 402 h 598"/>
                  <a:gd name="T48" fmla="*/ 250 w 530"/>
                  <a:gd name="T49" fmla="*/ 419 h 598"/>
                  <a:gd name="T50" fmla="*/ 263 w 530"/>
                  <a:gd name="T51" fmla="*/ 439 h 598"/>
                  <a:gd name="T52" fmla="*/ 263 w 530"/>
                  <a:gd name="T53" fmla="*/ 462 h 598"/>
                  <a:gd name="T54" fmla="*/ 256 w 530"/>
                  <a:gd name="T55" fmla="*/ 498 h 598"/>
                  <a:gd name="T56" fmla="*/ 235 w 530"/>
                  <a:gd name="T57" fmla="*/ 545 h 598"/>
                  <a:gd name="T58" fmla="*/ 250 w 530"/>
                  <a:gd name="T59" fmla="*/ 551 h 598"/>
                  <a:gd name="T60" fmla="*/ 285 w 530"/>
                  <a:gd name="T61" fmla="*/ 575 h 598"/>
                  <a:gd name="T62" fmla="*/ 329 w 530"/>
                  <a:gd name="T63" fmla="*/ 519 h 598"/>
                  <a:gd name="T64" fmla="*/ 342 w 530"/>
                  <a:gd name="T65" fmla="*/ 469 h 598"/>
                  <a:gd name="T66" fmla="*/ 369 w 530"/>
                  <a:gd name="T67" fmla="*/ 439 h 598"/>
                  <a:gd name="T68" fmla="*/ 427 w 530"/>
                  <a:gd name="T69" fmla="*/ 424 h 598"/>
                  <a:gd name="T70" fmla="*/ 446 w 530"/>
                  <a:gd name="T71" fmla="*/ 402 h 598"/>
                  <a:gd name="T72" fmla="*/ 461 w 530"/>
                  <a:gd name="T73" fmla="*/ 365 h 598"/>
                  <a:gd name="T74" fmla="*/ 468 w 530"/>
                  <a:gd name="T75" fmla="*/ 343 h 598"/>
                  <a:gd name="T76" fmla="*/ 530 w 530"/>
                  <a:gd name="T77" fmla="*/ 190 h 598"/>
                  <a:gd name="T78" fmla="*/ 496 w 530"/>
                  <a:gd name="T79" fmla="*/ 155 h 598"/>
                  <a:gd name="T80" fmla="*/ 439 w 530"/>
                  <a:gd name="T81" fmla="*/ 121 h 598"/>
                  <a:gd name="T82" fmla="*/ 399 w 530"/>
                  <a:gd name="T83" fmla="*/ 116 h 598"/>
                  <a:gd name="T84" fmla="*/ 347 w 530"/>
                  <a:gd name="T85" fmla="*/ 92 h 598"/>
                  <a:gd name="T86" fmla="*/ 342 w 530"/>
                  <a:gd name="T87" fmla="*/ 77 h 598"/>
                  <a:gd name="T88" fmla="*/ 320 w 530"/>
                  <a:gd name="T89" fmla="*/ 99 h 598"/>
                  <a:gd name="T90" fmla="*/ 297 w 530"/>
                  <a:gd name="T91" fmla="*/ 99 h 598"/>
                  <a:gd name="T92" fmla="*/ 329 w 530"/>
                  <a:gd name="T93" fmla="*/ 64 h 598"/>
                  <a:gd name="T94" fmla="*/ 320 w 530"/>
                  <a:gd name="T95" fmla="*/ 55 h 598"/>
                  <a:gd name="T96" fmla="*/ 307 w 530"/>
                  <a:gd name="T97" fmla="*/ 25 h 5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30" h="598">
                    <a:moveTo>
                      <a:pt x="307" y="25"/>
                    </a:moveTo>
                    <a:lnTo>
                      <a:pt x="297" y="25"/>
                    </a:lnTo>
                    <a:lnTo>
                      <a:pt x="285" y="47"/>
                    </a:lnTo>
                    <a:lnTo>
                      <a:pt x="277" y="55"/>
                    </a:lnTo>
                    <a:lnTo>
                      <a:pt x="263" y="47"/>
                    </a:lnTo>
                    <a:lnTo>
                      <a:pt x="250" y="47"/>
                    </a:lnTo>
                    <a:lnTo>
                      <a:pt x="245" y="55"/>
                    </a:lnTo>
                    <a:lnTo>
                      <a:pt x="235" y="55"/>
                    </a:lnTo>
                    <a:lnTo>
                      <a:pt x="208" y="64"/>
                    </a:lnTo>
                    <a:lnTo>
                      <a:pt x="200" y="64"/>
                    </a:lnTo>
                    <a:lnTo>
                      <a:pt x="193" y="47"/>
                    </a:lnTo>
                    <a:lnTo>
                      <a:pt x="193" y="0"/>
                    </a:lnTo>
                    <a:lnTo>
                      <a:pt x="178" y="0"/>
                    </a:lnTo>
                    <a:lnTo>
                      <a:pt x="171" y="17"/>
                    </a:lnTo>
                    <a:lnTo>
                      <a:pt x="149" y="25"/>
                    </a:lnTo>
                    <a:lnTo>
                      <a:pt x="122" y="17"/>
                    </a:lnTo>
                    <a:lnTo>
                      <a:pt x="131" y="25"/>
                    </a:lnTo>
                    <a:lnTo>
                      <a:pt x="131" y="47"/>
                    </a:lnTo>
                    <a:lnTo>
                      <a:pt x="136" y="55"/>
                    </a:lnTo>
                    <a:lnTo>
                      <a:pt x="116" y="71"/>
                    </a:lnTo>
                    <a:lnTo>
                      <a:pt x="109" y="71"/>
                    </a:lnTo>
                    <a:lnTo>
                      <a:pt x="96" y="64"/>
                    </a:lnTo>
                    <a:lnTo>
                      <a:pt x="87" y="55"/>
                    </a:lnTo>
                    <a:lnTo>
                      <a:pt x="52" y="55"/>
                    </a:lnTo>
                    <a:lnTo>
                      <a:pt x="52" y="64"/>
                    </a:lnTo>
                    <a:lnTo>
                      <a:pt x="66" y="71"/>
                    </a:lnTo>
                    <a:lnTo>
                      <a:pt x="52" y="71"/>
                    </a:lnTo>
                    <a:lnTo>
                      <a:pt x="66" y="99"/>
                    </a:lnTo>
                    <a:lnTo>
                      <a:pt x="52" y="138"/>
                    </a:lnTo>
                    <a:lnTo>
                      <a:pt x="24" y="155"/>
                    </a:lnTo>
                    <a:lnTo>
                      <a:pt x="0" y="190"/>
                    </a:lnTo>
                    <a:lnTo>
                      <a:pt x="10" y="220"/>
                    </a:lnTo>
                    <a:lnTo>
                      <a:pt x="32" y="229"/>
                    </a:lnTo>
                    <a:lnTo>
                      <a:pt x="45" y="220"/>
                    </a:lnTo>
                    <a:lnTo>
                      <a:pt x="45" y="235"/>
                    </a:lnTo>
                    <a:lnTo>
                      <a:pt x="81" y="235"/>
                    </a:lnTo>
                    <a:lnTo>
                      <a:pt x="96" y="220"/>
                    </a:lnTo>
                    <a:lnTo>
                      <a:pt x="116" y="220"/>
                    </a:lnTo>
                    <a:lnTo>
                      <a:pt x="116" y="242"/>
                    </a:lnTo>
                    <a:lnTo>
                      <a:pt x="122" y="257"/>
                    </a:lnTo>
                    <a:lnTo>
                      <a:pt x="171" y="274"/>
                    </a:lnTo>
                    <a:lnTo>
                      <a:pt x="178" y="298"/>
                    </a:lnTo>
                    <a:lnTo>
                      <a:pt x="178" y="304"/>
                    </a:lnTo>
                    <a:lnTo>
                      <a:pt x="193" y="319"/>
                    </a:lnTo>
                    <a:lnTo>
                      <a:pt x="208" y="319"/>
                    </a:lnTo>
                    <a:lnTo>
                      <a:pt x="208" y="326"/>
                    </a:lnTo>
                    <a:lnTo>
                      <a:pt x="215" y="350"/>
                    </a:lnTo>
                    <a:lnTo>
                      <a:pt x="215" y="402"/>
                    </a:lnTo>
                    <a:lnTo>
                      <a:pt x="245" y="419"/>
                    </a:lnTo>
                    <a:lnTo>
                      <a:pt x="250" y="419"/>
                    </a:lnTo>
                    <a:lnTo>
                      <a:pt x="250" y="432"/>
                    </a:lnTo>
                    <a:lnTo>
                      <a:pt x="263" y="439"/>
                    </a:lnTo>
                    <a:lnTo>
                      <a:pt x="256" y="462"/>
                    </a:lnTo>
                    <a:lnTo>
                      <a:pt x="263" y="462"/>
                    </a:lnTo>
                    <a:lnTo>
                      <a:pt x="277" y="484"/>
                    </a:lnTo>
                    <a:lnTo>
                      <a:pt x="256" y="498"/>
                    </a:lnTo>
                    <a:lnTo>
                      <a:pt x="221" y="545"/>
                    </a:lnTo>
                    <a:lnTo>
                      <a:pt x="235" y="545"/>
                    </a:lnTo>
                    <a:lnTo>
                      <a:pt x="245" y="551"/>
                    </a:lnTo>
                    <a:lnTo>
                      <a:pt x="250" y="551"/>
                    </a:lnTo>
                    <a:lnTo>
                      <a:pt x="277" y="566"/>
                    </a:lnTo>
                    <a:lnTo>
                      <a:pt x="285" y="575"/>
                    </a:lnTo>
                    <a:lnTo>
                      <a:pt x="277" y="598"/>
                    </a:lnTo>
                    <a:lnTo>
                      <a:pt x="329" y="519"/>
                    </a:lnTo>
                    <a:lnTo>
                      <a:pt x="342" y="508"/>
                    </a:lnTo>
                    <a:lnTo>
                      <a:pt x="342" y="469"/>
                    </a:lnTo>
                    <a:lnTo>
                      <a:pt x="347" y="445"/>
                    </a:lnTo>
                    <a:lnTo>
                      <a:pt x="369" y="439"/>
                    </a:lnTo>
                    <a:lnTo>
                      <a:pt x="399" y="424"/>
                    </a:lnTo>
                    <a:lnTo>
                      <a:pt x="427" y="424"/>
                    </a:lnTo>
                    <a:lnTo>
                      <a:pt x="427" y="419"/>
                    </a:lnTo>
                    <a:lnTo>
                      <a:pt x="446" y="402"/>
                    </a:lnTo>
                    <a:lnTo>
                      <a:pt x="446" y="395"/>
                    </a:lnTo>
                    <a:lnTo>
                      <a:pt x="461" y="365"/>
                    </a:lnTo>
                    <a:lnTo>
                      <a:pt x="461" y="350"/>
                    </a:lnTo>
                    <a:lnTo>
                      <a:pt x="468" y="343"/>
                    </a:lnTo>
                    <a:lnTo>
                      <a:pt x="468" y="274"/>
                    </a:lnTo>
                    <a:lnTo>
                      <a:pt x="530" y="190"/>
                    </a:lnTo>
                    <a:lnTo>
                      <a:pt x="525" y="155"/>
                    </a:lnTo>
                    <a:lnTo>
                      <a:pt x="496" y="155"/>
                    </a:lnTo>
                    <a:lnTo>
                      <a:pt x="454" y="116"/>
                    </a:lnTo>
                    <a:lnTo>
                      <a:pt x="439" y="121"/>
                    </a:lnTo>
                    <a:lnTo>
                      <a:pt x="412" y="116"/>
                    </a:lnTo>
                    <a:lnTo>
                      <a:pt x="399" y="116"/>
                    </a:lnTo>
                    <a:lnTo>
                      <a:pt x="399" y="99"/>
                    </a:lnTo>
                    <a:lnTo>
                      <a:pt x="347" y="92"/>
                    </a:lnTo>
                    <a:lnTo>
                      <a:pt x="342" y="99"/>
                    </a:lnTo>
                    <a:lnTo>
                      <a:pt x="342" y="77"/>
                    </a:lnTo>
                    <a:lnTo>
                      <a:pt x="320" y="77"/>
                    </a:lnTo>
                    <a:lnTo>
                      <a:pt x="320" y="99"/>
                    </a:lnTo>
                    <a:lnTo>
                      <a:pt x="307" y="92"/>
                    </a:lnTo>
                    <a:lnTo>
                      <a:pt x="297" y="99"/>
                    </a:lnTo>
                    <a:lnTo>
                      <a:pt x="307" y="77"/>
                    </a:lnTo>
                    <a:lnTo>
                      <a:pt x="329" y="64"/>
                    </a:lnTo>
                    <a:lnTo>
                      <a:pt x="329" y="55"/>
                    </a:lnTo>
                    <a:lnTo>
                      <a:pt x="320" y="55"/>
                    </a:lnTo>
                    <a:lnTo>
                      <a:pt x="307" y="25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29" name="Freeform 163"/>
              <p:cNvSpPr>
                <a:spLocks/>
              </p:cNvSpPr>
              <p:nvPr/>
            </p:nvSpPr>
            <p:spPr bwMode="auto">
              <a:xfrm>
                <a:off x="3035300" y="4872038"/>
                <a:ext cx="57150" cy="98425"/>
              </a:xfrm>
              <a:custGeom>
                <a:avLst/>
                <a:gdLst>
                  <a:gd name="T0" fmla="*/ 0 w 33"/>
                  <a:gd name="T1" fmla="*/ 50 h 57"/>
                  <a:gd name="T2" fmla="*/ 13 w 33"/>
                  <a:gd name="T3" fmla="*/ 57 h 57"/>
                  <a:gd name="T4" fmla="*/ 22 w 33"/>
                  <a:gd name="T5" fmla="*/ 50 h 57"/>
                  <a:gd name="T6" fmla="*/ 33 w 33"/>
                  <a:gd name="T7" fmla="*/ 28 h 57"/>
                  <a:gd name="T8" fmla="*/ 0 w 33"/>
                  <a:gd name="T9" fmla="*/ 0 h 57"/>
                  <a:gd name="T10" fmla="*/ 0 w 33"/>
                  <a:gd name="T11" fmla="*/ 50 h 57"/>
                  <a:gd name="T12" fmla="*/ 0 w 33"/>
                  <a:gd name="T13" fmla="*/ 50 h 57"/>
                  <a:gd name="T14" fmla="*/ 0 w 33"/>
                  <a:gd name="T15" fmla="*/ 5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3" h="57">
                    <a:moveTo>
                      <a:pt x="0" y="50"/>
                    </a:moveTo>
                    <a:lnTo>
                      <a:pt x="13" y="57"/>
                    </a:lnTo>
                    <a:lnTo>
                      <a:pt x="22" y="50"/>
                    </a:lnTo>
                    <a:lnTo>
                      <a:pt x="33" y="28"/>
                    </a:lnTo>
                    <a:lnTo>
                      <a:pt x="0" y="0"/>
                    </a:lnTo>
                    <a:lnTo>
                      <a:pt x="0" y="5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30" name="Freeform 164"/>
              <p:cNvSpPr>
                <a:spLocks/>
              </p:cNvSpPr>
              <p:nvPr/>
            </p:nvSpPr>
            <p:spPr bwMode="auto">
              <a:xfrm>
                <a:off x="2943225" y="4872038"/>
                <a:ext cx="92075" cy="98425"/>
              </a:xfrm>
              <a:custGeom>
                <a:avLst/>
                <a:gdLst>
                  <a:gd name="T0" fmla="*/ 52 w 52"/>
                  <a:gd name="T1" fmla="*/ 50 h 57"/>
                  <a:gd name="T2" fmla="*/ 52 w 52"/>
                  <a:gd name="T3" fmla="*/ 0 h 57"/>
                  <a:gd name="T4" fmla="*/ 22 w 52"/>
                  <a:gd name="T5" fmla="*/ 0 h 57"/>
                  <a:gd name="T6" fmla="*/ 0 w 52"/>
                  <a:gd name="T7" fmla="*/ 21 h 57"/>
                  <a:gd name="T8" fmla="*/ 22 w 52"/>
                  <a:gd name="T9" fmla="*/ 57 h 57"/>
                  <a:gd name="T10" fmla="*/ 32 w 52"/>
                  <a:gd name="T11" fmla="*/ 57 h 57"/>
                  <a:gd name="T12" fmla="*/ 38 w 52"/>
                  <a:gd name="T13" fmla="*/ 50 h 57"/>
                  <a:gd name="T14" fmla="*/ 52 w 52"/>
                  <a:gd name="T15" fmla="*/ 50 h 57"/>
                  <a:gd name="T16" fmla="*/ 52 w 52"/>
                  <a:gd name="T17" fmla="*/ 5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2" h="57">
                    <a:moveTo>
                      <a:pt x="52" y="50"/>
                    </a:moveTo>
                    <a:lnTo>
                      <a:pt x="52" y="0"/>
                    </a:lnTo>
                    <a:lnTo>
                      <a:pt x="22" y="0"/>
                    </a:lnTo>
                    <a:lnTo>
                      <a:pt x="0" y="21"/>
                    </a:lnTo>
                    <a:lnTo>
                      <a:pt x="22" y="57"/>
                    </a:lnTo>
                    <a:lnTo>
                      <a:pt x="32" y="57"/>
                    </a:lnTo>
                    <a:lnTo>
                      <a:pt x="38" y="50"/>
                    </a:lnTo>
                    <a:lnTo>
                      <a:pt x="52" y="5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31" name="Freeform 165"/>
              <p:cNvSpPr>
                <a:spLocks/>
              </p:cNvSpPr>
              <p:nvPr/>
            </p:nvSpPr>
            <p:spPr bwMode="auto">
              <a:xfrm>
                <a:off x="2870200" y="4792663"/>
                <a:ext cx="111125" cy="200025"/>
              </a:xfrm>
              <a:custGeom>
                <a:avLst/>
                <a:gdLst>
                  <a:gd name="T0" fmla="*/ 24 w 64"/>
                  <a:gd name="T1" fmla="*/ 0 h 113"/>
                  <a:gd name="T2" fmla="*/ 37 w 64"/>
                  <a:gd name="T3" fmla="*/ 17 h 113"/>
                  <a:gd name="T4" fmla="*/ 37 w 64"/>
                  <a:gd name="T5" fmla="*/ 23 h 113"/>
                  <a:gd name="T6" fmla="*/ 44 w 64"/>
                  <a:gd name="T7" fmla="*/ 23 h 113"/>
                  <a:gd name="T8" fmla="*/ 64 w 64"/>
                  <a:gd name="T9" fmla="*/ 40 h 113"/>
                  <a:gd name="T10" fmla="*/ 44 w 64"/>
                  <a:gd name="T11" fmla="*/ 62 h 113"/>
                  <a:gd name="T12" fmla="*/ 64 w 64"/>
                  <a:gd name="T13" fmla="*/ 102 h 113"/>
                  <a:gd name="T14" fmla="*/ 37 w 64"/>
                  <a:gd name="T15" fmla="*/ 113 h 113"/>
                  <a:gd name="T16" fmla="*/ 32 w 64"/>
                  <a:gd name="T17" fmla="*/ 113 h 113"/>
                  <a:gd name="T18" fmla="*/ 24 w 64"/>
                  <a:gd name="T19" fmla="*/ 94 h 113"/>
                  <a:gd name="T20" fmla="*/ 24 w 64"/>
                  <a:gd name="T21" fmla="*/ 47 h 113"/>
                  <a:gd name="T22" fmla="*/ 8 w 64"/>
                  <a:gd name="T23" fmla="*/ 47 h 113"/>
                  <a:gd name="T24" fmla="*/ 0 w 64"/>
                  <a:gd name="T25" fmla="*/ 40 h 113"/>
                  <a:gd name="T26" fmla="*/ 0 w 64"/>
                  <a:gd name="T27" fmla="*/ 23 h 113"/>
                  <a:gd name="T28" fmla="*/ 8 w 64"/>
                  <a:gd name="T29" fmla="*/ 23 h 113"/>
                  <a:gd name="T30" fmla="*/ 8 w 64"/>
                  <a:gd name="T31" fmla="*/ 17 h 113"/>
                  <a:gd name="T32" fmla="*/ 24 w 64"/>
                  <a:gd name="T33" fmla="*/ 0 h 113"/>
                  <a:gd name="T34" fmla="*/ 24 w 64"/>
                  <a:gd name="T35" fmla="*/ 0 h 113"/>
                  <a:gd name="T36" fmla="*/ 24 w 64"/>
                  <a:gd name="T37" fmla="*/ 0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4" h="113">
                    <a:moveTo>
                      <a:pt x="24" y="0"/>
                    </a:moveTo>
                    <a:lnTo>
                      <a:pt x="37" y="17"/>
                    </a:lnTo>
                    <a:lnTo>
                      <a:pt x="37" y="23"/>
                    </a:lnTo>
                    <a:lnTo>
                      <a:pt x="44" y="23"/>
                    </a:lnTo>
                    <a:lnTo>
                      <a:pt x="64" y="40"/>
                    </a:lnTo>
                    <a:lnTo>
                      <a:pt x="44" y="62"/>
                    </a:lnTo>
                    <a:lnTo>
                      <a:pt x="64" y="102"/>
                    </a:lnTo>
                    <a:lnTo>
                      <a:pt x="37" y="113"/>
                    </a:lnTo>
                    <a:lnTo>
                      <a:pt x="32" y="113"/>
                    </a:lnTo>
                    <a:lnTo>
                      <a:pt x="24" y="94"/>
                    </a:lnTo>
                    <a:lnTo>
                      <a:pt x="24" y="47"/>
                    </a:lnTo>
                    <a:lnTo>
                      <a:pt x="8" y="47"/>
                    </a:lnTo>
                    <a:lnTo>
                      <a:pt x="0" y="40"/>
                    </a:lnTo>
                    <a:lnTo>
                      <a:pt x="0" y="23"/>
                    </a:lnTo>
                    <a:lnTo>
                      <a:pt x="8" y="23"/>
                    </a:lnTo>
                    <a:lnTo>
                      <a:pt x="8" y="17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32" name="Freeform 166"/>
              <p:cNvSpPr>
                <a:spLocks/>
              </p:cNvSpPr>
              <p:nvPr/>
            </p:nvSpPr>
            <p:spPr bwMode="auto">
              <a:xfrm>
                <a:off x="2590800" y="4708525"/>
                <a:ext cx="320675" cy="292100"/>
              </a:xfrm>
              <a:custGeom>
                <a:avLst/>
                <a:gdLst>
                  <a:gd name="T0" fmla="*/ 183 w 183"/>
                  <a:gd name="T1" fmla="*/ 52 h 167"/>
                  <a:gd name="T2" fmla="*/ 167 w 183"/>
                  <a:gd name="T3" fmla="*/ 69 h 167"/>
                  <a:gd name="T4" fmla="*/ 167 w 183"/>
                  <a:gd name="T5" fmla="*/ 76 h 167"/>
                  <a:gd name="T6" fmla="*/ 161 w 183"/>
                  <a:gd name="T7" fmla="*/ 76 h 167"/>
                  <a:gd name="T8" fmla="*/ 161 w 183"/>
                  <a:gd name="T9" fmla="*/ 93 h 167"/>
                  <a:gd name="T10" fmla="*/ 167 w 183"/>
                  <a:gd name="T11" fmla="*/ 96 h 167"/>
                  <a:gd name="T12" fmla="*/ 161 w 183"/>
                  <a:gd name="T13" fmla="*/ 114 h 167"/>
                  <a:gd name="T14" fmla="*/ 137 w 183"/>
                  <a:gd name="T15" fmla="*/ 121 h 167"/>
                  <a:gd name="T16" fmla="*/ 112 w 183"/>
                  <a:gd name="T17" fmla="*/ 114 h 167"/>
                  <a:gd name="T18" fmla="*/ 119 w 183"/>
                  <a:gd name="T19" fmla="*/ 121 h 167"/>
                  <a:gd name="T20" fmla="*/ 119 w 183"/>
                  <a:gd name="T21" fmla="*/ 143 h 167"/>
                  <a:gd name="T22" fmla="*/ 126 w 183"/>
                  <a:gd name="T23" fmla="*/ 150 h 167"/>
                  <a:gd name="T24" fmla="*/ 105 w 183"/>
                  <a:gd name="T25" fmla="*/ 167 h 167"/>
                  <a:gd name="T26" fmla="*/ 97 w 183"/>
                  <a:gd name="T27" fmla="*/ 167 h 167"/>
                  <a:gd name="T28" fmla="*/ 85 w 183"/>
                  <a:gd name="T29" fmla="*/ 158 h 167"/>
                  <a:gd name="T30" fmla="*/ 75 w 183"/>
                  <a:gd name="T31" fmla="*/ 150 h 167"/>
                  <a:gd name="T32" fmla="*/ 75 w 183"/>
                  <a:gd name="T33" fmla="*/ 128 h 167"/>
                  <a:gd name="T34" fmla="*/ 70 w 183"/>
                  <a:gd name="T35" fmla="*/ 114 h 167"/>
                  <a:gd name="T36" fmla="*/ 75 w 183"/>
                  <a:gd name="T37" fmla="*/ 84 h 167"/>
                  <a:gd name="T38" fmla="*/ 55 w 183"/>
                  <a:gd name="T39" fmla="*/ 84 h 167"/>
                  <a:gd name="T40" fmla="*/ 43 w 183"/>
                  <a:gd name="T41" fmla="*/ 76 h 167"/>
                  <a:gd name="T42" fmla="*/ 22 w 183"/>
                  <a:gd name="T43" fmla="*/ 76 h 167"/>
                  <a:gd name="T44" fmla="*/ 12 w 183"/>
                  <a:gd name="T45" fmla="*/ 69 h 167"/>
                  <a:gd name="T46" fmla="*/ 12 w 183"/>
                  <a:gd name="T47" fmla="*/ 52 h 167"/>
                  <a:gd name="T48" fmla="*/ 0 w 183"/>
                  <a:gd name="T49" fmla="*/ 37 h 167"/>
                  <a:gd name="T50" fmla="*/ 22 w 183"/>
                  <a:gd name="T51" fmla="*/ 9 h 167"/>
                  <a:gd name="T52" fmla="*/ 27 w 183"/>
                  <a:gd name="T53" fmla="*/ 22 h 167"/>
                  <a:gd name="T54" fmla="*/ 22 w 183"/>
                  <a:gd name="T55" fmla="*/ 29 h 167"/>
                  <a:gd name="T56" fmla="*/ 22 w 183"/>
                  <a:gd name="T57" fmla="*/ 46 h 167"/>
                  <a:gd name="T58" fmla="*/ 27 w 183"/>
                  <a:gd name="T59" fmla="*/ 37 h 167"/>
                  <a:gd name="T60" fmla="*/ 27 w 183"/>
                  <a:gd name="T61" fmla="*/ 22 h 167"/>
                  <a:gd name="T62" fmla="*/ 43 w 183"/>
                  <a:gd name="T63" fmla="*/ 9 h 167"/>
                  <a:gd name="T64" fmla="*/ 43 w 183"/>
                  <a:gd name="T65" fmla="*/ 0 h 167"/>
                  <a:gd name="T66" fmla="*/ 43 w 183"/>
                  <a:gd name="T67" fmla="*/ 9 h 167"/>
                  <a:gd name="T68" fmla="*/ 70 w 183"/>
                  <a:gd name="T69" fmla="*/ 9 h 167"/>
                  <a:gd name="T70" fmla="*/ 70 w 183"/>
                  <a:gd name="T71" fmla="*/ 22 h 167"/>
                  <a:gd name="T72" fmla="*/ 97 w 183"/>
                  <a:gd name="T73" fmla="*/ 22 h 167"/>
                  <a:gd name="T74" fmla="*/ 112 w 183"/>
                  <a:gd name="T75" fmla="*/ 29 h 167"/>
                  <a:gd name="T76" fmla="*/ 126 w 183"/>
                  <a:gd name="T77" fmla="*/ 22 h 167"/>
                  <a:gd name="T78" fmla="*/ 147 w 183"/>
                  <a:gd name="T79" fmla="*/ 22 h 167"/>
                  <a:gd name="T80" fmla="*/ 137 w 183"/>
                  <a:gd name="T81" fmla="*/ 22 h 167"/>
                  <a:gd name="T82" fmla="*/ 161 w 183"/>
                  <a:gd name="T83" fmla="*/ 37 h 167"/>
                  <a:gd name="T84" fmla="*/ 161 w 183"/>
                  <a:gd name="T85" fmla="*/ 52 h 167"/>
                  <a:gd name="T86" fmla="*/ 167 w 183"/>
                  <a:gd name="T87" fmla="*/ 46 h 167"/>
                  <a:gd name="T88" fmla="*/ 183 w 183"/>
                  <a:gd name="T89" fmla="*/ 52 h 167"/>
                  <a:gd name="T90" fmla="*/ 183 w 183"/>
                  <a:gd name="T91" fmla="*/ 52 h 167"/>
                  <a:gd name="T92" fmla="*/ 183 w 183"/>
                  <a:gd name="T93" fmla="*/ 52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83" h="167">
                    <a:moveTo>
                      <a:pt x="183" y="52"/>
                    </a:moveTo>
                    <a:lnTo>
                      <a:pt x="167" y="69"/>
                    </a:lnTo>
                    <a:lnTo>
                      <a:pt x="167" y="76"/>
                    </a:lnTo>
                    <a:lnTo>
                      <a:pt x="161" y="76"/>
                    </a:lnTo>
                    <a:lnTo>
                      <a:pt x="161" y="93"/>
                    </a:lnTo>
                    <a:lnTo>
                      <a:pt x="167" y="96"/>
                    </a:lnTo>
                    <a:lnTo>
                      <a:pt x="161" y="114"/>
                    </a:lnTo>
                    <a:lnTo>
                      <a:pt x="137" y="121"/>
                    </a:lnTo>
                    <a:lnTo>
                      <a:pt x="112" y="114"/>
                    </a:lnTo>
                    <a:lnTo>
                      <a:pt x="119" y="121"/>
                    </a:lnTo>
                    <a:lnTo>
                      <a:pt x="119" y="143"/>
                    </a:lnTo>
                    <a:lnTo>
                      <a:pt x="126" y="150"/>
                    </a:lnTo>
                    <a:lnTo>
                      <a:pt x="105" y="167"/>
                    </a:lnTo>
                    <a:lnTo>
                      <a:pt x="97" y="167"/>
                    </a:lnTo>
                    <a:lnTo>
                      <a:pt x="85" y="158"/>
                    </a:lnTo>
                    <a:lnTo>
                      <a:pt x="75" y="150"/>
                    </a:lnTo>
                    <a:lnTo>
                      <a:pt x="75" y="128"/>
                    </a:lnTo>
                    <a:lnTo>
                      <a:pt x="70" y="114"/>
                    </a:lnTo>
                    <a:lnTo>
                      <a:pt x="75" y="84"/>
                    </a:lnTo>
                    <a:lnTo>
                      <a:pt x="55" y="84"/>
                    </a:lnTo>
                    <a:lnTo>
                      <a:pt x="43" y="76"/>
                    </a:lnTo>
                    <a:lnTo>
                      <a:pt x="22" y="76"/>
                    </a:lnTo>
                    <a:lnTo>
                      <a:pt x="12" y="69"/>
                    </a:lnTo>
                    <a:lnTo>
                      <a:pt x="12" y="52"/>
                    </a:lnTo>
                    <a:lnTo>
                      <a:pt x="0" y="37"/>
                    </a:lnTo>
                    <a:lnTo>
                      <a:pt x="22" y="9"/>
                    </a:lnTo>
                    <a:lnTo>
                      <a:pt x="27" y="22"/>
                    </a:lnTo>
                    <a:lnTo>
                      <a:pt x="22" y="29"/>
                    </a:lnTo>
                    <a:lnTo>
                      <a:pt x="22" y="46"/>
                    </a:lnTo>
                    <a:lnTo>
                      <a:pt x="27" y="37"/>
                    </a:lnTo>
                    <a:lnTo>
                      <a:pt x="27" y="22"/>
                    </a:lnTo>
                    <a:lnTo>
                      <a:pt x="43" y="9"/>
                    </a:lnTo>
                    <a:lnTo>
                      <a:pt x="43" y="0"/>
                    </a:lnTo>
                    <a:lnTo>
                      <a:pt x="43" y="9"/>
                    </a:lnTo>
                    <a:lnTo>
                      <a:pt x="70" y="9"/>
                    </a:lnTo>
                    <a:lnTo>
                      <a:pt x="70" y="22"/>
                    </a:lnTo>
                    <a:lnTo>
                      <a:pt x="97" y="22"/>
                    </a:lnTo>
                    <a:lnTo>
                      <a:pt x="112" y="29"/>
                    </a:lnTo>
                    <a:lnTo>
                      <a:pt x="126" y="22"/>
                    </a:lnTo>
                    <a:lnTo>
                      <a:pt x="147" y="22"/>
                    </a:lnTo>
                    <a:lnTo>
                      <a:pt x="137" y="22"/>
                    </a:lnTo>
                    <a:lnTo>
                      <a:pt x="161" y="37"/>
                    </a:lnTo>
                    <a:lnTo>
                      <a:pt x="161" y="52"/>
                    </a:lnTo>
                    <a:lnTo>
                      <a:pt x="167" y="46"/>
                    </a:lnTo>
                    <a:lnTo>
                      <a:pt x="183" y="52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33" name="Freeform 167"/>
              <p:cNvSpPr>
                <a:spLocks/>
              </p:cNvSpPr>
              <p:nvPr/>
            </p:nvSpPr>
            <p:spPr bwMode="auto">
              <a:xfrm>
                <a:off x="2628900" y="4500563"/>
                <a:ext cx="84138" cy="65087"/>
              </a:xfrm>
              <a:custGeom>
                <a:avLst/>
                <a:gdLst>
                  <a:gd name="T0" fmla="*/ 0 w 48"/>
                  <a:gd name="T1" fmla="*/ 28 h 37"/>
                  <a:gd name="T2" fmla="*/ 0 w 48"/>
                  <a:gd name="T3" fmla="*/ 0 h 37"/>
                  <a:gd name="T4" fmla="*/ 21 w 48"/>
                  <a:gd name="T5" fmla="*/ 0 h 37"/>
                  <a:gd name="T6" fmla="*/ 21 w 48"/>
                  <a:gd name="T7" fmla="*/ 7 h 37"/>
                  <a:gd name="T8" fmla="*/ 35 w 48"/>
                  <a:gd name="T9" fmla="*/ 7 h 37"/>
                  <a:gd name="T10" fmla="*/ 48 w 48"/>
                  <a:gd name="T11" fmla="*/ 22 h 37"/>
                  <a:gd name="T12" fmla="*/ 42 w 48"/>
                  <a:gd name="T13" fmla="*/ 28 h 37"/>
                  <a:gd name="T14" fmla="*/ 42 w 48"/>
                  <a:gd name="T15" fmla="*/ 22 h 37"/>
                  <a:gd name="T16" fmla="*/ 13 w 48"/>
                  <a:gd name="T17" fmla="*/ 28 h 37"/>
                  <a:gd name="T18" fmla="*/ 13 w 48"/>
                  <a:gd name="T19" fmla="*/ 22 h 37"/>
                  <a:gd name="T20" fmla="*/ 6 w 48"/>
                  <a:gd name="T21" fmla="*/ 28 h 37"/>
                  <a:gd name="T22" fmla="*/ 6 w 48"/>
                  <a:gd name="T23" fmla="*/ 37 h 37"/>
                  <a:gd name="T24" fmla="*/ 0 w 48"/>
                  <a:gd name="T25" fmla="*/ 28 h 37"/>
                  <a:gd name="T26" fmla="*/ 0 w 48"/>
                  <a:gd name="T27" fmla="*/ 28 h 37"/>
                  <a:gd name="T28" fmla="*/ 0 w 48"/>
                  <a:gd name="T29" fmla="*/ 2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37">
                    <a:moveTo>
                      <a:pt x="0" y="28"/>
                    </a:moveTo>
                    <a:lnTo>
                      <a:pt x="0" y="0"/>
                    </a:lnTo>
                    <a:lnTo>
                      <a:pt x="21" y="0"/>
                    </a:lnTo>
                    <a:lnTo>
                      <a:pt x="21" y="7"/>
                    </a:lnTo>
                    <a:lnTo>
                      <a:pt x="35" y="7"/>
                    </a:lnTo>
                    <a:lnTo>
                      <a:pt x="48" y="22"/>
                    </a:lnTo>
                    <a:lnTo>
                      <a:pt x="42" y="28"/>
                    </a:lnTo>
                    <a:lnTo>
                      <a:pt x="42" y="22"/>
                    </a:lnTo>
                    <a:lnTo>
                      <a:pt x="13" y="28"/>
                    </a:lnTo>
                    <a:lnTo>
                      <a:pt x="13" y="22"/>
                    </a:lnTo>
                    <a:lnTo>
                      <a:pt x="6" y="28"/>
                    </a:lnTo>
                    <a:lnTo>
                      <a:pt x="6" y="37"/>
                    </a:lnTo>
                    <a:lnTo>
                      <a:pt x="0" y="28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34" name="Freeform 168"/>
              <p:cNvSpPr>
                <a:spLocks/>
              </p:cNvSpPr>
              <p:nvPr/>
            </p:nvSpPr>
            <p:spPr bwMode="auto">
              <a:xfrm>
                <a:off x="2565400" y="4500563"/>
                <a:ext cx="63500" cy="44450"/>
              </a:xfrm>
              <a:custGeom>
                <a:avLst/>
                <a:gdLst>
                  <a:gd name="T0" fmla="*/ 37 w 37"/>
                  <a:gd name="T1" fmla="*/ 25 h 25"/>
                  <a:gd name="T2" fmla="*/ 37 w 37"/>
                  <a:gd name="T3" fmla="*/ 0 h 25"/>
                  <a:gd name="T4" fmla="*/ 15 w 37"/>
                  <a:gd name="T5" fmla="*/ 0 h 25"/>
                  <a:gd name="T6" fmla="*/ 27 w 37"/>
                  <a:gd name="T7" fmla="*/ 22 h 25"/>
                  <a:gd name="T8" fmla="*/ 0 w 37"/>
                  <a:gd name="T9" fmla="*/ 25 h 25"/>
                  <a:gd name="T10" fmla="*/ 37 w 37"/>
                  <a:gd name="T11" fmla="*/ 25 h 25"/>
                  <a:gd name="T12" fmla="*/ 37 w 37"/>
                  <a:gd name="T13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" h="25">
                    <a:moveTo>
                      <a:pt x="37" y="25"/>
                    </a:moveTo>
                    <a:lnTo>
                      <a:pt x="37" y="0"/>
                    </a:lnTo>
                    <a:lnTo>
                      <a:pt x="15" y="0"/>
                    </a:lnTo>
                    <a:lnTo>
                      <a:pt x="27" y="22"/>
                    </a:lnTo>
                    <a:lnTo>
                      <a:pt x="0" y="25"/>
                    </a:lnTo>
                    <a:lnTo>
                      <a:pt x="37" y="25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35" name="Freeform 169"/>
              <p:cNvSpPr>
                <a:spLocks/>
              </p:cNvSpPr>
              <p:nvPr/>
            </p:nvSpPr>
            <p:spPr bwMode="auto">
              <a:xfrm>
                <a:off x="2938463" y="5827713"/>
                <a:ext cx="141287" cy="133350"/>
              </a:xfrm>
              <a:custGeom>
                <a:avLst/>
                <a:gdLst>
                  <a:gd name="T0" fmla="*/ 72 w 80"/>
                  <a:gd name="T1" fmla="*/ 53 h 75"/>
                  <a:gd name="T2" fmla="*/ 80 w 80"/>
                  <a:gd name="T3" fmla="*/ 30 h 75"/>
                  <a:gd name="T4" fmla="*/ 72 w 80"/>
                  <a:gd name="T5" fmla="*/ 21 h 75"/>
                  <a:gd name="T6" fmla="*/ 43 w 80"/>
                  <a:gd name="T7" fmla="*/ 6 h 75"/>
                  <a:gd name="T8" fmla="*/ 36 w 80"/>
                  <a:gd name="T9" fmla="*/ 6 h 75"/>
                  <a:gd name="T10" fmla="*/ 26 w 80"/>
                  <a:gd name="T11" fmla="*/ 0 h 75"/>
                  <a:gd name="T12" fmla="*/ 13 w 80"/>
                  <a:gd name="T13" fmla="*/ 0 h 75"/>
                  <a:gd name="T14" fmla="*/ 0 w 80"/>
                  <a:gd name="T15" fmla="*/ 58 h 75"/>
                  <a:gd name="T16" fmla="*/ 6 w 80"/>
                  <a:gd name="T17" fmla="*/ 58 h 75"/>
                  <a:gd name="T18" fmla="*/ 36 w 80"/>
                  <a:gd name="T19" fmla="*/ 75 h 75"/>
                  <a:gd name="T20" fmla="*/ 58 w 80"/>
                  <a:gd name="T21" fmla="*/ 75 h 75"/>
                  <a:gd name="T22" fmla="*/ 72 w 80"/>
                  <a:gd name="T23" fmla="*/ 53 h 75"/>
                  <a:gd name="T24" fmla="*/ 72 w 80"/>
                  <a:gd name="T25" fmla="*/ 53 h 75"/>
                  <a:gd name="T26" fmla="*/ 72 w 80"/>
                  <a:gd name="T27" fmla="*/ 53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0" h="75">
                    <a:moveTo>
                      <a:pt x="72" y="53"/>
                    </a:moveTo>
                    <a:lnTo>
                      <a:pt x="80" y="30"/>
                    </a:lnTo>
                    <a:lnTo>
                      <a:pt x="72" y="21"/>
                    </a:lnTo>
                    <a:lnTo>
                      <a:pt x="43" y="6"/>
                    </a:lnTo>
                    <a:lnTo>
                      <a:pt x="36" y="6"/>
                    </a:lnTo>
                    <a:lnTo>
                      <a:pt x="26" y="0"/>
                    </a:lnTo>
                    <a:lnTo>
                      <a:pt x="13" y="0"/>
                    </a:lnTo>
                    <a:lnTo>
                      <a:pt x="0" y="58"/>
                    </a:lnTo>
                    <a:lnTo>
                      <a:pt x="6" y="58"/>
                    </a:lnTo>
                    <a:lnTo>
                      <a:pt x="36" y="75"/>
                    </a:lnTo>
                    <a:lnTo>
                      <a:pt x="58" y="75"/>
                    </a:lnTo>
                    <a:lnTo>
                      <a:pt x="72" y="53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36" name="Freeform 170"/>
              <p:cNvSpPr>
                <a:spLocks/>
              </p:cNvSpPr>
              <p:nvPr/>
            </p:nvSpPr>
            <p:spPr bwMode="auto">
              <a:xfrm>
                <a:off x="2476500" y="4540250"/>
                <a:ext cx="36513" cy="46038"/>
              </a:xfrm>
              <a:custGeom>
                <a:avLst/>
                <a:gdLst>
                  <a:gd name="T0" fmla="*/ 0 w 21"/>
                  <a:gd name="T1" fmla="*/ 10 h 26"/>
                  <a:gd name="T2" fmla="*/ 13 w 21"/>
                  <a:gd name="T3" fmla="*/ 26 h 26"/>
                  <a:gd name="T4" fmla="*/ 21 w 21"/>
                  <a:gd name="T5" fmla="*/ 10 h 26"/>
                  <a:gd name="T6" fmla="*/ 6 w 21"/>
                  <a:gd name="T7" fmla="*/ 0 h 26"/>
                  <a:gd name="T8" fmla="*/ 0 w 21"/>
                  <a:gd name="T9" fmla="*/ 10 h 26"/>
                  <a:gd name="T10" fmla="*/ 0 w 21"/>
                  <a:gd name="T11" fmla="*/ 10 h 26"/>
                  <a:gd name="T12" fmla="*/ 0 w 21"/>
                  <a:gd name="T13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" h="26">
                    <a:moveTo>
                      <a:pt x="0" y="10"/>
                    </a:moveTo>
                    <a:lnTo>
                      <a:pt x="13" y="26"/>
                    </a:lnTo>
                    <a:lnTo>
                      <a:pt x="21" y="10"/>
                    </a:lnTo>
                    <a:lnTo>
                      <a:pt x="6" y="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37" name="Freeform 171"/>
              <p:cNvSpPr>
                <a:spLocks/>
              </p:cNvSpPr>
              <p:nvPr/>
            </p:nvSpPr>
            <p:spPr bwMode="auto">
              <a:xfrm>
                <a:off x="2325688" y="4410075"/>
                <a:ext cx="236537" cy="90488"/>
              </a:xfrm>
              <a:custGeom>
                <a:avLst/>
                <a:gdLst>
                  <a:gd name="T0" fmla="*/ 0 w 134"/>
                  <a:gd name="T1" fmla="*/ 22 h 52"/>
                  <a:gd name="T2" fmla="*/ 7 w 134"/>
                  <a:gd name="T3" fmla="*/ 22 h 52"/>
                  <a:gd name="T4" fmla="*/ 22 w 134"/>
                  <a:gd name="T5" fmla="*/ 6 h 52"/>
                  <a:gd name="T6" fmla="*/ 44 w 134"/>
                  <a:gd name="T7" fmla="*/ 13 h 52"/>
                  <a:gd name="T8" fmla="*/ 35 w 134"/>
                  <a:gd name="T9" fmla="*/ 13 h 52"/>
                  <a:gd name="T10" fmla="*/ 44 w 134"/>
                  <a:gd name="T11" fmla="*/ 13 h 52"/>
                  <a:gd name="T12" fmla="*/ 77 w 134"/>
                  <a:gd name="T13" fmla="*/ 22 h 52"/>
                  <a:gd name="T14" fmla="*/ 86 w 134"/>
                  <a:gd name="T15" fmla="*/ 45 h 52"/>
                  <a:gd name="T16" fmla="*/ 99 w 134"/>
                  <a:gd name="T17" fmla="*/ 45 h 52"/>
                  <a:gd name="T18" fmla="*/ 94 w 134"/>
                  <a:gd name="T19" fmla="*/ 52 h 52"/>
                  <a:gd name="T20" fmla="*/ 134 w 134"/>
                  <a:gd name="T21" fmla="*/ 52 h 52"/>
                  <a:gd name="T22" fmla="*/ 127 w 134"/>
                  <a:gd name="T23" fmla="*/ 45 h 52"/>
                  <a:gd name="T24" fmla="*/ 121 w 134"/>
                  <a:gd name="T25" fmla="*/ 45 h 52"/>
                  <a:gd name="T26" fmla="*/ 121 w 134"/>
                  <a:gd name="T27" fmla="*/ 28 h 52"/>
                  <a:gd name="T28" fmla="*/ 44 w 134"/>
                  <a:gd name="T29" fmla="*/ 0 h 52"/>
                  <a:gd name="T30" fmla="*/ 14 w 134"/>
                  <a:gd name="T31" fmla="*/ 6 h 52"/>
                  <a:gd name="T32" fmla="*/ 0 w 134"/>
                  <a:gd name="T33" fmla="*/ 22 h 52"/>
                  <a:gd name="T34" fmla="*/ 0 w 134"/>
                  <a:gd name="T35" fmla="*/ 22 h 52"/>
                  <a:gd name="T36" fmla="*/ 0 w 134"/>
                  <a:gd name="T37" fmla="*/ 2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4" h="52">
                    <a:moveTo>
                      <a:pt x="0" y="22"/>
                    </a:moveTo>
                    <a:lnTo>
                      <a:pt x="7" y="22"/>
                    </a:lnTo>
                    <a:lnTo>
                      <a:pt x="22" y="6"/>
                    </a:lnTo>
                    <a:lnTo>
                      <a:pt x="44" y="13"/>
                    </a:lnTo>
                    <a:lnTo>
                      <a:pt x="35" y="13"/>
                    </a:lnTo>
                    <a:lnTo>
                      <a:pt x="44" y="13"/>
                    </a:lnTo>
                    <a:lnTo>
                      <a:pt x="77" y="22"/>
                    </a:lnTo>
                    <a:lnTo>
                      <a:pt x="86" y="45"/>
                    </a:lnTo>
                    <a:lnTo>
                      <a:pt x="99" y="45"/>
                    </a:lnTo>
                    <a:lnTo>
                      <a:pt x="94" y="52"/>
                    </a:lnTo>
                    <a:lnTo>
                      <a:pt x="134" y="52"/>
                    </a:lnTo>
                    <a:lnTo>
                      <a:pt x="127" y="45"/>
                    </a:lnTo>
                    <a:lnTo>
                      <a:pt x="121" y="45"/>
                    </a:lnTo>
                    <a:lnTo>
                      <a:pt x="121" y="28"/>
                    </a:lnTo>
                    <a:lnTo>
                      <a:pt x="44" y="0"/>
                    </a:lnTo>
                    <a:lnTo>
                      <a:pt x="14" y="6"/>
                    </a:lnTo>
                    <a:lnTo>
                      <a:pt x="0" y="22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38" name="Freeform 172"/>
              <p:cNvSpPr>
                <a:spLocks/>
              </p:cNvSpPr>
              <p:nvPr/>
            </p:nvSpPr>
            <p:spPr bwMode="auto">
              <a:xfrm>
                <a:off x="2495550" y="4344988"/>
                <a:ext cx="44450" cy="47625"/>
              </a:xfrm>
              <a:custGeom>
                <a:avLst/>
                <a:gdLst>
                  <a:gd name="T0" fmla="*/ 0 w 25"/>
                  <a:gd name="T1" fmla="*/ 0 h 27"/>
                  <a:gd name="T2" fmla="*/ 0 w 25"/>
                  <a:gd name="T3" fmla="*/ 10 h 27"/>
                  <a:gd name="T4" fmla="*/ 25 w 25"/>
                  <a:gd name="T5" fmla="*/ 27 h 27"/>
                  <a:gd name="T6" fmla="*/ 25 w 25"/>
                  <a:gd name="T7" fmla="*/ 10 h 27"/>
                  <a:gd name="T8" fmla="*/ 0 w 25"/>
                  <a:gd name="T9" fmla="*/ 0 h 27"/>
                  <a:gd name="T10" fmla="*/ 0 w 25"/>
                  <a:gd name="T11" fmla="*/ 0 h 27"/>
                  <a:gd name="T12" fmla="*/ 0 w 25"/>
                  <a:gd name="T13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" h="27">
                    <a:moveTo>
                      <a:pt x="0" y="0"/>
                    </a:moveTo>
                    <a:lnTo>
                      <a:pt x="0" y="10"/>
                    </a:lnTo>
                    <a:lnTo>
                      <a:pt x="25" y="27"/>
                    </a:lnTo>
                    <a:lnTo>
                      <a:pt x="25" y="1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39" name="Freeform 173"/>
              <p:cNvSpPr>
                <a:spLocks/>
              </p:cNvSpPr>
              <p:nvPr/>
            </p:nvSpPr>
            <p:spPr bwMode="auto">
              <a:xfrm>
                <a:off x="2478088" y="4351338"/>
                <a:ext cx="38100" cy="58737"/>
              </a:xfrm>
              <a:custGeom>
                <a:avLst/>
                <a:gdLst>
                  <a:gd name="T0" fmla="*/ 0 w 22"/>
                  <a:gd name="T1" fmla="*/ 0 h 34"/>
                  <a:gd name="T2" fmla="*/ 0 w 22"/>
                  <a:gd name="T3" fmla="*/ 10 h 34"/>
                  <a:gd name="T4" fmla="*/ 22 w 22"/>
                  <a:gd name="T5" fmla="*/ 34 h 34"/>
                  <a:gd name="T6" fmla="*/ 22 w 22"/>
                  <a:gd name="T7" fmla="*/ 10 h 34"/>
                  <a:gd name="T8" fmla="*/ 0 w 22"/>
                  <a:gd name="T9" fmla="*/ 0 h 34"/>
                  <a:gd name="T10" fmla="*/ 0 w 22"/>
                  <a:gd name="T11" fmla="*/ 0 h 34"/>
                  <a:gd name="T12" fmla="*/ 0 w 22"/>
                  <a:gd name="T13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2" h="34">
                    <a:moveTo>
                      <a:pt x="0" y="0"/>
                    </a:moveTo>
                    <a:lnTo>
                      <a:pt x="0" y="10"/>
                    </a:lnTo>
                    <a:lnTo>
                      <a:pt x="22" y="34"/>
                    </a:lnTo>
                    <a:lnTo>
                      <a:pt x="22" y="1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40" name="Freeform 174"/>
              <p:cNvSpPr>
                <a:spLocks/>
              </p:cNvSpPr>
              <p:nvPr/>
            </p:nvSpPr>
            <p:spPr bwMode="auto">
              <a:xfrm>
                <a:off x="4891088" y="4156075"/>
                <a:ext cx="276225" cy="292100"/>
              </a:xfrm>
              <a:custGeom>
                <a:avLst/>
                <a:gdLst>
                  <a:gd name="T0" fmla="*/ 158 w 158"/>
                  <a:gd name="T1" fmla="*/ 151 h 167"/>
                  <a:gd name="T2" fmla="*/ 127 w 158"/>
                  <a:gd name="T3" fmla="*/ 167 h 167"/>
                  <a:gd name="T4" fmla="*/ 122 w 158"/>
                  <a:gd name="T5" fmla="*/ 158 h 167"/>
                  <a:gd name="T6" fmla="*/ 7 w 158"/>
                  <a:gd name="T7" fmla="*/ 158 h 167"/>
                  <a:gd name="T8" fmla="*/ 7 w 158"/>
                  <a:gd name="T9" fmla="*/ 52 h 167"/>
                  <a:gd name="T10" fmla="*/ 0 w 158"/>
                  <a:gd name="T11" fmla="*/ 37 h 167"/>
                  <a:gd name="T12" fmla="*/ 7 w 158"/>
                  <a:gd name="T13" fmla="*/ 0 h 167"/>
                  <a:gd name="T14" fmla="*/ 7 w 158"/>
                  <a:gd name="T15" fmla="*/ 15 h 167"/>
                  <a:gd name="T16" fmla="*/ 35 w 158"/>
                  <a:gd name="T17" fmla="*/ 15 h 167"/>
                  <a:gd name="T18" fmla="*/ 57 w 158"/>
                  <a:gd name="T19" fmla="*/ 24 h 167"/>
                  <a:gd name="T20" fmla="*/ 92 w 158"/>
                  <a:gd name="T21" fmla="*/ 15 h 167"/>
                  <a:gd name="T22" fmla="*/ 101 w 158"/>
                  <a:gd name="T23" fmla="*/ 15 h 167"/>
                  <a:gd name="T24" fmla="*/ 101 w 158"/>
                  <a:gd name="T25" fmla="*/ 24 h 167"/>
                  <a:gd name="T26" fmla="*/ 116 w 158"/>
                  <a:gd name="T27" fmla="*/ 15 h 167"/>
                  <a:gd name="T28" fmla="*/ 116 w 158"/>
                  <a:gd name="T29" fmla="*/ 24 h 167"/>
                  <a:gd name="T30" fmla="*/ 127 w 158"/>
                  <a:gd name="T31" fmla="*/ 15 h 167"/>
                  <a:gd name="T32" fmla="*/ 136 w 158"/>
                  <a:gd name="T33" fmla="*/ 47 h 167"/>
                  <a:gd name="T34" fmla="*/ 127 w 158"/>
                  <a:gd name="T35" fmla="*/ 76 h 167"/>
                  <a:gd name="T36" fmla="*/ 116 w 158"/>
                  <a:gd name="T37" fmla="*/ 30 h 167"/>
                  <a:gd name="T38" fmla="*/ 116 w 158"/>
                  <a:gd name="T39" fmla="*/ 47 h 167"/>
                  <a:gd name="T40" fmla="*/ 158 w 158"/>
                  <a:gd name="T41" fmla="*/ 151 h 167"/>
                  <a:gd name="T42" fmla="*/ 158 w 158"/>
                  <a:gd name="T43" fmla="*/ 151 h 167"/>
                  <a:gd name="T44" fmla="*/ 158 w 158"/>
                  <a:gd name="T45" fmla="*/ 151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58" h="167">
                    <a:moveTo>
                      <a:pt x="158" y="151"/>
                    </a:moveTo>
                    <a:lnTo>
                      <a:pt x="127" y="167"/>
                    </a:lnTo>
                    <a:lnTo>
                      <a:pt x="122" y="158"/>
                    </a:lnTo>
                    <a:lnTo>
                      <a:pt x="7" y="158"/>
                    </a:lnTo>
                    <a:lnTo>
                      <a:pt x="7" y="52"/>
                    </a:lnTo>
                    <a:lnTo>
                      <a:pt x="0" y="37"/>
                    </a:lnTo>
                    <a:lnTo>
                      <a:pt x="7" y="0"/>
                    </a:lnTo>
                    <a:lnTo>
                      <a:pt x="7" y="15"/>
                    </a:lnTo>
                    <a:lnTo>
                      <a:pt x="35" y="15"/>
                    </a:lnTo>
                    <a:lnTo>
                      <a:pt x="57" y="24"/>
                    </a:lnTo>
                    <a:lnTo>
                      <a:pt x="92" y="15"/>
                    </a:lnTo>
                    <a:lnTo>
                      <a:pt x="101" y="15"/>
                    </a:lnTo>
                    <a:lnTo>
                      <a:pt x="101" y="24"/>
                    </a:lnTo>
                    <a:lnTo>
                      <a:pt x="116" y="15"/>
                    </a:lnTo>
                    <a:lnTo>
                      <a:pt x="116" y="24"/>
                    </a:lnTo>
                    <a:lnTo>
                      <a:pt x="127" y="15"/>
                    </a:lnTo>
                    <a:lnTo>
                      <a:pt x="136" y="47"/>
                    </a:lnTo>
                    <a:lnTo>
                      <a:pt x="127" y="76"/>
                    </a:lnTo>
                    <a:lnTo>
                      <a:pt x="116" y="30"/>
                    </a:lnTo>
                    <a:lnTo>
                      <a:pt x="116" y="47"/>
                    </a:lnTo>
                    <a:lnTo>
                      <a:pt x="158" y="151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41" name="Freeform 175"/>
              <p:cNvSpPr>
                <a:spLocks/>
              </p:cNvSpPr>
              <p:nvPr/>
            </p:nvSpPr>
            <p:spPr bwMode="auto">
              <a:xfrm>
                <a:off x="4546600" y="4133850"/>
                <a:ext cx="358775" cy="371475"/>
              </a:xfrm>
              <a:custGeom>
                <a:avLst/>
                <a:gdLst>
                  <a:gd name="T0" fmla="*/ 29 w 204"/>
                  <a:gd name="T1" fmla="*/ 156 h 213"/>
                  <a:gd name="T2" fmla="*/ 20 w 204"/>
                  <a:gd name="T3" fmla="*/ 134 h 213"/>
                  <a:gd name="T4" fmla="*/ 15 w 204"/>
                  <a:gd name="T5" fmla="*/ 134 h 213"/>
                  <a:gd name="T6" fmla="*/ 0 w 204"/>
                  <a:gd name="T7" fmla="*/ 112 h 213"/>
                  <a:gd name="T8" fmla="*/ 8 w 204"/>
                  <a:gd name="T9" fmla="*/ 97 h 213"/>
                  <a:gd name="T10" fmla="*/ 8 w 204"/>
                  <a:gd name="T11" fmla="*/ 62 h 213"/>
                  <a:gd name="T12" fmla="*/ 0 w 204"/>
                  <a:gd name="T13" fmla="*/ 50 h 213"/>
                  <a:gd name="T14" fmla="*/ 0 w 204"/>
                  <a:gd name="T15" fmla="*/ 43 h 213"/>
                  <a:gd name="T16" fmla="*/ 8 w 204"/>
                  <a:gd name="T17" fmla="*/ 38 h 213"/>
                  <a:gd name="T18" fmla="*/ 8 w 204"/>
                  <a:gd name="T19" fmla="*/ 28 h 213"/>
                  <a:gd name="T20" fmla="*/ 20 w 204"/>
                  <a:gd name="T21" fmla="*/ 8 h 213"/>
                  <a:gd name="T22" fmla="*/ 20 w 204"/>
                  <a:gd name="T23" fmla="*/ 0 h 213"/>
                  <a:gd name="T24" fmla="*/ 40 w 204"/>
                  <a:gd name="T25" fmla="*/ 0 h 213"/>
                  <a:gd name="T26" fmla="*/ 64 w 204"/>
                  <a:gd name="T27" fmla="*/ 8 h 213"/>
                  <a:gd name="T28" fmla="*/ 85 w 204"/>
                  <a:gd name="T29" fmla="*/ 8 h 213"/>
                  <a:gd name="T30" fmla="*/ 85 w 204"/>
                  <a:gd name="T31" fmla="*/ 28 h 213"/>
                  <a:gd name="T32" fmla="*/ 134 w 204"/>
                  <a:gd name="T33" fmla="*/ 43 h 213"/>
                  <a:gd name="T34" fmla="*/ 141 w 204"/>
                  <a:gd name="T35" fmla="*/ 38 h 213"/>
                  <a:gd name="T36" fmla="*/ 141 w 204"/>
                  <a:gd name="T37" fmla="*/ 17 h 213"/>
                  <a:gd name="T38" fmla="*/ 163 w 204"/>
                  <a:gd name="T39" fmla="*/ 0 h 213"/>
                  <a:gd name="T40" fmla="*/ 184 w 204"/>
                  <a:gd name="T41" fmla="*/ 8 h 213"/>
                  <a:gd name="T42" fmla="*/ 184 w 204"/>
                  <a:gd name="T43" fmla="*/ 17 h 213"/>
                  <a:gd name="T44" fmla="*/ 204 w 204"/>
                  <a:gd name="T45" fmla="*/ 17 h 213"/>
                  <a:gd name="T46" fmla="*/ 199 w 204"/>
                  <a:gd name="T47" fmla="*/ 50 h 213"/>
                  <a:gd name="T48" fmla="*/ 204 w 204"/>
                  <a:gd name="T49" fmla="*/ 67 h 213"/>
                  <a:gd name="T50" fmla="*/ 204 w 204"/>
                  <a:gd name="T51" fmla="*/ 200 h 213"/>
                  <a:gd name="T52" fmla="*/ 199 w 204"/>
                  <a:gd name="T53" fmla="*/ 208 h 213"/>
                  <a:gd name="T54" fmla="*/ 191 w 204"/>
                  <a:gd name="T55" fmla="*/ 213 h 213"/>
                  <a:gd name="T56" fmla="*/ 94 w 204"/>
                  <a:gd name="T57" fmla="*/ 156 h 213"/>
                  <a:gd name="T58" fmla="*/ 70 w 204"/>
                  <a:gd name="T59" fmla="*/ 163 h 213"/>
                  <a:gd name="T60" fmla="*/ 64 w 204"/>
                  <a:gd name="T61" fmla="*/ 156 h 213"/>
                  <a:gd name="T62" fmla="*/ 29 w 204"/>
                  <a:gd name="T63" fmla="*/ 156 h 213"/>
                  <a:gd name="T64" fmla="*/ 29 w 204"/>
                  <a:gd name="T65" fmla="*/ 156 h 213"/>
                  <a:gd name="T66" fmla="*/ 29 w 204"/>
                  <a:gd name="T67" fmla="*/ 156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04" h="213">
                    <a:moveTo>
                      <a:pt x="29" y="156"/>
                    </a:moveTo>
                    <a:lnTo>
                      <a:pt x="20" y="134"/>
                    </a:lnTo>
                    <a:lnTo>
                      <a:pt x="15" y="134"/>
                    </a:lnTo>
                    <a:lnTo>
                      <a:pt x="0" y="112"/>
                    </a:lnTo>
                    <a:lnTo>
                      <a:pt x="8" y="97"/>
                    </a:lnTo>
                    <a:lnTo>
                      <a:pt x="8" y="62"/>
                    </a:lnTo>
                    <a:lnTo>
                      <a:pt x="0" y="50"/>
                    </a:lnTo>
                    <a:lnTo>
                      <a:pt x="0" y="43"/>
                    </a:lnTo>
                    <a:lnTo>
                      <a:pt x="8" y="38"/>
                    </a:lnTo>
                    <a:lnTo>
                      <a:pt x="8" y="28"/>
                    </a:lnTo>
                    <a:lnTo>
                      <a:pt x="20" y="8"/>
                    </a:lnTo>
                    <a:lnTo>
                      <a:pt x="20" y="0"/>
                    </a:lnTo>
                    <a:lnTo>
                      <a:pt x="40" y="0"/>
                    </a:lnTo>
                    <a:lnTo>
                      <a:pt x="64" y="8"/>
                    </a:lnTo>
                    <a:lnTo>
                      <a:pt x="85" y="8"/>
                    </a:lnTo>
                    <a:lnTo>
                      <a:pt x="85" y="28"/>
                    </a:lnTo>
                    <a:lnTo>
                      <a:pt x="134" y="43"/>
                    </a:lnTo>
                    <a:lnTo>
                      <a:pt x="141" y="38"/>
                    </a:lnTo>
                    <a:lnTo>
                      <a:pt x="141" y="17"/>
                    </a:lnTo>
                    <a:lnTo>
                      <a:pt x="163" y="0"/>
                    </a:lnTo>
                    <a:lnTo>
                      <a:pt x="184" y="8"/>
                    </a:lnTo>
                    <a:lnTo>
                      <a:pt x="184" y="17"/>
                    </a:lnTo>
                    <a:lnTo>
                      <a:pt x="204" y="17"/>
                    </a:lnTo>
                    <a:lnTo>
                      <a:pt x="199" y="50"/>
                    </a:lnTo>
                    <a:lnTo>
                      <a:pt x="204" y="67"/>
                    </a:lnTo>
                    <a:lnTo>
                      <a:pt x="204" y="200"/>
                    </a:lnTo>
                    <a:lnTo>
                      <a:pt x="199" y="208"/>
                    </a:lnTo>
                    <a:lnTo>
                      <a:pt x="191" y="213"/>
                    </a:lnTo>
                    <a:lnTo>
                      <a:pt x="94" y="156"/>
                    </a:lnTo>
                    <a:lnTo>
                      <a:pt x="70" y="163"/>
                    </a:lnTo>
                    <a:lnTo>
                      <a:pt x="64" y="156"/>
                    </a:lnTo>
                    <a:lnTo>
                      <a:pt x="29" y="156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42" name="Freeform 176"/>
              <p:cNvSpPr>
                <a:spLocks/>
              </p:cNvSpPr>
              <p:nvPr/>
            </p:nvSpPr>
            <p:spPr bwMode="auto">
              <a:xfrm>
                <a:off x="4119563" y="4003675"/>
                <a:ext cx="484187" cy="501650"/>
              </a:xfrm>
              <a:custGeom>
                <a:avLst/>
                <a:gdLst>
                  <a:gd name="T0" fmla="*/ 87 w 275"/>
                  <a:gd name="T1" fmla="*/ 33 h 287"/>
                  <a:gd name="T2" fmla="*/ 94 w 275"/>
                  <a:gd name="T3" fmla="*/ 33 h 287"/>
                  <a:gd name="T4" fmla="*/ 101 w 275"/>
                  <a:gd name="T5" fmla="*/ 79 h 287"/>
                  <a:gd name="T6" fmla="*/ 65 w 275"/>
                  <a:gd name="T7" fmla="*/ 87 h 287"/>
                  <a:gd name="T8" fmla="*/ 65 w 275"/>
                  <a:gd name="T9" fmla="*/ 101 h 287"/>
                  <a:gd name="T10" fmla="*/ 0 w 275"/>
                  <a:gd name="T11" fmla="*/ 138 h 287"/>
                  <a:gd name="T12" fmla="*/ 0 w 275"/>
                  <a:gd name="T13" fmla="*/ 163 h 287"/>
                  <a:gd name="T14" fmla="*/ 129 w 275"/>
                  <a:gd name="T15" fmla="*/ 257 h 287"/>
                  <a:gd name="T16" fmla="*/ 136 w 275"/>
                  <a:gd name="T17" fmla="*/ 274 h 287"/>
                  <a:gd name="T18" fmla="*/ 166 w 275"/>
                  <a:gd name="T19" fmla="*/ 287 h 287"/>
                  <a:gd name="T20" fmla="*/ 188 w 275"/>
                  <a:gd name="T21" fmla="*/ 287 h 287"/>
                  <a:gd name="T22" fmla="*/ 275 w 275"/>
                  <a:gd name="T23" fmla="*/ 228 h 287"/>
                  <a:gd name="T24" fmla="*/ 265 w 275"/>
                  <a:gd name="T25" fmla="*/ 207 h 287"/>
                  <a:gd name="T26" fmla="*/ 260 w 275"/>
                  <a:gd name="T27" fmla="*/ 207 h 287"/>
                  <a:gd name="T28" fmla="*/ 243 w 275"/>
                  <a:gd name="T29" fmla="*/ 185 h 287"/>
                  <a:gd name="T30" fmla="*/ 251 w 275"/>
                  <a:gd name="T31" fmla="*/ 170 h 287"/>
                  <a:gd name="T32" fmla="*/ 251 w 275"/>
                  <a:gd name="T33" fmla="*/ 134 h 287"/>
                  <a:gd name="T34" fmla="*/ 243 w 275"/>
                  <a:gd name="T35" fmla="*/ 124 h 287"/>
                  <a:gd name="T36" fmla="*/ 243 w 275"/>
                  <a:gd name="T37" fmla="*/ 87 h 287"/>
                  <a:gd name="T38" fmla="*/ 221 w 275"/>
                  <a:gd name="T39" fmla="*/ 79 h 287"/>
                  <a:gd name="T40" fmla="*/ 215 w 275"/>
                  <a:gd name="T41" fmla="*/ 65 h 287"/>
                  <a:gd name="T42" fmla="*/ 230 w 275"/>
                  <a:gd name="T43" fmla="*/ 42 h 287"/>
                  <a:gd name="T44" fmla="*/ 221 w 275"/>
                  <a:gd name="T45" fmla="*/ 6 h 287"/>
                  <a:gd name="T46" fmla="*/ 230 w 275"/>
                  <a:gd name="T47" fmla="*/ 0 h 287"/>
                  <a:gd name="T48" fmla="*/ 221 w 275"/>
                  <a:gd name="T49" fmla="*/ 6 h 287"/>
                  <a:gd name="T50" fmla="*/ 201 w 275"/>
                  <a:gd name="T51" fmla="*/ 0 h 287"/>
                  <a:gd name="T52" fmla="*/ 188 w 275"/>
                  <a:gd name="T53" fmla="*/ 6 h 287"/>
                  <a:gd name="T54" fmla="*/ 173 w 275"/>
                  <a:gd name="T55" fmla="*/ 0 h 287"/>
                  <a:gd name="T56" fmla="*/ 151 w 275"/>
                  <a:gd name="T57" fmla="*/ 6 h 287"/>
                  <a:gd name="T58" fmla="*/ 129 w 275"/>
                  <a:gd name="T59" fmla="*/ 6 h 287"/>
                  <a:gd name="T60" fmla="*/ 87 w 275"/>
                  <a:gd name="T61" fmla="*/ 33 h 287"/>
                  <a:gd name="T62" fmla="*/ 87 w 275"/>
                  <a:gd name="T63" fmla="*/ 33 h 287"/>
                  <a:gd name="T64" fmla="*/ 87 w 275"/>
                  <a:gd name="T65" fmla="*/ 33 h 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75" h="287">
                    <a:moveTo>
                      <a:pt x="87" y="33"/>
                    </a:moveTo>
                    <a:lnTo>
                      <a:pt x="94" y="33"/>
                    </a:lnTo>
                    <a:lnTo>
                      <a:pt x="101" y="79"/>
                    </a:lnTo>
                    <a:lnTo>
                      <a:pt x="65" y="87"/>
                    </a:lnTo>
                    <a:lnTo>
                      <a:pt x="65" y="101"/>
                    </a:lnTo>
                    <a:lnTo>
                      <a:pt x="0" y="138"/>
                    </a:lnTo>
                    <a:lnTo>
                      <a:pt x="0" y="163"/>
                    </a:lnTo>
                    <a:lnTo>
                      <a:pt x="129" y="257"/>
                    </a:lnTo>
                    <a:lnTo>
                      <a:pt x="136" y="274"/>
                    </a:lnTo>
                    <a:lnTo>
                      <a:pt x="166" y="287"/>
                    </a:lnTo>
                    <a:lnTo>
                      <a:pt x="188" y="287"/>
                    </a:lnTo>
                    <a:lnTo>
                      <a:pt x="275" y="228"/>
                    </a:lnTo>
                    <a:lnTo>
                      <a:pt x="265" y="207"/>
                    </a:lnTo>
                    <a:lnTo>
                      <a:pt x="260" y="207"/>
                    </a:lnTo>
                    <a:lnTo>
                      <a:pt x="243" y="185"/>
                    </a:lnTo>
                    <a:lnTo>
                      <a:pt x="251" y="170"/>
                    </a:lnTo>
                    <a:lnTo>
                      <a:pt x="251" y="134"/>
                    </a:lnTo>
                    <a:lnTo>
                      <a:pt x="243" y="124"/>
                    </a:lnTo>
                    <a:lnTo>
                      <a:pt x="243" y="87"/>
                    </a:lnTo>
                    <a:lnTo>
                      <a:pt x="221" y="79"/>
                    </a:lnTo>
                    <a:lnTo>
                      <a:pt x="215" y="65"/>
                    </a:lnTo>
                    <a:lnTo>
                      <a:pt x="230" y="42"/>
                    </a:lnTo>
                    <a:lnTo>
                      <a:pt x="221" y="6"/>
                    </a:lnTo>
                    <a:lnTo>
                      <a:pt x="230" y="0"/>
                    </a:lnTo>
                    <a:lnTo>
                      <a:pt x="221" y="6"/>
                    </a:lnTo>
                    <a:lnTo>
                      <a:pt x="201" y="0"/>
                    </a:lnTo>
                    <a:lnTo>
                      <a:pt x="188" y="6"/>
                    </a:lnTo>
                    <a:lnTo>
                      <a:pt x="173" y="0"/>
                    </a:lnTo>
                    <a:lnTo>
                      <a:pt x="151" y="6"/>
                    </a:lnTo>
                    <a:lnTo>
                      <a:pt x="129" y="6"/>
                    </a:lnTo>
                    <a:lnTo>
                      <a:pt x="87" y="33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43" name="Freeform 177"/>
              <p:cNvSpPr>
                <a:spLocks/>
              </p:cNvSpPr>
              <p:nvPr/>
            </p:nvSpPr>
            <p:spPr bwMode="auto">
              <a:xfrm>
                <a:off x="4032250" y="4351338"/>
                <a:ext cx="392113" cy="403225"/>
              </a:xfrm>
              <a:custGeom>
                <a:avLst/>
                <a:gdLst>
                  <a:gd name="T0" fmla="*/ 100 w 223"/>
                  <a:gd name="T1" fmla="*/ 0 h 232"/>
                  <a:gd name="T2" fmla="*/ 179 w 223"/>
                  <a:gd name="T3" fmla="*/ 61 h 232"/>
                  <a:gd name="T4" fmla="*/ 186 w 223"/>
                  <a:gd name="T5" fmla="*/ 76 h 232"/>
                  <a:gd name="T6" fmla="*/ 216 w 223"/>
                  <a:gd name="T7" fmla="*/ 91 h 232"/>
                  <a:gd name="T8" fmla="*/ 223 w 223"/>
                  <a:gd name="T9" fmla="*/ 91 h 232"/>
                  <a:gd name="T10" fmla="*/ 223 w 223"/>
                  <a:gd name="T11" fmla="*/ 136 h 232"/>
                  <a:gd name="T12" fmla="*/ 216 w 223"/>
                  <a:gd name="T13" fmla="*/ 150 h 232"/>
                  <a:gd name="T14" fmla="*/ 151 w 223"/>
                  <a:gd name="T15" fmla="*/ 158 h 232"/>
                  <a:gd name="T16" fmla="*/ 137 w 223"/>
                  <a:gd name="T17" fmla="*/ 173 h 232"/>
                  <a:gd name="T18" fmla="*/ 115 w 223"/>
                  <a:gd name="T19" fmla="*/ 180 h 232"/>
                  <a:gd name="T20" fmla="*/ 94 w 223"/>
                  <a:gd name="T21" fmla="*/ 225 h 232"/>
                  <a:gd name="T22" fmla="*/ 87 w 223"/>
                  <a:gd name="T23" fmla="*/ 232 h 232"/>
                  <a:gd name="T24" fmla="*/ 72 w 223"/>
                  <a:gd name="T25" fmla="*/ 225 h 232"/>
                  <a:gd name="T26" fmla="*/ 65 w 223"/>
                  <a:gd name="T27" fmla="*/ 232 h 232"/>
                  <a:gd name="T28" fmla="*/ 57 w 223"/>
                  <a:gd name="T29" fmla="*/ 232 h 232"/>
                  <a:gd name="T30" fmla="*/ 42 w 223"/>
                  <a:gd name="T31" fmla="*/ 197 h 232"/>
                  <a:gd name="T32" fmla="*/ 22 w 223"/>
                  <a:gd name="T33" fmla="*/ 204 h 232"/>
                  <a:gd name="T34" fmla="*/ 7 w 223"/>
                  <a:gd name="T35" fmla="*/ 204 h 232"/>
                  <a:gd name="T36" fmla="*/ 13 w 223"/>
                  <a:gd name="T37" fmla="*/ 197 h 232"/>
                  <a:gd name="T38" fmla="*/ 0 w 223"/>
                  <a:gd name="T39" fmla="*/ 158 h 232"/>
                  <a:gd name="T40" fmla="*/ 13 w 223"/>
                  <a:gd name="T41" fmla="*/ 150 h 232"/>
                  <a:gd name="T42" fmla="*/ 22 w 223"/>
                  <a:gd name="T43" fmla="*/ 158 h 232"/>
                  <a:gd name="T44" fmla="*/ 27 w 223"/>
                  <a:gd name="T45" fmla="*/ 150 h 232"/>
                  <a:gd name="T46" fmla="*/ 94 w 223"/>
                  <a:gd name="T47" fmla="*/ 150 h 232"/>
                  <a:gd name="T48" fmla="*/ 72 w 223"/>
                  <a:gd name="T49" fmla="*/ 0 h 232"/>
                  <a:gd name="T50" fmla="*/ 100 w 223"/>
                  <a:gd name="T51" fmla="*/ 0 h 232"/>
                  <a:gd name="T52" fmla="*/ 100 w 223"/>
                  <a:gd name="T53" fmla="*/ 0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23" h="232">
                    <a:moveTo>
                      <a:pt x="100" y="0"/>
                    </a:moveTo>
                    <a:lnTo>
                      <a:pt x="179" y="61"/>
                    </a:lnTo>
                    <a:lnTo>
                      <a:pt x="186" y="76"/>
                    </a:lnTo>
                    <a:lnTo>
                      <a:pt x="216" y="91"/>
                    </a:lnTo>
                    <a:lnTo>
                      <a:pt x="223" y="91"/>
                    </a:lnTo>
                    <a:lnTo>
                      <a:pt x="223" y="136"/>
                    </a:lnTo>
                    <a:lnTo>
                      <a:pt x="216" y="150"/>
                    </a:lnTo>
                    <a:lnTo>
                      <a:pt x="151" y="158"/>
                    </a:lnTo>
                    <a:lnTo>
                      <a:pt x="137" y="173"/>
                    </a:lnTo>
                    <a:lnTo>
                      <a:pt x="115" y="180"/>
                    </a:lnTo>
                    <a:lnTo>
                      <a:pt x="94" y="225"/>
                    </a:lnTo>
                    <a:lnTo>
                      <a:pt x="87" y="232"/>
                    </a:lnTo>
                    <a:lnTo>
                      <a:pt x="72" y="225"/>
                    </a:lnTo>
                    <a:lnTo>
                      <a:pt x="65" y="232"/>
                    </a:lnTo>
                    <a:lnTo>
                      <a:pt x="57" y="232"/>
                    </a:lnTo>
                    <a:lnTo>
                      <a:pt x="42" y="197"/>
                    </a:lnTo>
                    <a:lnTo>
                      <a:pt x="22" y="204"/>
                    </a:lnTo>
                    <a:lnTo>
                      <a:pt x="7" y="204"/>
                    </a:lnTo>
                    <a:lnTo>
                      <a:pt x="13" y="197"/>
                    </a:lnTo>
                    <a:lnTo>
                      <a:pt x="0" y="158"/>
                    </a:lnTo>
                    <a:lnTo>
                      <a:pt x="13" y="150"/>
                    </a:lnTo>
                    <a:lnTo>
                      <a:pt x="22" y="158"/>
                    </a:lnTo>
                    <a:lnTo>
                      <a:pt x="27" y="150"/>
                    </a:lnTo>
                    <a:lnTo>
                      <a:pt x="94" y="150"/>
                    </a:lnTo>
                    <a:lnTo>
                      <a:pt x="72" y="0"/>
                    </a:lnTo>
                    <a:lnTo>
                      <a:pt x="100" y="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44" name="Freeform 178"/>
              <p:cNvSpPr>
                <a:spLocks/>
              </p:cNvSpPr>
              <p:nvPr/>
            </p:nvSpPr>
            <p:spPr bwMode="auto">
              <a:xfrm>
                <a:off x="4122738" y="4746625"/>
                <a:ext cx="149225" cy="157163"/>
              </a:xfrm>
              <a:custGeom>
                <a:avLst/>
                <a:gdLst>
                  <a:gd name="T0" fmla="*/ 77 w 85"/>
                  <a:gd name="T1" fmla="*/ 74 h 89"/>
                  <a:gd name="T2" fmla="*/ 77 w 85"/>
                  <a:gd name="T3" fmla="*/ 54 h 89"/>
                  <a:gd name="T4" fmla="*/ 85 w 85"/>
                  <a:gd name="T5" fmla="*/ 32 h 89"/>
                  <a:gd name="T6" fmla="*/ 77 w 85"/>
                  <a:gd name="T7" fmla="*/ 17 h 89"/>
                  <a:gd name="T8" fmla="*/ 63 w 85"/>
                  <a:gd name="T9" fmla="*/ 8 h 89"/>
                  <a:gd name="T10" fmla="*/ 48 w 85"/>
                  <a:gd name="T11" fmla="*/ 8 h 89"/>
                  <a:gd name="T12" fmla="*/ 42 w 85"/>
                  <a:gd name="T13" fmla="*/ 0 h 89"/>
                  <a:gd name="T14" fmla="*/ 37 w 85"/>
                  <a:gd name="T15" fmla="*/ 8 h 89"/>
                  <a:gd name="T16" fmla="*/ 20 w 85"/>
                  <a:gd name="T17" fmla="*/ 0 h 89"/>
                  <a:gd name="T18" fmla="*/ 15 w 85"/>
                  <a:gd name="T19" fmla="*/ 8 h 89"/>
                  <a:gd name="T20" fmla="*/ 6 w 85"/>
                  <a:gd name="T21" fmla="*/ 8 h 89"/>
                  <a:gd name="T22" fmla="*/ 6 w 85"/>
                  <a:gd name="T23" fmla="*/ 47 h 89"/>
                  <a:gd name="T24" fmla="*/ 0 w 85"/>
                  <a:gd name="T25" fmla="*/ 47 h 89"/>
                  <a:gd name="T26" fmla="*/ 0 w 85"/>
                  <a:gd name="T27" fmla="*/ 62 h 89"/>
                  <a:gd name="T28" fmla="*/ 15 w 85"/>
                  <a:gd name="T29" fmla="*/ 69 h 89"/>
                  <a:gd name="T30" fmla="*/ 15 w 85"/>
                  <a:gd name="T31" fmla="*/ 89 h 89"/>
                  <a:gd name="T32" fmla="*/ 37 w 85"/>
                  <a:gd name="T33" fmla="*/ 74 h 89"/>
                  <a:gd name="T34" fmla="*/ 77 w 85"/>
                  <a:gd name="T35" fmla="*/ 74 h 89"/>
                  <a:gd name="T36" fmla="*/ 77 w 85"/>
                  <a:gd name="T37" fmla="*/ 74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5" h="89">
                    <a:moveTo>
                      <a:pt x="77" y="74"/>
                    </a:moveTo>
                    <a:lnTo>
                      <a:pt x="77" y="54"/>
                    </a:lnTo>
                    <a:lnTo>
                      <a:pt x="85" y="32"/>
                    </a:lnTo>
                    <a:lnTo>
                      <a:pt x="77" y="17"/>
                    </a:lnTo>
                    <a:lnTo>
                      <a:pt x="63" y="8"/>
                    </a:lnTo>
                    <a:lnTo>
                      <a:pt x="48" y="8"/>
                    </a:lnTo>
                    <a:lnTo>
                      <a:pt x="42" y="0"/>
                    </a:lnTo>
                    <a:lnTo>
                      <a:pt x="37" y="8"/>
                    </a:lnTo>
                    <a:lnTo>
                      <a:pt x="20" y="0"/>
                    </a:lnTo>
                    <a:lnTo>
                      <a:pt x="15" y="8"/>
                    </a:lnTo>
                    <a:lnTo>
                      <a:pt x="6" y="8"/>
                    </a:lnTo>
                    <a:lnTo>
                      <a:pt x="6" y="47"/>
                    </a:lnTo>
                    <a:lnTo>
                      <a:pt x="0" y="47"/>
                    </a:lnTo>
                    <a:lnTo>
                      <a:pt x="0" y="62"/>
                    </a:lnTo>
                    <a:lnTo>
                      <a:pt x="15" y="69"/>
                    </a:lnTo>
                    <a:lnTo>
                      <a:pt x="15" y="89"/>
                    </a:lnTo>
                    <a:lnTo>
                      <a:pt x="37" y="74"/>
                    </a:lnTo>
                    <a:lnTo>
                      <a:pt x="77" y="74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45" name="Freeform 179"/>
              <p:cNvSpPr>
                <a:spLocks/>
              </p:cNvSpPr>
              <p:nvPr/>
            </p:nvSpPr>
            <p:spPr bwMode="auto">
              <a:xfrm>
                <a:off x="4262438" y="4724400"/>
                <a:ext cx="79375" cy="152400"/>
              </a:xfrm>
              <a:custGeom>
                <a:avLst/>
                <a:gdLst>
                  <a:gd name="T0" fmla="*/ 0 w 46"/>
                  <a:gd name="T1" fmla="*/ 30 h 87"/>
                  <a:gd name="T2" fmla="*/ 0 w 46"/>
                  <a:gd name="T3" fmla="*/ 0 h 87"/>
                  <a:gd name="T4" fmla="*/ 26 w 46"/>
                  <a:gd name="T5" fmla="*/ 0 h 87"/>
                  <a:gd name="T6" fmla="*/ 46 w 46"/>
                  <a:gd name="T7" fmla="*/ 65 h 87"/>
                  <a:gd name="T8" fmla="*/ 46 w 46"/>
                  <a:gd name="T9" fmla="*/ 74 h 87"/>
                  <a:gd name="T10" fmla="*/ 8 w 46"/>
                  <a:gd name="T11" fmla="*/ 87 h 87"/>
                  <a:gd name="T12" fmla="*/ 0 w 46"/>
                  <a:gd name="T13" fmla="*/ 87 h 87"/>
                  <a:gd name="T14" fmla="*/ 0 w 46"/>
                  <a:gd name="T15" fmla="*/ 65 h 87"/>
                  <a:gd name="T16" fmla="*/ 8 w 46"/>
                  <a:gd name="T17" fmla="*/ 43 h 87"/>
                  <a:gd name="T18" fmla="*/ 0 w 46"/>
                  <a:gd name="T19" fmla="*/ 30 h 87"/>
                  <a:gd name="T20" fmla="*/ 0 w 46"/>
                  <a:gd name="T21" fmla="*/ 30 h 87"/>
                  <a:gd name="T22" fmla="*/ 0 w 46"/>
                  <a:gd name="T23" fmla="*/ 30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6" h="87">
                    <a:moveTo>
                      <a:pt x="0" y="30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46" y="65"/>
                    </a:lnTo>
                    <a:lnTo>
                      <a:pt x="46" y="74"/>
                    </a:lnTo>
                    <a:lnTo>
                      <a:pt x="8" y="87"/>
                    </a:lnTo>
                    <a:lnTo>
                      <a:pt x="0" y="87"/>
                    </a:lnTo>
                    <a:lnTo>
                      <a:pt x="0" y="65"/>
                    </a:lnTo>
                    <a:lnTo>
                      <a:pt x="8" y="43"/>
                    </a:lnTo>
                    <a:lnTo>
                      <a:pt x="0" y="3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46" name="Freeform 180"/>
              <p:cNvSpPr>
                <a:spLocks/>
              </p:cNvSpPr>
              <p:nvPr/>
            </p:nvSpPr>
            <p:spPr bwMode="auto">
              <a:xfrm>
                <a:off x="4519613" y="4956175"/>
                <a:ext cx="139700" cy="161925"/>
              </a:xfrm>
              <a:custGeom>
                <a:avLst/>
                <a:gdLst>
                  <a:gd name="T0" fmla="*/ 22 w 79"/>
                  <a:gd name="T1" fmla="*/ 17 h 93"/>
                  <a:gd name="T2" fmla="*/ 35 w 79"/>
                  <a:gd name="T3" fmla="*/ 17 h 93"/>
                  <a:gd name="T4" fmla="*/ 35 w 79"/>
                  <a:gd name="T5" fmla="*/ 0 h 93"/>
                  <a:gd name="T6" fmla="*/ 64 w 79"/>
                  <a:gd name="T7" fmla="*/ 0 h 93"/>
                  <a:gd name="T8" fmla="*/ 64 w 79"/>
                  <a:gd name="T9" fmla="*/ 17 h 93"/>
                  <a:gd name="T10" fmla="*/ 70 w 79"/>
                  <a:gd name="T11" fmla="*/ 9 h 93"/>
                  <a:gd name="T12" fmla="*/ 79 w 79"/>
                  <a:gd name="T13" fmla="*/ 17 h 93"/>
                  <a:gd name="T14" fmla="*/ 79 w 79"/>
                  <a:gd name="T15" fmla="*/ 64 h 93"/>
                  <a:gd name="T16" fmla="*/ 57 w 79"/>
                  <a:gd name="T17" fmla="*/ 64 h 93"/>
                  <a:gd name="T18" fmla="*/ 45 w 79"/>
                  <a:gd name="T19" fmla="*/ 73 h 93"/>
                  <a:gd name="T20" fmla="*/ 45 w 79"/>
                  <a:gd name="T21" fmla="*/ 78 h 93"/>
                  <a:gd name="T22" fmla="*/ 35 w 79"/>
                  <a:gd name="T23" fmla="*/ 78 h 93"/>
                  <a:gd name="T24" fmla="*/ 35 w 79"/>
                  <a:gd name="T25" fmla="*/ 93 h 93"/>
                  <a:gd name="T26" fmla="*/ 0 w 79"/>
                  <a:gd name="T27" fmla="*/ 47 h 93"/>
                  <a:gd name="T28" fmla="*/ 15 w 79"/>
                  <a:gd name="T29" fmla="*/ 32 h 93"/>
                  <a:gd name="T30" fmla="*/ 15 w 79"/>
                  <a:gd name="T31" fmla="*/ 26 h 93"/>
                  <a:gd name="T32" fmla="*/ 22 w 79"/>
                  <a:gd name="T33" fmla="*/ 17 h 93"/>
                  <a:gd name="T34" fmla="*/ 22 w 79"/>
                  <a:gd name="T35" fmla="*/ 17 h 93"/>
                  <a:gd name="T36" fmla="*/ 22 w 79"/>
                  <a:gd name="T37" fmla="*/ 17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9" h="93">
                    <a:moveTo>
                      <a:pt x="22" y="17"/>
                    </a:moveTo>
                    <a:lnTo>
                      <a:pt x="35" y="17"/>
                    </a:lnTo>
                    <a:lnTo>
                      <a:pt x="35" y="0"/>
                    </a:lnTo>
                    <a:lnTo>
                      <a:pt x="64" y="0"/>
                    </a:lnTo>
                    <a:lnTo>
                      <a:pt x="64" y="17"/>
                    </a:lnTo>
                    <a:lnTo>
                      <a:pt x="70" y="9"/>
                    </a:lnTo>
                    <a:lnTo>
                      <a:pt x="79" y="17"/>
                    </a:lnTo>
                    <a:lnTo>
                      <a:pt x="79" y="64"/>
                    </a:lnTo>
                    <a:lnTo>
                      <a:pt x="57" y="64"/>
                    </a:lnTo>
                    <a:lnTo>
                      <a:pt x="45" y="73"/>
                    </a:lnTo>
                    <a:lnTo>
                      <a:pt x="45" y="78"/>
                    </a:lnTo>
                    <a:lnTo>
                      <a:pt x="35" y="78"/>
                    </a:lnTo>
                    <a:lnTo>
                      <a:pt x="35" y="93"/>
                    </a:lnTo>
                    <a:lnTo>
                      <a:pt x="0" y="47"/>
                    </a:lnTo>
                    <a:lnTo>
                      <a:pt x="15" y="32"/>
                    </a:lnTo>
                    <a:lnTo>
                      <a:pt x="15" y="26"/>
                    </a:lnTo>
                    <a:lnTo>
                      <a:pt x="22" y="17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47" name="Freeform 181"/>
              <p:cNvSpPr>
                <a:spLocks/>
              </p:cNvSpPr>
              <p:nvPr/>
            </p:nvSpPr>
            <p:spPr bwMode="auto">
              <a:xfrm>
                <a:off x="4522788" y="4667250"/>
                <a:ext cx="185737" cy="300038"/>
              </a:xfrm>
              <a:custGeom>
                <a:avLst/>
                <a:gdLst>
                  <a:gd name="T0" fmla="*/ 0 w 105"/>
                  <a:gd name="T1" fmla="*/ 119 h 171"/>
                  <a:gd name="T2" fmla="*/ 21 w 105"/>
                  <a:gd name="T3" fmla="*/ 97 h 171"/>
                  <a:gd name="T4" fmla="*/ 26 w 105"/>
                  <a:gd name="T5" fmla="*/ 97 h 171"/>
                  <a:gd name="T6" fmla="*/ 33 w 105"/>
                  <a:gd name="T7" fmla="*/ 106 h 171"/>
                  <a:gd name="T8" fmla="*/ 43 w 105"/>
                  <a:gd name="T9" fmla="*/ 97 h 171"/>
                  <a:gd name="T10" fmla="*/ 62 w 105"/>
                  <a:gd name="T11" fmla="*/ 69 h 171"/>
                  <a:gd name="T12" fmla="*/ 75 w 105"/>
                  <a:gd name="T13" fmla="*/ 23 h 171"/>
                  <a:gd name="T14" fmla="*/ 75 w 105"/>
                  <a:gd name="T15" fmla="*/ 0 h 171"/>
                  <a:gd name="T16" fmla="*/ 75 w 105"/>
                  <a:gd name="T17" fmla="*/ 16 h 171"/>
                  <a:gd name="T18" fmla="*/ 97 w 105"/>
                  <a:gd name="T19" fmla="*/ 52 h 171"/>
                  <a:gd name="T20" fmla="*/ 75 w 105"/>
                  <a:gd name="T21" fmla="*/ 52 h 171"/>
                  <a:gd name="T22" fmla="*/ 75 w 105"/>
                  <a:gd name="T23" fmla="*/ 60 h 171"/>
                  <a:gd name="T24" fmla="*/ 97 w 105"/>
                  <a:gd name="T25" fmla="*/ 90 h 171"/>
                  <a:gd name="T26" fmla="*/ 75 w 105"/>
                  <a:gd name="T27" fmla="*/ 112 h 171"/>
                  <a:gd name="T28" fmla="*/ 83 w 105"/>
                  <a:gd name="T29" fmla="*/ 119 h 171"/>
                  <a:gd name="T30" fmla="*/ 105 w 105"/>
                  <a:gd name="T31" fmla="*/ 149 h 171"/>
                  <a:gd name="T32" fmla="*/ 105 w 105"/>
                  <a:gd name="T33" fmla="*/ 171 h 171"/>
                  <a:gd name="T34" fmla="*/ 21 w 105"/>
                  <a:gd name="T35" fmla="*/ 163 h 171"/>
                  <a:gd name="T36" fmla="*/ 21 w 105"/>
                  <a:gd name="T37" fmla="*/ 149 h 171"/>
                  <a:gd name="T38" fmla="*/ 13 w 105"/>
                  <a:gd name="T39" fmla="*/ 143 h 171"/>
                  <a:gd name="T40" fmla="*/ 0 w 105"/>
                  <a:gd name="T41" fmla="*/ 134 h 171"/>
                  <a:gd name="T42" fmla="*/ 0 w 105"/>
                  <a:gd name="T43" fmla="*/ 119 h 171"/>
                  <a:gd name="T44" fmla="*/ 0 w 105"/>
                  <a:gd name="T45" fmla="*/ 119 h 171"/>
                  <a:gd name="T46" fmla="*/ 0 w 105"/>
                  <a:gd name="T47" fmla="*/ 119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05" h="171">
                    <a:moveTo>
                      <a:pt x="0" y="119"/>
                    </a:moveTo>
                    <a:lnTo>
                      <a:pt x="21" y="97"/>
                    </a:lnTo>
                    <a:lnTo>
                      <a:pt x="26" y="97"/>
                    </a:lnTo>
                    <a:lnTo>
                      <a:pt x="33" y="106"/>
                    </a:lnTo>
                    <a:lnTo>
                      <a:pt x="43" y="97"/>
                    </a:lnTo>
                    <a:lnTo>
                      <a:pt x="62" y="69"/>
                    </a:lnTo>
                    <a:lnTo>
                      <a:pt x="75" y="23"/>
                    </a:lnTo>
                    <a:lnTo>
                      <a:pt x="75" y="0"/>
                    </a:lnTo>
                    <a:lnTo>
                      <a:pt x="75" y="16"/>
                    </a:lnTo>
                    <a:lnTo>
                      <a:pt x="97" y="52"/>
                    </a:lnTo>
                    <a:lnTo>
                      <a:pt x="75" y="52"/>
                    </a:lnTo>
                    <a:lnTo>
                      <a:pt x="75" y="60"/>
                    </a:lnTo>
                    <a:lnTo>
                      <a:pt x="97" y="90"/>
                    </a:lnTo>
                    <a:lnTo>
                      <a:pt x="75" y="112"/>
                    </a:lnTo>
                    <a:lnTo>
                      <a:pt x="83" y="119"/>
                    </a:lnTo>
                    <a:lnTo>
                      <a:pt x="105" y="149"/>
                    </a:lnTo>
                    <a:lnTo>
                      <a:pt x="105" y="171"/>
                    </a:lnTo>
                    <a:lnTo>
                      <a:pt x="21" y="163"/>
                    </a:lnTo>
                    <a:lnTo>
                      <a:pt x="21" y="149"/>
                    </a:lnTo>
                    <a:lnTo>
                      <a:pt x="13" y="143"/>
                    </a:lnTo>
                    <a:lnTo>
                      <a:pt x="0" y="134"/>
                    </a:lnTo>
                    <a:lnTo>
                      <a:pt x="0" y="119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48" name="Freeform 182"/>
              <p:cNvSpPr>
                <a:spLocks/>
              </p:cNvSpPr>
              <p:nvPr/>
            </p:nvSpPr>
            <p:spPr bwMode="auto">
              <a:xfrm>
                <a:off x="4386263" y="4649788"/>
                <a:ext cx="273050" cy="254000"/>
              </a:xfrm>
              <a:custGeom>
                <a:avLst/>
                <a:gdLst>
                  <a:gd name="T0" fmla="*/ 79 w 156"/>
                  <a:gd name="T1" fmla="*/ 129 h 144"/>
                  <a:gd name="T2" fmla="*/ 100 w 156"/>
                  <a:gd name="T3" fmla="*/ 107 h 144"/>
                  <a:gd name="T4" fmla="*/ 107 w 156"/>
                  <a:gd name="T5" fmla="*/ 107 h 144"/>
                  <a:gd name="T6" fmla="*/ 114 w 156"/>
                  <a:gd name="T7" fmla="*/ 117 h 144"/>
                  <a:gd name="T8" fmla="*/ 142 w 156"/>
                  <a:gd name="T9" fmla="*/ 77 h 144"/>
                  <a:gd name="T10" fmla="*/ 156 w 156"/>
                  <a:gd name="T11" fmla="*/ 32 h 144"/>
                  <a:gd name="T12" fmla="*/ 156 w 156"/>
                  <a:gd name="T13" fmla="*/ 8 h 144"/>
                  <a:gd name="T14" fmla="*/ 151 w 156"/>
                  <a:gd name="T15" fmla="*/ 0 h 144"/>
                  <a:gd name="T16" fmla="*/ 142 w 156"/>
                  <a:gd name="T17" fmla="*/ 0 h 144"/>
                  <a:gd name="T18" fmla="*/ 134 w 156"/>
                  <a:gd name="T19" fmla="*/ 8 h 144"/>
                  <a:gd name="T20" fmla="*/ 107 w 156"/>
                  <a:gd name="T21" fmla="*/ 8 h 144"/>
                  <a:gd name="T22" fmla="*/ 94 w 156"/>
                  <a:gd name="T23" fmla="*/ 23 h 144"/>
                  <a:gd name="T24" fmla="*/ 72 w 156"/>
                  <a:gd name="T25" fmla="*/ 8 h 144"/>
                  <a:gd name="T26" fmla="*/ 64 w 156"/>
                  <a:gd name="T27" fmla="*/ 8 h 144"/>
                  <a:gd name="T28" fmla="*/ 37 w 156"/>
                  <a:gd name="T29" fmla="*/ 0 h 144"/>
                  <a:gd name="T30" fmla="*/ 30 w 156"/>
                  <a:gd name="T31" fmla="*/ 0 h 144"/>
                  <a:gd name="T32" fmla="*/ 13 w 156"/>
                  <a:gd name="T33" fmla="*/ 23 h 144"/>
                  <a:gd name="T34" fmla="*/ 13 w 156"/>
                  <a:gd name="T35" fmla="*/ 53 h 144"/>
                  <a:gd name="T36" fmla="*/ 0 w 156"/>
                  <a:gd name="T37" fmla="*/ 84 h 144"/>
                  <a:gd name="T38" fmla="*/ 0 w 156"/>
                  <a:gd name="T39" fmla="*/ 117 h 144"/>
                  <a:gd name="T40" fmla="*/ 30 w 156"/>
                  <a:gd name="T41" fmla="*/ 117 h 144"/>
                  <a:gd name="T42" fmla="*/ 30 w 156"/>
                  <a:gd name="T43" fmla="*/ 124 h 144"/>
                  <a:gd name="T44" fmla="*/ 37 w 156"/>
                  <a:gd name="T45" fmla="*/ 144 h 144"/>
                  <a:gd name="T46" fmla="*/ 79 w 156"/>
                  <a:gd name="T47" fmla="*/ 144 h 144"/>
                  <a:gd name="T48" fmla="*/ 79 w 156"/>
                  <a:gd name="T49" fmla="*/ 129 h 144"/>
                  <a:gd name="T50" fmla="*/ 79 w 156"/>
                  <a:gd name="T51" fmla="*/ 129 h 144"/>
                  <a:gd name="T52" fmla="*/ 79 w 156"/>
                  <a:gd name="T53" fmla="*/ 129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56" h="144">
                    <a:moveTo>
                      <a:pt x="79" y="129"/>
                    </a:moveTo>
                    <a:lnTo>
                      <a:pt x="100" y="107"/>
                    </a:lnTo>
                    <a:lnTo>
                      <a:pt x="107" y="107"/>
                    </a:lnTo>
                    <a:lnTo>
                      <a:pt x="114" y="117"/>
                    </a:lnTo>
                    <a:lnTo>
                      <a:pt x="142" y="77"/>
                    </a:lnTo>
                    <a:lnTo>
                      <a:pt x="156" y="32"/>
                    </a:lnTo>
                    <a:lnTo>
                      <a:pt x="156" y="8"/>
                    </a:lnTo>
                    <a:lnTo>
                      <a:pt x="151" y="0"/>
                    </a:lnTo>
                    <a:lnTo>
                      <a:pt x="142" y="0"/>
                    </a:lnTo>
                    <a:lnTo>
                      <a:pt x="134" y="8"/>
                    </a:lnTo>
                    <a:lnTo>
                      <a:pt x="107" y="8"/>
                    </a:lnTo>
                    <a:lnTo>
                      <a:pt x="94" y="23"/>
                    </a:lnTo>
                    <a:lnTo>
                      <a:pt x="72" y="8"/>
                    </a:lnTo>
                    <a:lnTo>
                      <a:pt x="64" y="8"/>
                    </a:lnTo>
                    <a:lnTo>
                      <a:pt x="37" y="0"/>
                    </a:lnTo>
                    <a:lnTo>
                      <a:pt x="30" y="0"/>
                    </a:lnTo>
                    <a:lnTo>
                      <a:pt x="13" y="23"/>
                    </a:lnTo>
                    <a:lnTo>
                      <a:pt x="13" y="53"/>
                    </a:lnTo>
                    <a:lnTo>
                      <a:pt x="0" y="84"/>
                    </a:lnTo>
                    <a:lnTo>
                      <a:pt x="0" y="117"/>
                    </a:lnTo>
                    <a:lnTo>
                      <a:pt x="30" y="117"/>
                    </a:lnTo>
                    <a:lnTo>
                      <a:pt x="30" y="124"/>
                    </a:lnTo>
                    <a:lnTo>
                      <a:pt x="37" y="144"/>
                    </a:lnTo>
                    <a:lnTo>
                      <a:pt x="79" y="144"/>
                    </a:lnTo>
                    <a:lnTo>
                      <a:pt x="79" y="129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49" name="Freeform 183"/>
              <p:cNvSpPr>
                <a:spLocks/>
              </p:cNvSpPr>
              <p:nvPr/>
            </p:nvSpPr>
            <p:spPr bwMode="auto">
              <a:xfrm>
                <a:off x="4327525" y="4410075"/>
                <a:ext cx="381000" cy="298450"/>
              </a:xfrm>
              <a:custGeom>
                <a:avLst/>
                <a:gdLst>
                  <a:gd name="T0" fmla="*/ 181 w 216"/>
                  <a:gd name="T1" fmla="*/ 141 h 171"/>
                  <a:gd name="T2" fmla="*/ 181 w 216"/>
                  <a:gd name="T3" fmla="*/ 131 h 171"/>
                  <a:gd name="T4" fmla="*/ 208 w 216"/>
                  <a:gd name="T5" fmla="*/ 94 h 171"/>
                  <a:gd name="T6" fmla="*/ 216 w 216"/>
                  <a:gd name="T7" fmla="*/ 43 h 171"/>
                  <a:gd name="T8" fmla="*/ 194 w 216"/>
                  <a:gd name="T9" fmla="*/ 20 h 171"/>
                  <a:gd name="T10" fmla="*/ 194 w 216"/>
                  <a:gd name="T11" fmla="*/ 6 h 171"/>
                  <a:gd name="T12" fmla="*/ 184 w 216"/>
                  <a:gd name="T13" fmla="*/ 0 h 171"/>
                  <a:gd name="T14" fmla="*/ 153 w 216"/>
                  <a:gd name="T15" fmla="*/ 0 h 171"/>
                  <a:gd name="T16" fmla="*/ 65 w 216"/>
                  <a:gd name="T17" fmla="*/ 59 h 171"/>
                  <a:gd name="T18" fmla="*/ 50 w 216"/>
                  <a:gd name="T19" fmla="*/ 59 h 171"/>
                  <a:gd name="T20" fmla="*/ 50 w 216"/>
                  <a:gd name="T21" fmla="*/ 104 h 171"/>
                  <a:gd name="T22" fmla="*/ 44 w 216"/>
                  <a:gd name="T23" fmla="*/ 116 h 171"/>
                  <a:gd name="T24" fmla="*/ 0 w 216"/>
                  <a:gd name="T25" fmla="*/ 124 h 171"/>
                  <a:gd name="T26" fmla="*/ 0 w 216"/>
                  <a:gd name="T27" fmla="*/ 141 h 171"/>
                  <a:gd name="T28" fmla="*/ 15 w 216"/>
                  <a:gd name="T29" fmla="*/ 163 h 171"/>
                  <a:gd name="T30" fmla="*/ 22 w 216"/>
                  <a:gd name="T31" fmla="*/ 163 h 171"/>
                  <a:gd name="T32" fmla="*/ 22 w 216"/>
                  <a:gd name="T33" fmla="*/ 171 h 171"/>
                  <a:gd name="T34" fmla="*/ 22 w 216"/>
                  <a:gd name="T35" fmla="*/ 163 h 171"/>
                  <a:gd name="T36" fmla="*/ 30 w 216"/>
                  <a:gd name="T37" fmla="*/ 163 h 171"/>
                  <a:gd name="T38" fmla="*/ 44 w 216"/>
                  <a:gd name="T39" fmla="*/ 171 h 171"/>
                  <a:gd name="T40" fmla="*/ 44 w 216"/>
                  <a:gd name="T41" fmla="*/ 163 h 171"/>
                  <a:gd name="T42" fmla="*/ 59 w 216"/>
                  <a:gd name="T43" fmla="*/ 141 h 171"/>
                  <a:gd name="T44" fmla="*/ 101 w 216"/>
                  <a:gd name="T45" fmla="*/ 146 h 171"/>
                  <a:gd name="T46" fmla="*/ 122 w 216"/>
                  <a:gd name="T47" fmla="*/ 163 h 171"/>
                  <a:gd name="T48" fmla="*/ 136 w 216"/>
                  <a:gd name="T49" fmla="*/ 146 h 171"/>
                  <a:gd name="T50" fmla="*/ 166 w 216"/>
                  <a:gd name="T51" fmla="*/ 146 h 171"/>
                  <a:gd name="T52" fmla="*/ 173 w 216"/>
                  <a:gd name="T53" fmla="*/ 141 h 171"/>
                  <a:gd name="T54" fmla="*/ 181 w 216"/>
                  <a:gd name="T55" fmla="*/ 141 h 171"/>
                  <a:gd name="T56" fmla="*/ 181 w 216"/>
                  <a:gd name="T57" fmla="*/ 141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16" h="171">
                    <a:moveTo>
                      <a:pt x="181" y="141"/>
                    </a:moveTo>
                    <a:lnTo>
                      <a:pt x="181" y="131"/>
                    </a:lnTo>
                    <a:lnTo>
                      <a:pt x="208" y="94"/>
                    </a:lnTo>
                    <a:lnTo>
                      <a:pt x="216" y="43"/>
                    </a:lnTo>
                    <a:lnTo>
                      <a:pt x="194" y="20"/>
                    </a:lnTo>
                    <a:lnTo>
                      <a:pt x="194" y="6"/>
                    </a:lnTo>
                    <a:lnTo>
                      <a:pt x="184" y="0"/>
                    </a:lnTo>
                    <a:lnTo>
                      <a:pt x="153" y="0"/>
                    </a:lnTo>
                    <a:lnTo>
                      <a:pt x="65" y="59"/>
                    </a:lnTo>
                    <a:lnTo>
                      <a:pt x="50" y="59"/>
                    </a:lnTo>
                    <a:lnTo>
                      <a:pt x="50" y="104"/>
                    </a:lnTo>
                    <a:lnTo>
                      <a:pt x="44" y="116"/>
                    </a:lnTo>
                    <a:lnTo>
                      <a:pt x="0" y="124"/>
                    </a:lnTo>
                    <a:lnTo>
                      <a:pt x="0" y="141"/>
                    </a:lnTo>
                    <a:lnTo>
                      <a:pt x="15" y="163"/>
                    </a:lnTo>
                    <a:lnTo>
                      <a:pt x="22" y="163"/>
                    </a:lnTo>
                    <a:lnTo>
                      <a:pt x="22" y="171"/>
                    </a:lnTo>
                    <a:lnTo>
                      <a:pt x="22" y="163"/>
                    </a:lnTo>
                    <a:lnTo>
                      <a:pt x="30" y="163"/>
                    </a:lnTo>
                    <a:lnTo>
                      <a:pt x="44" y="171"/>
                    </a:lnTo>
                    <a:lnTo>
                      <a:pt x="44" y="163"/>
                    </a:lnTo>
                    <a:lnTo>
                      <a:pt x="59" y="141"/>
                    </a:lnTo>
                    <a:lnTo>
                      <a:pt x="101" y="146"/>
                    </a:lnTo>
                    <a:lnTo>
                      <a:pt x="122" y="163"/>
                    </a:lnTo>
                    <a:lnTo>
                      <a:pt x="136" y="146"/>
                    </a:lnTo>
                    <a:lnTo>
                      <a:pt x="166" y="146"/>
                    </a:lnTo>
                    <a:lnTo>
                      <a:pt x="173" y="141"/>
                    </a:lnTo>
                    <a:lnTo>
                      <a:pt x="181" y="141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50" name="Freeform 184"/>
              <p:cNvSpPr>
                <a:spLocks/>
              </p:cNvSpPr>
              <p:nvPr/>
            </p:nvSpPr>
            <p:spPr bwMode="auto">
              <a:xfrm>
                <a:off x="4641850" y="4410075"/>
                <a:ext cx="239713" cy="412750"/>
              </a:xfrm>
              <a:custGeom>
                <a:avLst/>
                <a:gdLst>
                  <a:gd name="T0" fmla="*/ 15 w 137"/>
                  <a:gd name="T1" fmla="*/ 8 h 237"/>
                  <a:gd name="T2" fmla="*/ 15 w 137"/>
                  <a:gd name="T3" fmla="*/ 22 h 237"/>
                  <a:gd name="T4" fmla="*/ 38 w 137"/>
                  <a:gd name="T5" fmla="*/ 43 h 237"/>
                  <a:gd name="T6" fmla="*/ 30 w 137"/>
                  <a:gd name="T7" fmla="*/ 96 h 237"/>
                  <a:gd name="T8" fmla="*/ 0 w 137"/>
                  <a:gd name="T9" fmla="*/ 131 h 237"/>
                  <a:gd name="T10" fmla="*/ 0 w 137"/>
                  <a:gd name="T11" fmla="*/ 139 h 237"/>
                  <a:gd name="T12" fmla="*/ 6 w 137"/>
                  <a:gd name="T13" fmla="*/ 148 h 237"/>
                  <a:gd name="T14" fmla="*/ 6 w 137"/>
                  <a:gd name="T15" fmla="*/ 163 h 237"/>
                  <a:gd name="T16" fmla="*/ 30 w 137"/>
                  <a:gd name="T17" fmla="*/ 200 h 237"/>
                  <a:gd name="T18" fmla="*/ 6 w 137"/>
                  <a:gd name="T19" fmla="*/ 200 h 237"/>
                  <a:gd name="T20" fmla="*/ 6 w 137"/>
                  <a:gd name="T21" fmla="*/ 208 h 237"/>
                  <a:gd name="T22" fmla="*/ 15 w 137"/>
                  <a:gd name="T23" fmla="*/ 215 h 237"/>
                  <a:gd name="T24" fmla="*/ 30 w 137"/>
                  <a:gd name="T25" fmla="*/ 237 h 237"/>
                  <a:gd name="T26" fmla="*/ 80 w 137"/>
                  <a:gd name="T27" fmla="*/ 215 h 237"/>
                  <a:gd name="T28" fmla="*/ 67 w 137"/>
                  <a:gd name="T29" fmla="*/ 215 h 237"/>
                  <a:gd name="T30" fmla="*/ 95 w 137"/>
                  <a:gd name="T31" fmla="*/ 208 h 237"/>
                  <a:gd name="T32" fmla="*/ 125 w 137"/>
                  <a:gd name="T33" fmla="*/ 178 h 237"/>
                  <a:gd name="T34" fmla="*/ 130 w 137"/>
                  <a:gd name="T35" fmla="*/ 178 h 237"/>
                  <a:gd name="T36" fmla="*/ 110 w 137"/>
                  <a:gd name="T37" fmla="*/ 148 h 237"/>
                  <a:gd name="T38" fmla="*/ 130 w 137"/>
                  <a:gd name="T39" fmla="*/ 117 h 237"/>
                  <a:gd name="T40" fmla="*/ 137 w 137"/>
                  <a:gd name="T41" fmla="*/ 117 h 237"/>
                  <a:gd name="T42" fmla="*/ 137 w 137"/>
                  <a:gd name="T43" fmla="*/ 59 h 237"/>
                  <a:gd name="T44" fmla="*/ 38 w 137"/>
                  <a:gd name="T45" fmla="*/ 0 h 237"/>
                  <a:gd name="T46" fmla="*/ 15 w 137"/>
                  <a:gd name="T47" fmla="*/ 8 h 237"/>
                  <a:gd name="T48" fmla="*/ 15 w 137"/>
                  <a:gd name="T49" fmla="*/ 8 h 237"/>
                  <a:gd name="T50" fmla="*/ 15 w 137"/>
                  <a:gd name="T51" fmla="*/ 8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37" h="237">
                    <a:moveTo>
                      <a:pt x="15" y="8"/>
                    </a:moveTo>
                    <a:lnTo>
                      <a:pt x="15" y="22"/>
                    </a:lnTo>
                    <a:lnTo>
                      <a:pt x="38" y="43"/>
                    </a:lnTo>
                    <a:lnTo>
                      <a:pt x="30" y="96"/>
                    </a:lnTo>
                    <a:lnTo>
                      <a:pt x="0" y="131"/>
                    </a:lnTo>
                    <a:lnTo>
                      <a:pt x="0" y="139"/>
                    </a:lnTo>
                    <a:lnTo>
                      <a:pt x="6" y="148"/>
                    </a:lnTo>
                    <a:lnTo>
                      <a:pt x="6" y="163"/>
                    </a:lnTo>
                    <a:lnTo>
                      <a:pt x="30" y="200"/>
                    </a:lnTo>
                    <a:lnTo>
                      <a:pt x="6" y="200"/>
                    </a:lnTo>
                    <a:lnTo>
                      <a:pt x="6" y="208"/>
                    </a:lnTo>
                    <a:lnTo>
                      <a:pt x="15" y="215"/>
                    </a:lnTo>
                    <a:lnTo>
                      <a:pt x="30" y="237"/>
                    </a:lnTo>
                    <a:lnTo>
                      <a:pt x="80" y="215"/>
                    </a:lnTo>
                    <a:lnTo>
                      <a:pt x="67" y="215"/>
                    </a:lnTo>
                    <a:lnTo>
                      <a:pt x="95" y="208"/>
                    </a:lnTo>
                    <a:lnTo>
                      <a:pt x="125" y="178"/>
                    </a:lnTo>
                    <a:lnTo>
                      <a:pt x="130" y="178"/>
                    </a:lnTo>
                    <a:lnTo>
                      <a:pt x="110" y="148"/>
                    </a:lnTo>
                    <a:lnTo>
                      <a:pt x="130" y="117"/>
                    </a:lnTo>
                    <a:lnTo>
                      <a:pt x="137" y="117"/>
                    </a:lnTo>
                    <a:lnTo>
                      <a:pt x="137" y="59"/>
                    </a:lnTo>
                    <a:lnTo>
                      <a:pt x="38" y="0"/>
                    </a:lnTo>
                    <a:lnTo>
                      <a:pt x="15" y="8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51" name="Freeform 185"/>
              <p:cNvSpPr>
                <a:spLocks/>
              </p:cNvSpPr>
              <p:nvPr/>
            </p:nvSpPr>
            <p:spPr bwMode="auto">
              <a:xfrm>
                <a:off x="4833938" y="4414838"/>
                <a:ext cx="400050" cy="506412"/>
              </a:xfrm>
              <a:custGeom>
                <a:avLst/>
                <a:gdLst>
                  <a:gd name="T0" fmla="*/ 16 w 229"/>
                  <a:gd name="T1" fmla="*/ 175 h 289"/>
                  <a:gd name="T2" fmla="*/ 28 w 229"/>
                  <a:gd name="T3" fmla="*/ 197 h 289"/>
                  <a:gd name="T4" fmla="*/ 28 w 229"/>
                  <a:gd name="T5" fmla="*/ 214 h 289"/>
                  <a:gd name="T6" fmla="*/ 43 w 229"/>
                  <a:gd name="T7" fmla="*/ 222 h 289"/>
                  <a:gd name="T8" fmla="*/ 80 w 229"/>
                  <a:gd name="T9" fmla="*/ 266 h 289"/>
                  <a:gd name="T10" fmla="*/ 85 w 229"/>
                  <a:gd name="T11" fmla="*/ 282 h 289"/>
                  <a:gd name="T12" fmla="*/ 113 w 229"/>
                  <a:gd name="T13" fmla="*/ 282 h 289"/>
                  <a:gd name="T14" fmla="*/ 122 w 229"/>
                  <a:gd name="T15" fmla="*/ 289 h 289"/>
                  <a:gd name="T16" fmla="*/ 137 w 229"/>
                  <a:gd name="T17" fmla="*/ 289 h 289"/>
                  <a:gd name="T18" fmla="*/ 164 w 229"/>
                  <a:gd name="T19" fmla="*/ 282 h 289"/>
                  <a:gd name="T20" fmla="*/ 192 w 229"/>
                  <a:gd name="T21" fmla="*/ 282 h 289"/>
                  <a:gd name="T22" fmla="*/ 192 w 229"/>
                  <a:gd name="T23" fmla="*/ 261 h 289"/>
                  <a:gd name="T24" fmla="*/ 186 w 229"/>
                  <a:gd name="T25" fmla="*/ 261 h 289"/>
                  <a:gd name="T26" fmla="*/ 164 w 229"/>
                  <a:gd name="T27" fmla="*/ 235 h 289"/>
                  <a:gd name="T28" fmla="*/ 157 w 229"/>
                  <a:gd name="T29" fmla="*/ 222 h 289"/>
                  <a:gd name="T30" fmla="*/ 199 w 229"/>
                  <a:gd name="T31" fmla="*/ 143 h 289"/>
                  <a:gd name="T32" fmla="*/ 207 w 229"/>
                  <a:gd name="T33" fmla="*/ 91 h 289"/>
                  <a:gd name="T34" fmla="*/ 229 w 229"/>
                  <a:gd name="T35" fmla="*/ 84 h 289"/>
                  <a:gd name="T36" fmla="*/ 229 w 229"/>
                  <a:gd name="T37" fmla="*/ 76 h 289"/>
                  <a:gd name="T38" fmla="*/ 214 w 229"/>
                  <a:gd name="T39" fmla="*/ 69 h 289"/>
                  <a:gd name="T40" fmla="*/ 207 w 229"/>
                  <a:gd name="T41" fmla="*/ 8 h 289"/>
                  <a:gd name="T42" fmla="*/ 192 w 229"/>
                  <a:gd name="T43" fmla="*/ 0 h 289"/>
                  <a:gd name="T44" fmla="*/ 164 w 229"/>
                  <a:gd name="T45" fmla="*/ 17 h 289"/>
                  <a:gd name="T46" fmla="*/ 157 w 229"/>
                  <a:gd name="T47" fmla="*/ 8 h 289"/>
                  <a:gd name="T48" fmla="*/ 43 w 229"/>
                  <a:gd name="T49" fmla="*/ 8 h 289"/>
                  <a:gd name="T50" fmla="*/ 43 w 229"/>
                  <a:gd name="T51" fmla="*/ 39 h 289"/>
                  <a:gd name="T52" fmla="*/ 28 w 229"/>
                  <a:gd name="T53" fmla="*/ 52 h 289"/>
                  <a:gd name="T54" fmla="*/ 28 w 229"/>
                  <a:gd name="T55" fmla="*/ 113 h 289"/>
                  <a:gd name="T56" fmla="*/ 21 w 229"/>
                  <a:gd name="T57" fmla="*/ 113 h 289"/>
                  <a:gd name="T58" fmla="*/ 0 w 229"/>
                  <a:gd name="T59" fmla="*/ 143 h 289"/>
                  <a:gd name="T60" fmla="*/ 21 w 229"/>
                  <a:gd name="T61" fmla="*/ 175 h 289"/>
                  <a:gd name="T62" fmla="*/ 16 w 229"/>
                  <a:gd name="T63" fmla="*/ 175 h 289"/>
                  <a:gd name="T64" fmla="*/ 16 w 229"/>
                  <a:gd name="T65" fmla="*/ 175 h 289"/>
                  <a:gd name="T66" fmla="*/ 16 w 229"/>
                  <a:gd name="T67" fmla="*/ 175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29" h="289">
                    <a:moveTo>
                      <a:pt x="16" y="175"/>
                    </a:moveTo>
                    <a:lnTo>
                      <a:pt x="28" y="197"/>
                    </a:lnTo>
                    <a:lnTo>
                      <a:pt x="28" y="214"/>
                    </a:lnTo>
                    <a:lnTo>
                      <a:pt x="43" y="222"/>
                    </a:lnTo>
                    <a:lnTo>
                      <a:pt x="80" y="266"/>
                    </a:lnTo>
                    <a:lnTo>
                      <a:pt x="85" y="282"/>
                    </a:lnTo>
                    <a:lnTo>
                      <a:pt x="113" y="282"/>
                    </a:lnTo>
                    <a:lnTo>
                      <a:pt x="122" y="289"/>
                    </a:lnTo>
                    <a:lnTo>
                      <a:pt x="137" y="289"/>
                    </a:lnTo>
                    <a:lnTo>
                      <a:pt x="164" y="282"/>
                    </a:lnTo>
                    <a:lnTo>
                      <a:pt x="192" y="282"/>
                    </a:lnTo>
                    <a:lnTo>
                      <a:pt x="192" y="261"/>
                    </a:lnTo>
                    <a:lnTo>
                      <a:pt x="186" y="261"/>
                    </a:lnTo>
                    <a:lnTo>
                      <a:pt x="164" y="235"/>
                    </a:lnTo>
                    <a:lnTo>
                      <a:pt x="157" y="222"/>
                    </a:lnTo>
                    <a:lnTo>
                      <a:pt x="199" y="143"/>
                    </a:lnTo>
                    <a:lnTo>
                      <a:pt x="207" y="91"/>
                    </a:lnTo>
                    <a:lnTo>
                      <a:pt x="229" y="84"/>
                    </a:lnTo>
                    <a:lnTo>
                      <a:pt x="229" y="76"/>
                    </a:lnTo>
                    <a:lnTo>
                      <a:pt x="214" y="69"/>
                    </a:lnTo>
                    <a:lnTo>
                      <a:pt x="207" y="8"/>
                    </a:lnTo>
                    <a:lnTo>
                      <a:pt x="192" y="0"/>
                    </a:lnTo>
                    <a:lnTo>
                      <a:pt x="164" y="17"/>
                    </a:lnTo>
                    <a:lnTo>
                      <a:pt x="157" y="8"/>
                    </a:lnTo>
                    <a:lnTo>
                      <a:pt x="43" y="8"/>
                    </a:lnTo>
                    <a:lnTo>
                      <a:pt x="43" y="39"/>
                    </a:lnTo>
                    <a:lnTo>
                      <a:pt x="28" y="52"/>
                    </a:lnTo>
                    <a:lnTo>
                      <a:pt x="28" y="113"/>
                    </a:lnTo>
                    <a:lnTo>
                      <a:pt x="21" y="113"/>
                    </a:lnTo>
                    <a:lnTo>
                      <a:pt x="0" y="143"/>
                    </a:lnTo>
                    <a:lnTo>
                      <a:pt x="21" y="175"/>
                    </a:lnTo>
                    <a:lnTo>
                      <a:pt x="16" y="175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52" name="Freeform 186"/>
              <p:cNvSpPr>
                <a:spLocks/>
              </p:cNvSpPr>
              <p:nvPr/>
            </p:nvSpPr>
            <p:spPr bwMode="auto">
              <a:xfrm>
                <a:off x="5121275" y="4903788"/>
                <a:ext cx="196850" cy="225425"/>
              </a:xfrm>
              <a:custGeom>
                <a:avLst/>
                <a:gdLst>
                  <a:gd name="T0" fmla="*/ 112 w 112"/>
                  <a:gd name="T1" fmla="*/ 10 h 130"/>
                  <a:gd name="T2" fmla="*/ 90 w 112"/>
                  <a:gd name="T3" fmla="*/ 0 h 130"/>
                  <a:gd name="T4" fmla="*/ 70 w 112"/>
                  <a:gd name="T5" fmla="*/ 10 h 130"/>
                  <a:gd name="T6" fmla="*/ 0 w 112"/>
                  <a:gd name="T7" fmla="*/ 0 h 130"/>
                  <a:gd name="T8" fmla="*/ 8 w 112"/>
                  <a:gd name="T9" fmla="*/ 10 h 130"/>
                  <a:gd name="T10" fmla="*/ 22 w 112"/>
                  <a:gd name="T11" fmla="*/ 39 h 130"/>
                  <a:gd name="T12" fmla="*/ 0 w 112"/>
                  <a:gd name="T13" fmla="*/ 62 h 130"/>
                  <a:gd name="T14" fmla="*/ 0 w 112"/>
                  <a:gd name="T15" fmla="*/ 76 h 130"/>
                  <a:gd name="T16" fmla="*/ 8 w 112"/>
                  <a:gd name="T17" fmla="*/ 76 h 130"/>
                  <a:gd name="T18" fmla="*/ 48 w 112"/>
                  <a:gd name="T19" fmla="*/ 101 h 130"/>
                  <a:gd name="T20" fmla="*/ 48 w 112"/>
                  <a:gd name="T21" fmla="*/ 121 h 130"/>
                  <a:gd name="T22" fmla="*/ 77 w 112"/>
                  <a:gd name="T23" fmla="*/ 130 h 130"/>
                  <a:gd name="T24" fmla="*/ 83 w 112"/>
                  <a:gd name="T25" fmla="*/ 101 h 130"/>
                  <a:gd name="T26" fmla="*/ 90 w 112"/>
                  <a:gd name="T27" fmla="*/ 101 h 130"/>
                  <a:gd name="T28" fmla="*/ 105 w 112"/>
                  <a:gd name="T29" fmla="*/ 84 h 130"/>
                  <a:gd name="T30" fmla="*/ 90 w 112"/>
                  <a:gd name="T31" fmla="*/ 76 h 130"/>
                  <a:gd name="T32" fmla="*/ 90 w 112"/>
                  <a:gd name="T33" fmla="*/ 30 h 130"/>
                  <a:gd name="T34" fmla="*/ 112 w 112"/>
                  <a:gd name="T35" fmla="*/ 10 h 130"/>
                  <a:gd name="T36" fmla="*/ 112 w 112"/>
                  <a:gd name="T37" fmla="*/ 10 h 130"/>
                  <a:gd name="T38" fmla="*/ 112 w 112"/>
                  <a:gd name="T39" fmla="*/ 1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12" h="130">
                    <a:moveTo>
                      <a:pt x="112" y="10"/>
                    </a:moveTo>
                    <a:lnTo>
                      <a:pt x="90" y="0"/>
                    </a:lnTo>
                    <a:lnTo>
                      <a:pt x="70" y="10"/>
                    </a:lnTo>
                    <a:lnTo>
                      <a:pt x="0" y="0"/>
                    </a:lnTo>
                    <a:lnTo>
                      <a:pt x="8" y="10"/>
                    </a:lnTo>
                    <a:lnTo>
                      <a:pt x="22" y="39"/>
                    </a:lnTo>
                    <a:lnTo>
                      <a:pt x="0" y="62"/>
                    </a:lnTo>
                    <a:lnTo>
                      <a:pt x="0" y="76"/>
                    </a:lnTo>
                    <a:lnTo>
                      <a:pt x="8" y="76"/>
                    </a:lnTo>
                    <a:lnTo>
                      <a:pt x="48" y="101"/>
                    </a:lnTo>
                    <a:lnTo>
                      <a:pt x="48" y="121"/>
                    </a:lnTo>
                    <a:lnTo>
                      <a:pt x="77" y="130"/>
                    </a:lnTo>
                    <a:lnTo>
                      <a:pt x="83" y="101"/>
                    </a:lnTo>
                    <a:lnTo>
                      <a:pt x="90" y="101"/>
                    </a:lnTo>
                    <a:lnTo>
                      <a:pt x="105" y="84"/>
                    </a:lnTo>
                    <a:lnTo>
                      <a:pt x="90" y="76"/>
                    </a:lnTo>
                    <a:lnTo>
                      <a:pt x="90" y="30"/>
                    </a:lnTo>
                    <a:lnTo>
                      <a:pt x="112" y="1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53" name="Freeform 187"/>
              <p:cNvSpPr>
                <a:spLocks/>
              </p:cNvSpPr>
              <p:nvPr/>
            </p:nvSpPr>
            <p:spPr bwMode="auto">
              <a:xfrm>
                <a:off x="5024438" y="4903788"/>
                <a:ext cx="134937" cy="142875"/>
              </a:xfrm>
              <a:custGeom>
                <a:avLst/>
                <a:gdLst>
                  <a:gd name="T0" fmla="*/ 54 w 76"/>
                  <a:gd name="T1" fmla="*/ 0 h 82"/>
                  <a:gd name="T2" fmla="*/ 60 w 76"/>
                  <a:gd name="T3" fmla="*/ 9 h 82"/>
                  <a:gd name="T4" fmla="*/ 76 w 76"/>
                  <a:gd name="T5" fmla="*/ 39 h 82"/>
                  <a:gd name="T6" fmla="*/ 54 w 76"/>
                  <a:gd name="T7" fmla="*/ 61 h 82"/>
                  <a:gd name="T8" fmla="*/ 54 w 76"/>
                  <a:gd name="T9" fmla="*/ 76 h 82"/>
                  <a:gd name="T10" fmla="*/ 14 w 76"/>
                  <a:gd name="T11" fmla="*/ 76 h 82"/>
                  <a:gd name="T12" fmla="*/ 0 w 76"/>
                  <a:gd name="T13" fmla="*/ 82 h 82"/>
                  <a:gd name="T14" fmla="*/ 3 w 76"/>
                  <a:gd name="T15" fmla="*/ 54 h 82"/>
                  <a:gd name="T16" fmla="*/ 14 w 76"/>
                  <a:gd name="T17" fmla="*/ 47 h 82"/>
                  <a:gd name="T18" fmla="*/ 20 w 76"/>
                  <a:gd name="T19" fmla="*/ 30 h 82"/>
                  <a:gd name="T20" fmla="*/ 14 w 76"/>
                  <a:gd name="T21" fmla="*/ 30 h 82"/>
                  <a:gd name="T22" fmla="*/ 14 w 76"/>
                  <a:gd name="T23" fmla="*/ 9 h 82"/>
                  <a:gd name="T24" fmla="*/ 27 w 76"/>
                  <a:gd name="T25" fmla="*/ 9 h 82"/>
                  <a:gd name="T26" fmla="*/ 54 w 76"/>
                  <a:gd name="T27" fmla="*/ 0 h 82"/>
                  <a:gd name="T28" fmla="*/ 54 w 76"/>
                  <a:gd name="T29" fmla="*/ 0 h 82"/>
                  <a:gd name="T30" fmla="*/ 54 w 76"/>
                  <a:gd name="T31" fmla="*/ 0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76" h="82">
                    <a:moveTo>
                      <a:pt x="54" y="0"/>
                    </a:moveTo>
                    <a:lnTo>
                      <a:pt x="60" y="9"/>
                    </a:lnTo>
                    <a:lnTo>
                      <a:pt x="76" y="39"/>
                    </a:lnTo>
                    <a:lnTo>
                      <a:pt x="54" y="61"/>
                    </a:lnTo>
                    <a:lnTo>
                      <a:pt x="54" y="76"/>
                    </a:lnTo>
                    <a:lnTo>
                      <a:pt x="14" y="76"/>
                    </a:lnTo>
                    <a:lnTo>
                      <a:pt x="0" y="82"/>
                    </a:lnTo>
                    <a:lnTo>
                      <a:pt x="3" y="54"/>
                    </a:lnTo>
                    <a:lnTo>
                      <a:pt x="14" y="47"/>
                    </a:lnTo>
                    <a:lnTo>
                      <a:pt x="20" y="30"/>
                    </a:lnTo>
                    <a:lnTo>
                      <a:pt x="14" y="30"/>
                    </a:lnTo>
                    <a:lnTo>
                      <a:pt x="14" y="9"/>
                    </a:lnTo>
                    <a:lnTo>
                      <a:pt x="27" y="9"/>
                    </a:lnTo>
                    <a:lnTo>
                      <a:pt x="54" y="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54" name="Freeform 188"/>
              <p:cNvSpPr>
                <a:spLocks/>
              </p:cNvSpPr>
              <p:nvPr/>
            </p:nvSpPr>
            <p:spPr bwMode="auto">
              <a:xfrm>
                <a:off x="5024438" y="5037138"/>
                <a:ext cx="247650" cy="266700"/>
              </a:xfrm>
              <a:custGeom>
                <a:avLst/>
                <a:gdLst>
                  <a:gd name="T0" fmla="*/ 49 w 141"/>
                  <a:gd name="T1" fmla="*/ 130 h 153"/>
                  <a:gd name="T2" fmla="*/ 20 w 141"/>
                  <a:gd name="T3" fmla="*/ 108 h 153"/>
                  <a:gd name="T4" fmla="*/ 14 w 141"/>
                  <a:gd name="T5" fmla="*/ 108 h 153"/>
                  <a:gd name="T6" fmla="*/ 0 w 141"/>
                  <a:gd name="T7" fmla="*/ 84 h 153"/>
                  <a:gd name="T8" fmla="*/ 0 w 141"/>
                  <a:gd name="T9" fmla="*/ 54 h 153"/>
                  <a:gd name="T10" fmla="*/ 14 w 141"/>
                  <a:gd name="T11" fmla="*/ 31 h 153"/>
                  <a:gd name="T12" fmla="*/ 14 w 141"/>
                  <a:gd name="T13" fmla="*/ 0 h 153"/>
                  <a:gd name="T14" fmla="*/ 62 w 141"/>
                  <a:gd name="T15" fmla="*/ 0 h 153"/>
                  <a:gd name="T16" fmla="*/ 106 w 141"/>
                  <a:gd name="T17" fmla="*/ 24 h 153"/>
                  <a:gd name="T18" fmla="*/ 106 w 141"/>
                  <a:gd name="T19" fmla="*/ 46 h 153"/>
                  <a:gd name="T20" fmla="*/ 132 w 141"/>
                  <a:gd name="T21" fmla="*/ 54 h 153"/>
                  <a:gd name="T22" fmla="*/ 127 w 141"/>
                  <a:gd name="T23" fmla="*/ 68 h 153"/>
                  <a:gd name="T24" fmla="*/ 132 w 141"/>
                  <a:gd name="T25" fmla="*/ 91 h 153"/>
                  <a:gd name="T26" fmla="*/ 132 w 141"/>
                  <a:gd name="T27" fmla="*/ 130 h 153"/>
                  <a:gd name="T28" fmla="*/ 141 w 141"/>
                  <a:gd name="T29" fmla="*/ 138 h 153"/>
                  <a:gd name="T30" fmla="*/ 127 w 141"/>
                  <a:gd name="T31" fmla="*/ 153 h 153"/>
                  <a:gd name="T32" fmla="*/ 77 w 141"/>
                  <a:gd name="T33" fmla="*/ 153 h 153"/>
                  <a:gd name="T34" fmla="*/ 62 w 141"/>
                  <a:gd name="T35" fmla="*/ 130 h 153"/>
                  <a:gd name="T36" fmla="*/ 49 w 141"/>
                  <a:gd name="T37" fmla="*/ 130 h 153"/>
                  <a:gd name="T38" fmla="*/ 49 w 141"/>
                  <a:gd name="T39" fmla="*/ 130 h 153"/>
                  <a:gd name="T40" fmla="*/ 49 w 141"/>
                  <a:gd name="T41" fmla="*/ 130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41" h="153">
                    <a:moveTo>
                      <a:pt x="49" y="130"/>
                    </a:moveTo>
                    <a:lnTo>
                      <a:pt x="20" y="108"/>
                    </a:lnTo>
                    <a:lnTo>
                      <a:pt x="14" y="108"/>
                    </a:lnTo>
                    <a:lnTo>
                      <a:pt x="0" y="84"/>
                    </a:lnTo>
                    <a:lnTo>
                      <a:pt x="0" y="54"/>
                    </a:lnTo>
                    <a:lnTo>
                      <a:pt x="14" y="31"/>
                    </a:lnTo>
                    <a:lnTo>
                      <a:pt x="14" y="0"/>
                    </a:lnTo>
                    <a:lnTo>
                      <a:pt x="62" y="0"/>
                    </a:lnTo>
                    <a:lnTo>
                      <a:pt x="106" y="24"/>
                    </a:lnTo>
                    <a:lnTo>
                      <a:pt x="106" y="46"/>
                    </a:lnTo>
                    <a:lnTo>
                      <a:pt x="132" y="54"/>
                    </a:lnTo>
                    <a:lnTo>
                      <a:pt x="127" y="68"/>
                    </a:lnTo>
                    <a:lnTo>
                      <a:pt x="132" y="91"/>
                    </a:lnTo>
                    <a:lnTo>
                      <a:pt x="132" y="130"/>
                    </a:lnTo>
                    <a:lnTo>
                      <a:pt x="141" y="138"/>
                    </a:lnTo>
                    <a:lnTo>
                      <a:pt x="127" y="153"/>
                    </a:lnTo>
                    <a:lnTo>
                      <a:pt x="77" y="153"/>
                    </a:lnTo>
                    <a:lnTo>
                      <a:pt x="62" y="130"/>
                    </a:lnTo>
                    <a:lnTo>
                      <a:pt x="49" y="13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55" name="Freeform 189"/>
              <p:cNvSpPr>
                <a:spLocks/>
              </p:cNvSpPr>
              <p:nvPr/>
            </p:nvSpPr>
            <p:spPr bwMode="auto">
              <a:xfrm>
                <a:off x="4614863" y="4876800"/>
                <a:ext cx="444500" cy="474663"/>
              </a:xfrm>
              <a:custGeom>
                <a:avLst/>
                <a:gdLst>
                  <a:gd name="T0" fmla="*/ 204 w 253"/>
                  <a:gd name="T1" fmla="*/ 0 h 272"/>
                  <a:gd name="T2" fmla="*/ 144 w 253"/>
                  <a:gd name="T3" fmla="*/ 0 h 272"/>
                  <a:gd name="T4" fmla="*/ 139 w 253"/>
                  <a:gd name="T5" fmla="*/ 15 h 272"/>
                  <a:gd name="T6" fmla="*/ 108 w 253"/>
                  <a:gd name="T7" fmla="*/ 15 h 272"/>
                  <a:gd name="T8" fmla="*/ 100 w 253"/>
                  <a:gd name="T9" fmla="*/ 0 h 272"/>
                  <a:gd name="T10" fmla="*/ 93 w 253"/>
                  <a:gd name="T11" fmla="*/ 0 h 272"/>
                  <a:gd name="T12" fmla="*/ 80 w 253"/>
                  <a:gd name="T13" fmla="*/ 24 h 272"/>
                  <a:gd name="T14" fmla="*/ 65 w 253"/>
                  <a:gd name="T15" fmla="*/ 91 h 272"/>
                  <a:gd name="T16" fmla="*/ 51 w 253"/>
                  <a:gd name="T17" fmla="*/ 108 h 272"/>
                  <a:gd name="T18" fmla="*/ 43 w 253"/>
                  <a:gd name="T19" fmla="*/ 136 h 272"/>
                  <a:gd name="T20" fmla="*/ 21 w 253"/>
                  <a:gd name="T21" fmla="*/ 145 h 272"/>
                  <a:gd name="T22" fmla="*/ 8 w 253"/>
                  <a:gd name="T23" fmla="*/ 145 h 272"/>
                  <a:gd name="T24" fmla="*/ 0 w 253"/>
                  <a:gd name="T25" fmla="*/ 158 h 272"/>
                  <a:gd name="T26" fmla="*/ 0 w 253"/>
                  <a:gd name="T27" fmla="*/ 175 h 272"/>
                  <a:gd name="T28" fmla="*/ 15 w 253"/>
                  <a:gd name="T29" fmla="*/ 158 h 272"/>
                  <a:gd name="T30" fmla="*/ 58 w 253"/>
                  <a:gd name="T31" fmla="*/ 158 h 272"/>
                  <a:gd name="T32" fmla="*/ 58 w 253"/>
                  <a:gd name="T33" fmla="*/ 182 h 272"/>
                  <a:gd name="T34" fmla="*/ 72 w 253"/>
                  <a:gd name="T35" fmla="*/ 197 h 272"/>
                  <a:gd name="T36" fmla="*/ 93 w 253"/>
                  <a:gd name="T37" fmla="*/ 188 h 272"/>
                  <a:gd name="T38" fmla="*/ 93 w 253"/>
                  <a:gd name="T39" fmla="*/ 182 h 272"/>
                  <a:gd name="T40" fmla="*/ 108 w 253"/>
                  <a:gd name="T41" fmla="*/ 182 h 272"/>
                  <a:gd name="T42" fmla="*/ 124 w 253"/>
                  <a:gd name="T43" fmla="*/ 188 h 272"/>
                  <a:gd name="T44" fmla="*/ 124 w 253"/>
                  <a:gd name="T45" fmla="*/ 219 h 272"/>
                  <a:gd name="T46" fmla="*/ 139 w 253"/>
                  <a:gd name="T47" fmla="*/ 229 h 272"/>
                  <a:gd name="T48" fmla="*/ 124 w 253"/>
                  <a:gd name="T49" fmla="*/ 235 h 272"/>
                  <a:gd name="T50" fmla="*/ 124 w 253"/>
                  <a:gd name="T51" fmla="*/ 240 h 272"/>
                  <a:gd name="T52" fmla="*/ 150 w 253"/>
                  <a:gd name="T53" fmla="*/ 235 h 272"/>
                  <a:gd name="T54" fmla="*/ 189 w 253"/>
                  <a:gd name="T55" fmla="*/ 257 h 272"/>
                  <a:gd name="T56" fmla="*/ 194 w 253"/>
                  <a:gd name="T57" fmla="*/ 240 h 272"/>
                  <a:gd name="T58" fmla="*/ 216 w 253"/>
                  <a:gd name="T59" fmla="*/ 264 h 272"/>
                  <a:gd name="T60" fmla="*/ 231 w 253"/>
                  <a:gd name="T61" fmla="*/ 272 h 272"/>
                  <a:gd name="T62" fmla="*/ 231 w 253"/>
                  <a:gd name="T63" fmla="*/ 257 h 272"/>
                  <a:gd name="T64" fmla="*/ 216 w 253"/>
                  <a:gd name="T65" fmla="*/ 257 h 272"/>
                  <a:gd name="T66" fmla="*/ 216 w 253"/>
                  <a:gd name="T67" fmla="*/ 197 h 272"/>
                  <a:gd name="T68" fmla="*/ 244 w 253"/>
                  <a:gd name="T69" fmla="*/ 197 h 272"/>
                  <a:gd name="T70" fmla="*/ 231 w 253"/>
                  <a:gd name="T71" fmla="*/ 175 h 272"/>
                  <a:gd name="T72" fmla="*/ 231 w 253"/>
                  <a:gd name="T73" fmla="*/ 114 h 272"/>
                  <a:gd name="T74" fmla="*/ 216 w 253"/>
                  <a:gd name="T75" fmla="*/ 114 h 272"/>
                  <a:gd name="T76" fmla="*/ 231 w 253"/>
                  <a:gd name="T77" fmla="*/ 99 h 272"/>
                  <a:gd name="T78" fmla="*/ 237 w 253"/>
                  <a:gd name="T79" fmla="*/ 69 h 272"/>
                  <a:gd name="T80" fmla="*/ 244 w 253"/>
                  <a:gd name="T81" fmla="*/ 62 h 272"/>
                  <a:gd name="T82" fmla="*/ 253 w 253"/>
                  <a:gd name="T83" fmla="*/ 47 h 272"/>
                  <a:gd name="T84" fmla="*/ 244 w 253"/>
                  <a:gd name="T85" fmla="*/ 47 h 272"/>
                  <a:gd name="T86" fmla="*/ 244 w 253"/>
                  <a:gd name="T87" fmla="*/ 24 h 272"/>
                  <a:gd name="T88" fmla="*/ 237 w 253"/>
                  <a:gd name="T89" fmla="*/ 15 h 272"/>
                  <a:gd name="T90" fmla="*/ 209 w 253"/>
                  <a:gd name="T91" fmla="*/ 15 h 272"/>
                  <a:gd name="T92" fmla="*/ 204 w 253"/>
                  <a:gd name="T93" fmla="*/ 0 h 272"/>
                  <a:gd name="T94" fmla="*/ 204 w 253"/>
                  <a:gd name="T95" fmla="*/ 0 h 272"/>
                  <a:gd name="T96" fmla="*/ 204 w 253"/>
                  <a:gd name="T97" fmla="*/ 0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53" h="272">
                    <a:moveTo>
                      <a:pt x="204" y="0"/>
                    </a:moveTo>
                    <a:lnTo>
                      <a:pt x="144" y="0"/>
                    </a:lnTo>
                    <a:lnTo>
                      <a:pt x="139" y="15"/>
                    </a:lnTo>
                    <a:lnTo>
                      <a:pt x="108" y="15"/>
                    </a:lnTo>
                    <a:lnTo>
                      <a:pt x="100" y="0"/>
                    </a:lnTo>
                    <a:lnTo>
                      <a:pt x="93" y="0"/>
                    </a:lnTo>
                    <a:lnTo>
                      <a:pt x="80" y="24"/>
                    </a:lnTo>
                    <a:lnTo>
                      <a:pt x="65" y="91"/>
                    </a:lnTo>
                    <a:lnTo>
                      <a:pt x="51" y="108"/>
                    </a:lnTo>
                    <a:lnTo>
                      <a:pt x="43" y="136"/>
                    </a:lnTo>
                    <a:lnTo>
                      <a:pt x="21" y="145"/>
                    </a:lnTo>
                    <a:lnTo>
                      <a:pt x="8" y="145"/>
                    </a:lnTo>
                    <a:lnTo>
                      <a:pt x="0" y="158"/>
                    </a:lnTo>
                    <a:lnTo>
                      <a:pt x="0" y="175"/>
                    </a:lnTo>
                    <a:lnTo>
                      <a:pt x="15" y="158"/>
                    </a:lnTo>
                    <a:lnTo>
                      <a:pt x="58" y="158"/>
                    </a:lnTo>
                    <a:lnTo>
                      <a:pt x="58" y="182"/>
                    </a:lnTo>
                    <a:lnTo>
                      <a:pt x="72" y="197"/>
                    </a:lnTo>
                    <a:lnTo>
                      <a:pt x="93" y="188"/>
                    </a:lnTo>
                    <a:lnTo>
                      <a:pt x="93" y="182"/>
                    </a:lnTo>
                    <a:lnTo>
                      <a:pt x="108" y="182"/>
                    </a:lnTo>
                    <a:lnTo>
                      <a:pt x="124" y="188"/>
                    </a:lnTo>
                    <a:lnTo>
                      <a:pt x="124" y="219"/>
                    </a:lnTo>
                    <a:lnTo>
                      <a:pt x="139" y="229"/>
                    </a:lnTo>
                    <a:lnTo>
                      <a:pt x="124" y="235"/>
                    </a:lnTo>
                    <a:lnTo>
                      <a:pt x="124" y="240"/>
                    </a:lnTo>
                    <a:lnTo>
                      <a:pt x="150" y="235"/>
                    </a:lnTo>
                    <a:lnTo>
                      <a:pt x="189" y="257"/>
                    </a:lnTo>
                    <a:lnTo>
                      <a:pt x="194" y="240"/>
                    </a:lnTo>
                    <a:lnTo>
                      <a:pt x="216" y="264"/>
                    </a:lnTo>
                    <a:lnTo>
                      <a:pt x="231" y="272"/>
                    </a:lnTo>
                    <a:lnTo>
                      <a:pt x="231" y="257"/>
                    </a:lnTo>
                    <a:lnTo>
                      <a:pt x="216" y="257"/>
                    </a:lnTo>
                    <a:lnTo>
                      <a:pt x="216" y="197"/>
                    </a:lnTo>
                    <a:lnTo>
                      <a:pt x="244" y="197"/>
                    </a:lnTo>
                    <a:lnTo>
                      <a:pt x="231" y="175"/>
                    </a:lnTo>
                    <a:lnTo>
                      <a:pt x="231" y="114"/>
                    </a:lnTo>
                    <a:lnTo>
                      <a:pt x="216" y="114"/>
                    </a:lnTo>
                    <a:lnTo>
                      <a:pt x="231" y="99"/>
                    </a:lnTo>
                    <a:lnTo>
                      <a:pt x="237" y="69"/>
                    </a:lnTo>
                    <a:lnTo>
                      <a:pt x="244" y="62"/>
                    </a:lnTo>
                    <a:lnTo>
                      <a:pt x="253" y="47"/>
                    </a:lnTo>
                    <a:lnTo>
                      <a:pt x="244" y="47"/>
                    </a:lnTo>
                    <a:lnTo>
                      <a:pt x="244" y="24"/>
                    </a:lnTo>
                    <a:lnTo>
                      <a:pt x="237" y="15"/>
                    </a:lnTo>
                    <a:lnTo>
                      <a:pt x="209" y="15"/>
                    </a:lnTo>
                    <a:lnTo>
                      <a:pt x="204" y="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56" name="Freeform 190"/>
              <p:cNvSpPr>
                <a:spLocks/>
              </p:cNvSpPr>
              <p:nvPr/>
            </p:nvSpPr>
            <p:spPr bwMode="auto">
              <a:xfrm>
                <a:off x="4833938" y="5221288"/>
                <a:ext cx="287337" cy="252412"/>
              </a:xfrm>
              <a:custGeom>
                <a:avLst/>
                <a:gdLst>
                  <a:gd name="T0" fmla="*/ 28 w 164"/>
                  <a:gd name="T1" fmla="*/ 37 h 143"/>
                  <a:gd name="T2" fmla="*/ 63 w 164"/>
                  <a:gd name="T3" fmla="*/ 59 h 143"/>
                  <a:gd name="T4" fmla="*/ 70 w 164"/>
                  <a:gd name="T5" fmla="*/ 44 h 143"/>
                  <a:gd name="T6" fmla="*/ 92 w 164"/>
                  <a:gd name="T7" fmla="*/ 66 h 143"/>
                  <a:gd name="T8" fmla="*/ 107 w 164"/>
                  <a:gd name="T9" fmla="*/ 76 h 143"/>
                  <a:gd name="T10" fmla="*/ 107 w 164"/>
                  <a:gd name="T11" fmla="*/ 59 h 143"/>
                  <a:gd name="T12" fmla="*/ 92 w 164"/>
                  <a:gd name="T13" fmla="*/ 59 h 143"/>
                  <a:gd name="T14" fmla="*/ 92 w 164"/>
                  <a:gd name="T15" fmla="*/ 0 h 143"/>
                  <a:gd name="T16" fmla="*/ 129 w 164"/>
                  <a:gd name="T17" fmla="*/ 0 h 143"/>
                  <a:gd name="T18" fmla="*/ 157 w 164"/>
                  <a:gd name="T19" fmla="*/ 22 h 143"/>
                  <a:gd name="T20" fmla="*/ 164 w 164"/>
                  <a:gd name="T21" fmla="*/ 37 h 143"/>
                  <a:gd name="T22" fmla="*/ 157 w 164"/>
                  <a:gd name="T23" fmla="*/ 44 h 143"/>
                  <a:gd name="T24" fmla="*/ 157 w 164"/>
                  <a:gd name="T25" fmla="*/ 59 h 143"/>
                  <a:gd name="T26" fmla="*/ 150 w 164"/>
                  <a:gd name="T27" fmla="*/ 76 h 143"/>
                  <a:gd name="T28" fmla="*/ 157 w 164"/>
                  <a:gd name="T29" fmla="*/ 83 h 143"/>
                  <a:gd name="T30" fmla="*/ 113 w 164"/>
                  <a:gd name="T31" fmla="*/ 105 h 143"/>
                  <a:gd name="T32" fmla="*/ 113 w 164"/>
                  <a:gd name="T33" fmla="*/ 113 h 143"/>
                  <a:gd name="T34" fmla="*/ 92 w 164"/>
                  <a:gd name="T35" fmla="*/ 113 h 143"/>
                  <a:gd name="T36" fmla="*/ 92 w 164"/>
                  <a:gd name="T37" fmla="*/ 121 h 143"/>
                  <a:gd name="T38" fmla="*/ 70 w 164"/>
                  <a:gd name="T39" fmla="*/ 143 h 143"/>
                  <a:gd name="T40" fmla="*/ 43 w 164"/>
                  <a:gd name="T41" fmla="*/ 143 h 143"/>
                  <a:gd name="T42" fmla="*/ 28 w 164"/>
                  <a:gd name="T43" fmla="*/ 126 h 143"/>
                  <a:gd name="T44" fmla="*/ 21 w 164"/>
                  <a:gd name="T45" fmla="*/ 143 h 143"/>
                  <a:gd name="T46" fmla="*/ 0 w 164"/>
                  <a:gd name="T47" fmla="*/ 121 h 143"/>
                  <a:gd name="T48" fmla="*/ 0 w 164"/>
                  <a:gd name="T49" fmla="*/ 76 h 143"/>
                  <a:gd name="T50" fmla="*/ 35 w 164"/>
                  <a:gd name="T51" fmla="*/ 66 h 143"/>
                  <a:gd name="T52" fmla="*/ 28 w 164"/>
                  <a:gd name="T53" fmla="*/ 37 h 143"/>
                  <a:gd name="T54" fmla="*/ 28 w 164"/>
                  <a:gd name="T55" fmla="*/ 37 h 143"/>
                  <a:gd name="T56" fmla="*/ 28 w 164"/>
                  <a:gd name="T57" fmla="*/ 37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64" h="143">
                    <a:moveTo>
                      <a:pt x="28" y="37"/>
                    </a:moveTo>
                    <a:lnTo>
                      <a:pt x="63" y="59"/>
                    </a:lnTo>
                    <a:lnTo>
                      <a:pt x="70" y="44"/>
                    </a:lnTo>
                    <a:lnTo>
                      <a:pt x="92" y="66"/>
                    </a:lnTo>
                    <a:lnTo>
                      <a:pt x="107" y="76"/>
                    </a:lnTo>
                    <a:lnTo>
                      <a:pt x="107" y="59"/>
                    </a:lnTo>
                    <a:lnTo>
                      <a:pt x="92" y="59"/>
                    </a:lnTo>
                    <a:lnTo>
                      <a:pt x="92" y="0"/>
                    </a:lnTo>
                    <a:lnTo>
                      <a:pt x="129" y="0"/>
                    </a:lnTo>
                    <a:lnTo>
                      <a:pt x="157" y="22"/>
                    </a:lnTo>
                    <a:lnTo>
                      <a:pt x="164" y="37"/>
                    </a:lnTo>
                    <a:lnTo>
                      <a:pt x="157" y="44"/>
                    </a:lnTo>
                    <a:lnTo>
                      <a:pt x="157" y="59"/>
                    </a:lnTo>
                    <a:lnTo>
                      <a:pt x="150" y="76"/>
                    </a:lnTo>
                    <a:lnTo>
                      <a:pt x="157" y="83"/>
                    </a:lnTo>
                    <a:lnTo>
                      <a:pt x="113" y="105"/>
                    </a:lnTo>
                    <a:lnTo>
                      <a:pt x="113" y="113"/>
                    </a:lnTo>
                    <a:lnTo>
                      <a:pt x="92" y="113"/>
                    </a:lnTo>
                    <a:lnTo>
                      <a:pt x="92" y="121"/>
                    </a:lnTo>
                    <a:lnTo>
                      <a:pt x="70" y="143"/>
                    </a:lnTo>
                    <a:lnTo>
                      <a:pt x="43" y="143"/>
                    </a:lnTo>
                    <a:lnTo>
                      <a:pt x="28" y="126"/>
                    </a:lnTo>
                    <a:lnTo>
                      <a:pt x="21" y="143"/>
                    </a:lnTo>
                    <a:lnTo>
                      <a:pt x="0" y="121"/>
                    </a:lnTo>
                    <a:lnTo>
                      <a:pt x="0" y="76"/>
                    </a:lnTo>
                    <a:lnTo>
                      <a:pt x="35" y="66"/>
                    </a:lnTo>
                    <a:lnTo>
                      <a:pt x="28" y="37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57" name="Freeform 191"/>
              <p:cNvSpPr>
                <a:spLocks/>
              </p:cNvSpPr>
              <p:nvPr/>
            </p:nvSpPr>
            <p:spPr bwMode="auto">
              <a:xfrm>
                <a:off x="4006850" y="4051300"/>
                <a:ext cx="292100" cy="236538"/>
              </a:xfrm>
              <a:custGeom>
                <a:avLst/>
                <a:gdLst>
                  <a:gd name="T0" fmla="*/ 151 w 166"/>
                  <a:gd name="T1" fmla="*/ 6 h 136"/>
                  <a:gd name="T2" fmla="*/ 158 w 166"/>
                  <a:gd name="T3" fmla="*/ 6 h 136"/>
                  <a:gd name="T4" fmla="*/ 166 w 166"/>
                  <a:gd name="T5" fmla="*/ 52 h 136"/>
                  <a:gd name="T6" fmla="*/ 129 w 166"/>
                  <a:gd name="T7" fmla="*/ 60 h 136"/>
                  <a:gd name="T8" fmla="*/ 129 w 166"/>
                  <a:gd name="T9" fmla="*/ 74 h 136"/>
                  <a:gd name="T10" fmla="*/ 108 w 166"/>
                  <a:gd name="T11" fmla="*/ 89 h 136"/>
                  <a:gd name="T12" fmla="*/ 71 w 166"/>
                  <a:gd name="T13" fmla="*/ 106 h 136"/>
                  <a:gd name="T14" fmla="*/ 64 w 166"/>
                  <a:gd name="T15" fmla="*/ 111 h 136"/>
                  <a:gd name="T16" fmla="*/ 64 w 166"/>
                  <a:gd name="T17" fmla="*/ 136 h 136"/>
                  <a:gd name="T18" fmla="*/ 0 w 166"/>
                  <a:gd name="T19" fmla="*/ 126 h 136"/>
                  <a:gd name="T20" fmla="*/ 21 w 166"/>
                  <a:gd name="T21" fmla="*/ 126 h 136"/>
                  <a:gd name="T22" fmla="*/ 36 w 166"/>
                  <a:gd name="T23" fmla="*/ 106 h 136"/>
                  <a:gd name="T24" fmla="*/ 42 w 166"/>
                  <a:gd name="T25" fmla="*/ 89 h 136"/>
                  <a:gd name="T26" fmla="*/ 42 w 166"/>
                  <a:gd name="T27" fmla="*/ 74 h 136"/>
                  <a:gd name="T28" fmla="*/ 64 w 166"/>
                  <a:gd name="T29" fmla="*/ 37 h 136"/>
                  <a:gd name="T30" fmla="*/ 84 w 166"/>
                  <a:gd name="T31" fmla="*/ 22 h 136"/>
                  <a:gd name="T32" fmla="*/ 101 w 166"/>
                  <a:gd name="T33" fmla="*/ 0 h 136"/>
                  <a:gd name="T34" fmla="*/ 108 w 166"/>
                  <a:gd name="T35" fmla="*/ 0 h 136"/>
                  <a:gd name="T36" fmla="*/ 114 w 166"/>
                  <a:gd name="T37" fmla="*/ 6 h 136"/>
                  <a:gd name="T38" fmla="*/ 151 w 166"/>
                  <a:gd name="T39" fmla="*/ 6 h 136"/>
                  <a:gd name="T40" fmla="*/ 151 w 166"/>
                  <a:gd name="T41" fmla="*/ 6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6" h="136">
                    <a:moveTo>
                      <a:pt x="151" y="6"/>
                    </a:moveTo>
                    <a:lnTo>
                      <a:pt x="158" y="6"/>
                    </a:lnTo>
                    <a:lnTo>
                      <a:pt x="166" y="52"/>
                    </a:lnTo>
                    <a:lnTo>
                      <a:pt x="129" y="60"/>
                    </a:lnTo>
                    <a:lnTo>
                      <a:pt x="129" y="74"/>
                    </a:lnTo>
                    <a:lnTo>
                      <a:pt x="108" y="89"/>
                    </a:lnTo>
                    <a:lnTo>
                      <a:pt x="71" y="106"/>
                    </a:lnTo>
                    <a:lnTo>
                      <a:pt x="64" y="111"/>
                    </a:lnTo>
                    <a:lnTo>
                      <a:pt x="64" y="136"/>
                    </a:lnTo>
                    <a:lnTo>
                      <a:pt x="0" y="126"/>
                    </a:lnTo>
                    <a:lnTo>
                      <a:pt x="21" y="126"/>
                    </a:lnTo>
                    <a:lnTo>
                      <a:pt x="36" y="106"/>
                    </a:lnTo>
                    <a:lnTo>
                      <a:pt x="42" y="89"/>
                    </a:lnTo>
                    <a:lnTo>
                      <a:pt x="42" y="74"/>
                    </a:lnTo>
                    <a:lnTo>
                      <a:pt x="64" y="37"/>
                    </a:lnTo>
                    <a:lnTo>
                      <a:pt x="84" y="22"/>
                    </a:lnTo>
                    <a:lnTo>
                      <a:pt x="101" y="0"/>
                    </a:lnTo>
                    <a:lnTo>
                      <a:pt x="108" y="0"/>
                    </a:lnTo>
                    <a:lnTo>
                      <a:pt x="114" y="6"/>
                    </a:lnTo>
                    <a:lnTo>
                      <a:pt x="151" y="6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58" name="Freeform 192"/>
              <p:cNvSpPr>
                <a:spLocks/>
              </p:cNvSpPr>
              <p:nvPr/>
            </p:nvSpPr>
            <p:spPr bwMode="auto">
              <a:xfrm>
                <a:off x="5103813" y="4545013"/>
                <a:ext cx="347662" cy="376237"/>
              </a:xfrm>
              <a:custGeom>
                <a:avLst/>
                <a:gdLst>
                  <a:gd name="T0" fmla="*/ 127 w 199"/>
                  <a:gd name="T1" fmla="*/ 86 h 215"/>
                  <a:gd name="T2" fmla="*/ 120 w 199"/>
                  <a:gd name="T3" fmla="*/ 86 h 215"/>
                  <a:gd name="T4" fmla="*/ 120 w 199"/>
                  <a:gd name="T5" fmla="*/ 114 h 215"/>
                  <a:gd name="T6" fmla="*/ 127 w 199"/>
                  <a:gd name="T7" fmla="*/ 114 h 215"/>
                  <a:gd name="T8" fmla="*/ 127 w 199"/>
                  <a:gd name="T9" fmla="*/ 123 h 215"/>
                  <a:gd name="T10" fmla="*/ 142 w 199"/>
                  <a:gd name="T11" fmla="*/ 140 h 215"/>
                  <a:gd name="T12" fmla="*/ 199 w 199"/>
                  <a:gd name="T13" fmla="*/ 146 h 215"/>
                  <a:gd name="T14" fmla="*/ 162 w 199"/>
                  <a:gd name="T15" fmla="*/ 192 h 215"/>
                  <a:gd name="T16" fmla="*/ 137 w 199"/>
                  <a:gd name="T17" fmla="*/ 192 h 215"/>
                  <a:gd name="T18" fmla="*/ 120 w 199"/>
                  <a:gd name="T19" fmla="*/ 215 h 215"/>
                  <a:gd name="T20" fmla="*/ 99 w 199"/>
                  <a:gd name="T21" fmla="*/ 208 h 215"/>
                  <a:gd name="T22" fmla="*/ 80 w 199"/>
                  <a:gd name="T23" fmla="*/ 215 h 215"/>
                  <a:gd name="T24" fmla="*/ 35 w 199"/>
                  <a:gd name="T25" fmla="*/ 208 h 215"/>
                  <a:gd name="T26" fmla="*/ 35 w 199"/>
                  <a:gd name="T27" fmla="*/ 187 h 215"/>
                  <a:gd name="T28" fmla="*/ 28 w 199"/>
                  <a:gd name="T29" fmla="*/ 187 h 215"/>
                  <a:gd name="T30" fmla="*/ 8 w 199"/>
                  <a:gd name="T31" fmla="*/ 161 h 215"/>
                  <a:gd name="T32" fmla="*/ 0 w 199"/>
                  <a:gd name="T33" fmla="*/ 146 h 215"/>
                  <a:gd name="T34" fmla="*/ 8 w 199"/>
                  <a:gd name="T35" fmla="*/ 140 h 215"/>
                  <a:gd name="T36" fmla="*/ 15 w 199"/>
                  <a:gd name="T37" fmla="*/ 114 h 215"/>
                  <a:gd name="T38" fmla="*/ 43 w 199"/>
                  <a:gd name="T39" fmla="*/ 69 h 215"/>
                  <a:gd name="T40" fmla="*/ 50 w 199"/>
                  <a:gd name="T41" fmla="*/ 15 h 215"/>
                  <a:gd name="T42" fmla="*/ 72 w 199"/>
                  <a:gd name="T43" fmla="*/ 8 h 215"/>
                  <a:gd name="T44" fmla="*/ 72 w 199"/>
                  <a:gd name="T45" fmla="*/ 0 h 215"/>
                  <a:gd name="T46" fmla="*/ 85 w 199"/>
                  <a:gd name="T47" fmla="*/ 37 h 215"/>
                  <a:gd name="T48" fmla="*/ 127 w 199"/>
                  <a:gd name="T49" fmla="*/ 86 h 215"/>
                  <a:gd name="T50" fmla="*/ 127 w 199"/>
                  <a:gd name="T51" fmla="*/ 86 h 215"/>
                  <a:gd name="T52" fmla="*/ 127 w 199"/>
                  <a:gd name="T53" fmla="*/ 86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99" h="215">
                    <a:moveTo>
                      <a:pt x="127" y="86"/>
                    </a:moveTo>
                    <a:lnTo>
                      <a:pt x="120" y="86"/>
                    </a:lnTo>
                    <a:lnTo>
                      <a:pt x="120" y="114"/>
                    </a:lnTo>
                    <a:lnTo>
                      <a:pt x="127" y="114"/>
                    </a:lnTo>
                    <a:lnTo>
                      <a:pt x="127" y="123"/>
                    </a:lnTo>
                    <a:lnTo>
                      <a:pt x="142" y="140"/>
                    </a:lnTo>
                    <a:lnTo>
                      <a:pt x="199" y="146"/>
                    </a:lnTo>
                    <a:lnTo>
                      <a:pt x="162" y="192"/>
                    </a:lnTo>
                    <a:lnTo>
                      <a:pt x="137" y="192"/>
                    </a:lnTo>
                    <a:lnTo>
                      <a:pt x="120" y="215"/>
                    </a:lnTo>
                    <a:lnTo>
                      <a:pt x="99" y="208"/>
                    </a:lnTo>
                    <a:lnTo>
                      <a:pt x="80" y="215"/>
                    </a:lnTo>
                    <a:lnTo>
                      <a:pt x="35" y="208"/>
                    </a:lnTo>
                    <a:lnTo>
                      <a:pt x="35" y="187"/>
                    </a:lnTo>
                    <a:lnTo>
                      <a:pt x="28" y="187"/>
                    </a:lnTo>
                    <a:lnTo>
                      <a:pt x="8" y="161"/>
                    </a:lnTo>
                    <a:lnTo>
                      <a:pt x="0" y="146"/>
                    </a:lnTo>
                    <a:lnTo>
                      <a:pt x="8" y="140"/>
                    </a:lnTo>
                    <a:lnTo>
                      <a:pt x="15" y="114"/>
                    </a:lnTo>
                    <a:lnTo>
                      <a:pt x="43" y="69"/>
                    </a:lnTo>
                    <a:lnTo>
                      <a:pt x="50" y="15"/>
                    </a:lnTo>
                    <a:lnTo>
                      <a:pt x="72" y="8"/>
                    </a:lnTo>
                    <a:lnTo>
                      <a:pt x="72" y="0"/>
                    </a:lnTo>
                    <a:lnTo>
                      <a:pt x="85" y="37"/>
                    </a:lnTo>
                    <a:lnTo>
                      <a:pt x="127" y="86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59" name="Freeform 193"/>
              <p:cNvSpPr>
                <a:spLocks/>
              </p:cNvSpPr>
              <p:nvPr/>
            </p:nvSpPr>
            <p:spPr bwMode="auto">
              <a:xfrm>
                <a:off x="5280025" y="4708525"/>
                <a:ext cx="250825" cy="338138"/>
              </a:xfrm>
              <a:custGeom>
                <a:avLst/>
                <a:gdLst>
                  <a:gd name="T0" fmla="*/ 22 w 143"/>
                  <a:gd name="T1" fmla="*/ 118 h 193"/>
                  <a:gd name="T2" fmla="*/ 0 w 143"/>
                  <a:gd name="T3" fmla="*/ 141 h 193"/>
                  <a:gd name="T4" fmla="*/ 0 w 143"/>
                  <a:gd name="T5" fmla="*/ 187 h 193"/>
                  <a:gd name="T6" fmla="*/ 15 w 143"/>
                  <a:gd name="T7" fmla="*/ 193 h 193"/>
                  <a:gd name="T8" fmla="*/ 37 w 143"/>
                  <a:gd name="T9" fmla="*/ 165 h 193"/>
                  <a:gd name="T10" fmla="*/ 99 w 143"/>
                  <a:gd name="T11" fmla="*/ 111 h 193"/>
                  <a:gd name="T12" fmla="*/ 112 w 143"/>
                  <a:gd name="T13" fmla="*/ 91 h 193"/>
                  <a:gd name="T14" fmla="*/ 143 w 143"/>
                  <a:gd name="T15" fmla="*/ 20 h 193"/>
                  <a:gd name="T16" fmla="*/ 143 w 143"/>
                  <a:gd name="T17" fmla="*/ 0 h 193"/>
                  <a:gd name="T18" fmla="*/ 128 w 143"/>
                  <a:gd name="T19" fmla="*/ 0 h 193"/>
                  <a:gd name="T20" fmla="*/ 57 w 143"/>
                  <a:gd name="T21" fmla="*/ 29 h 193"/>
                  <a:gd name="T22" fmla="*/ 44 w 143"/>
                  <a:gd name="T23" fmla="*/ 20 h 193"/>
                  <a:gd name="T24" fmla="*/ 37 w 143"/>
                  <a:gd name="T25" fmla="*/ 7 h 193"/>
                  <a:gd name="T26" fmla="*/ 29 w 143"/>
                  <a:gd name="T27" fmla="*/ 20 h 193"/>
                  <a:gd name="T28" fmla="*/ 29 w 143"/>
                  <a:gd name="T29" fmla="*/ 29 h 193"/>
                  <a:gd name="T30" fmla="*/ 44 w 143"/>
                  <a:gd name="T31" fmla="*/ 46 h 193"/>
                  <a:gd name="T32" fmla="*/ 99 w 143"/>
                  <a:gd name="T33" fmla="*/ 52 h 193"/>
                  <a:gd name="T34" fmla="*/ 62 w 143"/>
                  <a:gd name="T35" fmla="*/ 96 h 193"/>
                  <a:gd name="T36" fmla="*/ 37 w 143"/>
                  <a:gd name="T37" fmla="*/ 96 h 193"/>
                  <a:gd name="T38" fmla="*/ 22 w 143"/>
                  <a:gd name="T39" fmla="*/ 118 h 193"/>
                  <a:gd name="T40" fmla="*/ 22 w 143"/>
                  <a:gd name="T41" fmla="*/ 118 h 193"/>
                  <a:gd name="T42" fmla="*/ 22 w 143"/>
                  <a:gd name="T43" fmla="*/ 118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43" h="193">
                    <a:moveTo>
                      <a:pt x="22" y="118"/>
                    </a:moveTo>
                    <a:lnTo>
                      <a:pt x="0" y="141"/>
                    </a:lnTo>
                    <a:lnTo>
                      <a:pt x="0" y="187"/>
                    </a:lnTo>
                    <a:lnTo>
                      <a:pt x="15" y="193"/>
                    </a:lnTo>
                    <a:lnTo>
                      <a:pt x="37" y="165"/>
                    </a:lnTo>
                    <a:lnTo>
                      <a:pt x="99" y="111"/>
                    </a:lnTo>
                    <a:lnTo>
                      <a:pt x="112" y="91"/>
                    </a:lnTo>
                    <a:lnTo>
                      <a:pt x="143" y="20"/>
                    </a:lnTo>
                    <a:lnTo>
                      <a:pt x="143" y="0"/>
                    </a:lnTo>
                    <a:lnTo>
                      <a:pt x="128" y="0"/>
                    </a:lnTo>
                    <a:lnTo>
                      <a:pt x="57" y="29"/>
                    </a:lnTo>
                    <a:lnTo>
                      <a:pt x="44" y="20"/>
                    </a:lnTo>
                    <a:lnTo>
                      <a:pt x="37" y="7"/>
                    </a:lnTo>
                    <a:lnTo>
                      <a:pt x="29" y="20"/>
                    </a:lnTo>
                    <a:lnTo>
                      <a:pt x="29" y="29"/>
                    </a:lnTo>
                    <a:lnTo>
                      <a:pt x="44" y="46"/>
                    </a:lnTo>
                    <a:lnTo>
                      <a:pt x="99" y="52"/>
                    </a:lnTo>
                    <a:lnTo>
                      <a:pt x="62" y="96"/>
                    </a:lnTo>
                    <a:lnTo>
                      <a:pt x="37" y="96"/>
                    </a:lnTo>
                    <a:lnTo>
                      <a:pt x="22" y="118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60" name="Freeform 194"/>
              <p:cNvSpPr>
                <a:spLocks/>
              </p:cNvSpPr>
              <p:nvPr/>
            </p:nvSpPr>
            <p:spPr bwMode="auto">
              <a:xfrm>
                <a:off x="3924300" y="4287838"/>
                <a:ext cx="282575" cy="333375"/>
              </a:xfrm>
              <a:custGeom>
                <a:avLst/>
                <a:gdLst>
                  <a:gd name="T0" fmla="*/ 0 w 161"/>
                  <a:gd name="T1" fmla="*/ 96 h 190"/>
                  <a:gd name="T2" fmla="*/ 5 w 161"/>
                  <a:gd name="T3" fmla="*/ 89 h 190"/>
                  <a:gd name="T4" fmla="*/ 48 w 161"/>
                  <a:gd name="T5" fmla="*/ 89 h 190"/>
                  <a:gd name="T6" fmla="*/ 48 w 161"/>
                  <a:gd name="T7" fmla="*/ 74 h 190"/>
                  <a:gd name="T8" fmla="*/ 70 w 161"/>
                  <a:gd name="T9" fmla="*/ 67 h 190"/>
                  <a:gd name="T10" fmla="*/ 70 w 161"/>
                  <a:gd name="T11" fmla="*/ 20 h 190"/>
                  <a:gd name="T12" fmla="*/ 110 w 161"/>
                  <a:gd name="T13" fmla="*/ 20 h 190"/>
                  <a:gd name="T14" fmla="*/ 110 w 161"/>
                  <a:gd name="T15" fmla="*/ 0 h 190"/>
                  <a:gd name="T16" fmla="*/ 161 w 161"/>
                  <a:gd name="T17" fmla="*/ 33 h 190"/>
                  <a:gd name="T18" fmla="*/ 134 w 161"/>
                  <a:gd name="T19" fmla="*/ 33 h 190"/>
                  <a:gd name="T20" fmla="*/ 154 w 161"/>
                  <a:gd name="T21" fmla="*/ 183 h 190"/>
                  <a:gd name="T22" fmla="*/ 90 w 161"/>
                  <a:gd name="T23" fmla="*/ 183 h 190"/>
                  <a:gd name="T24" fmla="*/ 84 w 161"/>
                  <a:gd name="T25" fmla="*/ 190 h 190"/>
                  <a:gd name="T26" fmla="*/ 77 w 161"/>
                  <a:gd name="T27" fmla="*/ 183 h 190"/>
                  <a:gd name="T28" fmla="*/ 64 w 161"/>
                  <a:gd name="T29" fmla="*/ 190 h 190"/>
                  <a:gd name="T30" fmla="*/ 48 w 161"/>
                  <a:gd name="T31" fmla="*/ 168 h 190"/>
                  <a:gd name="T32" fmla="*/ 27 w 161"/>
                  <a:gd name="T33" fmla="*/ 161 h 190"/>
                  <a:gd name="T34" fmla="*/ 5 w 161"/>
                  <a:gd name="T35" fmla="*/ 161 h 190"/>
                  <a:gd name="T36" fmla="*/ 0 w 161"/>
                  <a:gd name="T37" fmla="*/ 168 h 190"/>
                  <a:gd name="T38" fmla="*/ 5 w 161"/>
                  <a:gd name="T39" fmla="*/ 139 h 190"/>
                  <a:gd name="T40" fmla="*/ 0 w 161"/>
                  <a:gd name="T41" fmla="*/ 124 h 190"/>
                  <a:gd name="T42" fmla="*/ 5 w 161"/>
                  <a:gd name="T43" fmla="*/ 109 h 190"/>
                  <a:gd name="T44" fmla="*/ 0 w 161"/>
                  <a:gd name="T45" fmla="*/ 96 h 190"/>
                  <a:gd name="T46" fmla="*/ 0 w 161"/>
                  <a:gd name="T47" fmla="*/ 96 h 190"/>
                  <a:gd name="T48" fmla="*/ 0 w 161"/>
                  <a:gd name="T49" fmla="*/ 96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61" h="190">
                    <a:moveTo>
                      <a:pt x="0" y="96"/>
                    </a:moveTo>
                    <a:lnTo>
                      <a:pt x="5" y="89"/>
                    </a:lnTo>
                    <a:lnTo>
                      <a:pt x="48" y="89"/>
                    </a:lnTo>
                    <a:lnTo>
                      <a:pt x="48" y="74"/>
                    </a:lnTo>
                    <a:lnTo>
                      <a:pt x="70" y="67"/>
                    </a:lnTo>
                    <a:lnTo>
                      <a:pt x="70" y="20"/>
                    </a:lnTo>
                    <a:lnTo>
                      <a:pt x="110" y="20"/>
                    </a:lnTo>
                    <a:lnTo>
                      <a:pt x="110" y="0"/>
                    </a:lnTo>
                    <a:lnTo>
                      <a:pt x="161" y="33"/>
                    </a:lnTo>
                    <a:lnTo>
                      <a:pt x="134" y="33"/>
                    </a:lnTo>
                    <a:lnTo>
                      <a:pt x="154" y="183"/>
                    </a:lnTo>
                    <a:lnTo>
                      <a:pt x="90" y="183"/>
                    </a:lnTo>
                    <a:lnTo>
                      <a:pt x="84" y="190"/>
                    </a:lnTo>
                    <a:lnTo>
                      <a:pt x="77" y="183"/>
                    </a:lnTo>
                    <a:lnTo>
                      <a:pt x="64" y="190"/>
                    </a:lnTo>
                    <a:lnTo>
                      <a:pt x="48" y="168"/>
                    </a:lnTo>
                    <a:lnTo>
                      <a:pt x="27" y="161"/>
                    </a:lnTo>
                    <a:lnTo>
                      <a:pt x="5" y="161"/>
                    </a:lnTo>
                    <a:lnTo>
                      <a:pt x="0" y="168"/>
                    </a:lnTo>
                    <a:lnTo>
                      <a:pt x="5" y="139"/>
                    </a:lnTo>
                    <a:lnTo>
                      <a:pt x="0" y="124"/>
                    </a:lnTo>
                    <a:lnTo>
                      <a:pt x="5" y="109"/>
                    </a:lnTo>
                    <a:lnTo>
                      <a:pt x="0" y="96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61" name="Freeform 195"/>
              <p:cNvSpPr>
                <a:spLocks/>
              </p:cNvSpPr>
              <p:nvPr/>
            </p:nvSpPr>
            <p:spPr bwMode="auto">
              <a:xfrm>
                <a:off x="3924300" y="4270375"/>
                <a:ext cx="198438" cy="188913"/>
              </a:xfrm>
              <a:custGeom>
                <a:avLst/>
                <a:gdLst>
                  <a:gd name="T0" fmla="*/ 0 w 114"/>
                  <a:gd name="T1" fmla="*/ 107 h 107"/>
                  <a:gd name="T2" fmla="*/ 7 w 114"/>
                  <a:gd name="T3" fmla="*/ 101 h 107"/>
                  <a:gd name="T4" fmla="*/ 50 w 114"/>
                  <a:gd name="T5" fmla="*/ 101 h 107"/>
                  <a:gd name="T6" fmla="*/ 50 w 114"/>
                  <a:gd name="T7" fmla="*/ 87 h 107"/>
                  <a:gd name="T8" fmla="*/ 70 w 114"/>
                  <a:gd name="T9" fmla="*/ 77 h 107"/>
                  <a:gd name="T10" fmla="*/ 70 w 114"/>
                  <a:gd name="T11" fmla="*/ 32 h 107"/>
                  <a:gd name="T12" fmla="*/ 114 w 114"/>
                  <a:gd name="T13" fmla="*/ 32 h 107"/>
                  <a:gd name="T14" fmla="*/ 114 w 114"/>
                  <a:gd name="T15" fmla="*/ 10 h 107"/>
                  <a:gd name="T16" fmla="*/ 50 w 114"/>
                  <a:gd name="T17" fmla="*/ 0 h 107"/>
                  <a:gd name="T18" fmla="*/ 27 w 114"/>
                  <a:gd name="T19" fmla="*/ 55 h 107"/>
                  <a:gd name="T20" fmla="*/ 0 w 114"/>
                  <a:gd name="T21" fmla="*/ 92 h 107"/>
                  <a:gd name="T22" fmla="*/ 0 w 114"/>
                  <a:gd name="T23" fmla="*/ 107 h 107"/>
                  <a:gd name="T24" fmla="*/ 0 w 114"/>
                  <a:gd name="T25" fmla="*/ 107 h 107"/>
                  <a:gd name="T26" fmla="*/ 0 w 114"/>
                  <a:gd name="T27" fmla="*/ 107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4" h="107">
                    <a:moveTo>
                      <a:pt x="0" y="107"/>
                    </a:moveTo>
                    <a:lnTo>
                      <a:pt x="7" y="101"/>
                    </a:lnTo>
                    <a:lnTo>
                      <a:pt x="50" y="101"/>
                    </a:lnTo>
                    <a:lnTo>
                      <a:pt x="50" y="87"/>
                    </a:lnTo>
                    <a:lnTo>
                      <a:pt x="70" y="77"/>
                    </a:lnTo>
                    <a:lnTo>
                      <a:pt x="70" y="32"/>
                    </a:lnTo>
                    <a:lnTo>
                      <a:pt x="114" y="32"/>
                    </a:lnTo>
                    <a:lnTo>
                      <a:pt x="114" y="10"/>
                    </a:lnTo>
                    <a:lnTo>
                      <a:pt x="50" y="0"/>
                    </a:lnTo>
                    <a:lnTo>
                      <a:pt x="27" y="55"/>
                    </a:lnTo>
                    <a:lnTo>
                      <a:pt x="0" y="92"/>
                    </a:lnTo>
                    <a:lnTo>
                      <a:pt x="0" y="107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62" name="Freeform 196"/>
              <p:cNvSpPr>
                <a:spLocks/>
              </p:cNvSpPr>
              <p:nvPr/>
            </p:nvSpPr>
            <p:spPr bwMode="auto">
              <a:xfrm>
                <a:off x="3908425" y="4573588"/>
                <a:ext cx="149225" cy="120650"/>
              </a:xfrm>
              <a:custGeom>
                <a:avLst/>
                <a:gdLst>
                  <a:gd name="T0" fmla="*/ 9 w 86"/>
                  <a:gd name="T1" fmla="*/ 54 h 69"/>
                  <a:gd name="T2" fmla="*/ 16 w 86"/>
                  <a:gd name="T3" fmla="*/ 54 h 69"/>
                  <a:gd name="T4" fmla="*/ 37 w 86"/>
                  <a:gd name="T5" fmla="*/ 45 h 69"/>
                  <a:gd name="T6" fmla="*/ 42 w 86"/>
                  <a:gd name="T7" fmla="*/ 54 h 69"/>
                  <a:gd name="T8" fmla="*/ 51 w 86"/>
                  <a:gd name="T9" fmla="*/ 45 h 69"/>
                  <a:gd name="T10" fmla="*/ 9 w 86"/>
                  <a:gd name="T11" fmla="*/ 45 h 69"/>
                  <a:gd name="T12" fmla="*/ 0 w 86"/>
                  <a:gd name="T13" fmla="*/ 30 h 69"/>
                  <a:gd name="T14" fmla="*/ 9 w 86"/>
                  <a:gd name="T15" fmla="*/ 8 h 69"/>
                  <a:gd name="T16" fmla="*/ 16 w 86"/>
                  <a:gd name="T17" fmla="*/ 0 h 69"/>
                  <a:gd name="T18" fmla="*/ 37 w 86"/>
                  <a:gd name="T19" fmla="*/ 0 h 69"/>
                  <a:gd name="T20" fmla="*/ 59 w 86"/>
                  <a:gd name="T21" fmla="*/ 8 h 69"/>
                  <a:gd name="T22" fmla="*/ 73 w 86"/>
                  <a:gd name="T23" fmla="*/ 30 h 69"/>
                  <a:gd name="T24" fmla="*/ 86 w 86"/>
                  <a:gd name="T25" fmla="*/ 69 h 69"/>
                  <a:gd name="T26" fmla="*/ 9 w 86"/>
                  <a:gd name="T27" fmla="*/ 69 h 69"/>
                  <a:gd name="T28" fmla="*/ 9 w 86"/>
                  <a:gd name="T29" fmla="*/ 54 h 69"/>
                  <a:gd name="T30" fmla="*/ 9 w 86"/>
                  <a:gd name="T31" fmla="*/ 54 h 69"/>
                  <a:gd name="T32" fmla="*/ 9 w 86"/>
                  <a:gd name="T33" fmla="*/ 54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6" h="69">
                    <a:moveTo>
                      <a:pt x="9" y="54"/>
                    </a:moveTo>
                    <a:lnTo>
                      <a:pt x="16" y="54"/>
                    </a:lnTo>
                    <a:lnTo>
                      <a:pt x="37" y="45"/>
                    </a:lnTo>
                    <a:lnTo>
                      <a:pt x="42" y="54"/>
                    </a:lnTo>
                    <a:lnTo>
                      <a:pt x="51" y="45"/>
                    </a:lnTo>
                    <a:lnTo>
                      <a:pt x="9" y="45"/>
                    </a:lnTo>
                    <a:lnTo>
                      <a:pt x="0" y="30"/>
                    </a:lnTo>
                    <a:lnTo>
                      <a:pt x="9" y="8"/>
                    </a:lnTo>
                    <a:lnTo>
                      <a:pt x="16" y="0"/>
                    </a:lnTo>
                    <a:lnTo>
                      <a:pt x="37" y="0"/>
                    </a:lnTo>
                    <a:lnTo>
                      <a:pt x="59" y="8"/>
                    </a:lnTo>
                    <a:lnTo>
                      <a:pt x="73" y="30"/>
                    </a:lnTo>
                    <a:lnTo>
                      <a:pt x="86" y="69"/>
                    </a:lnTo>
                    <a:lnTo>
                      <a:pt x="9" y="69"/>
                    </a:lnTo>
                    <a:lnTo>
                      <a:pt x="9" y="54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63" name="Freeform 197"/>
              <p:cNvSpPr>
                <a:spLocks/>
              </p:cNvSpPr>
              <p:nvPr/>
            </p:nvSpPr>
            <p:spPr bwMode="auto">
              <a:xfrm>
                <a:off x="3924300" y="4659313"/>
                <a:ext cx="73025" cy="42862"/>
              </a:xfrm>
              <a:custGeom>
                <a:avLst/>
                <a:gdLst>
                  <a:gd name="T0" fmla="*/ 0 w 42"/>
                  <a:gd name="T1" fmla="*/ 25 h 25"/>
                  <a:gd name="T2" fmla="*/ 7 w 42"/>
                  <a:gd name="T3" fmla="*/ 25 h 25"/>
                  <a:gd name="T4" fmla="*/ 28 w 42"/>
                  <a:gd name="T5" fmla="*/ 0 h 25"/>
                  <a:gd name="T6" fmla="*/ 33 w 42"/>
                  <a:gd name="T7" fmla="*/ 25 h 25"/>
                  <a:gd name="T8" fmla="*/ 42 w 42"/>
                  <a:gd name="T9" fmla="*/ 0 h 25"/>
                  <a:gd name="T10" fmla="*/ 0 w 42"/>
                  <a:gd name="T11" fmla="*/ 0 h 25"/>
                  <a:gd name="T12" fmla="*/ 0 w 42"/>
                  <a:gd name="T13" fmla="*/ 25 h 25"/>
                  <a:gd name="T14" fmla="*/ 0 w 42"/>
                  <a:gd name="T15" fmla="*/ 25 h 25"/>
                  <a:gd name="T16" fmla="*/ 0 w 42"/>
                  <a:gd name="T17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" h="25">
                    <a:moveTo>
                      <a:pt x="0" y="25"/>
                    </a:moveTo>
                    <a:lnTo>
                      <a:pt x="7" y="25"/>
                    </a:lnTo>
                    <a:lnTo>
                      <a:pt x="28" y="0"/>
                    </a:lnTo>
                    <a:lnTo>
                      <a:pt x="33" y="25"/>
                    </a:lnTo>
                    <a:lnTo>
                      <a:pt x="42" y="0"/>
                    </a:lnTo>
                    <a:lnTo>
                      <a:pt x="0" y="0"/>
                    </a:lnTo>
                    <a:lnTo>
                      <a:pt x="0" y="25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64" name="Freeform 198"/>
              <p:cNvSpPr>
                <a:spLocks/>
              </p:cNvSpPr>
              <p:nvPr/>
            </p:nvSpPr>
            <p:spPr bwMode="auto">
              <a:xfrm>
                <a:off x="3924300" y="4694238"/>
                <a:ext cx="73025" cy="52387"/>
              </a:xfrm>
              <a:custGeom>
                <a:avLst/>
                <a:gdLst>
                  <a:gd name="T0" fmla="*/ 28 w 42"/>
                  <a:gd name="T1" fmla="*/ 30 h 30"/>
                  <a:gd name="T2" fmla="*/ 42 w 42"/>
                  <a:gd name="T3" fmla="*/ 8 h 30"/>
                  <a:gd name="T4" fmla="*/ 42 w 42"/>
                  <a:gd name="T5" fmla="*/ 0 h 30"/>
                  <a:gd name="T6" fmla="*/ 0 w 42"/>
                  <a:gd name="T7" fmla="*/ 0 h 30"/>
                  <a:gd name="T8" fmla="*/ 20 w 42"/>
                  <a:gd name="T9" fmla="*/ 8 h 30"/>
                  <a:gd name="T10" fmla="*/ 20 w 42"/>
                  <a:gd name="T11" fmla="*/ 17 h 30"/>
                  <a:gd name="T12" fmla="*/ 28 w 42"/>
                  <a:gd name="T13" fmla="*/ 30 h 30"/>
                  <a:gd name="T14" fmla="*/ 28 w 42"/>
                  <a:gd name="T15" fmla="*/ 30 h 30"/>
                  <a:gd name="T16" fmla="*/ 28 w 42"/>
                  <a:gd name="T17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" h="30">
                    <a:moveTo>
                      <a:pt x="28" y="30"/>
                    </a:moveTo>
                    <a:lnTo>
                      <a:pt x="42" y="8"/>
                    </a:lnTo>
                    <a:lnTo>
                      <a:pt x="42" y="0"/>
                    </a:lnTo>
                    <a:lnTo>
                      <a:pt x="0" y="0"/>
                    </a:lnTo>
                    <a:lnTo>
                      <a:pt x="20" y="8"/>
                    </a:lnTo>
                    <a:lnTo>
                      <a:pt x="20" y="17"/>
                    </a:lnTo>
                    <a:lnTo>
                      <a:pt x="28" y="3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65" name="Freeform 199"/>
              <p:cNvSpPr>
                <a:spLocks/>
              </p:cNvSpPr>
              <p:nvPr/>
            </p:nvSpPr>
            <p:spPr bwMode="auto">
              <a:xfrm>
                <a:off x="3970338" y="4694238"/>
                <a:ext cx="160337" cy="125412"/>
              </a:xfrm>
              <a:custGeom>
                <a:avLst/>
                <a:gdLst>
                  <a:gd name="T0" fmla="*/ 85 w 92"/>
                  <a:gd name="T1" fmla="*/ 72 h 72"/>
                  <a:gd name="T2" fmla="*/ 92 w 92"/>
                  <a:gd name="T3" fmla="*/ 72 h 72"/>
                  <a:gd name="T4" fmla="*/ 92 w 92"/>
                  <a:gd name="T5" fmla="*/ 35 h 72"/>
                  <a:gd name="T6" fmla="*/ 78 w 92"/>
                  <a:gd name="T7" fmla="*/ 0 h 72"/>
                  <a:gd name="T8" fmla="*/ 58 w 92"/>
                  <a:gd name="T9" fmla="*/ 8 h 72"/>
                  <a:gd name="T10" fmla="*/ 43 w 92"/>
                  <a:gd name="T11" fmla="*/ 8 h 72"/>
                  <a:gd name="T12" fmla="*/ 48 w 92"/>
                  <a:gd name="T13" fmla="*/ 0 h 72"/>
                  <a:gd name="T14" fmla="*/ 15 w 92"/>
                  <a:gd name="T15" fmla="*/ 0 h 72"/>
                  <a:gd name="T16" fmla="*/ 15 w 92"/>
                  <a:gd name="T17" fmla="*/ 8 h 72"/>
                  <a:gd name="T18" fmla="*/ 0 w 92"/>
                  <a:gd name="T19" fmla="*/ 28 h 72"/>
                  <a:gd name="T20" fmla="*/ 21 w 92"/>
                  <a:gd name="T21" fmla="*/ 43 h 72"/>
                  <a:gd name="T22" fmla="*/ 37 w 92"/>
                  <a:gd name="T23" fmla="*/ 35 h 72"/>
                  <a:gd name="T24" fmla="*/ 43 w 92"/>
                  <a:gd name="T25" fmla="*/ 35 h 72"/>
                  <a:gd name="T26" fmla="*/ 58 w 92"/>
                  <a:gd name="T27" fmla="*/ 52 h 72"/>
                  <a:gd name="T28" fmla="*/ 58 w 92"/>
                  <a:gd name="T29" fmla="*/ 59 h 72"/>
                  <a:gd name="T30" fmla="*/ 63 w 92"/>
                  <a:gd name="T31" fmla="*/ 52 h 72"/>
                  <a:gd name="T32" fmla="*/ 78 w 92"/>
                  <a:gd name="T33" fmla="*/ 72 h 72"/>
                  <a:gd name="T34" fmla="*/ 85 w 92"/>
                  <a:gd name="T35" fmla="*/ 72 h 72"/>
                  <a:gd name="T36" fmla="*/ 85 w 92"/>
                  <a:gd name="T37" fmla="*/ 7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92" h="72">
                    <a:moveTo>
                      <a:pt x="85" y="72"/>
                    </a:moveTo>
                    <a:lnTo>
                      <a:pt x="92" y="72"/>
                    </a:lnTo>
                    <a:lnTo>
                      <a:pt x="92" y="35"/>
                    </a:lnTo>
                    <a:lnTo>
                      <a:pt x="78" y="0"/>
                    </a:lnTo>
                    <a:lnTo>
                      <a:pt x="58" y="8"/>
                    </a:lnTo>
                    <a:lnTo>
                      <a:pt x="43" y="8"/>
                    </a:lnTo>
                    <a:lnTo>
                      <a:pt x="48" y="0"/>
                    </a:lnTo>
                    <a:lnTo>
                      <a:pt x="15" y="0"/>
                    </a:lnTo>
                    <a:lnTo>
                      <a:pt x="15" y="8"/>
                    </a:lnTo>
                    <a:lnTo>
                      <a:pt x="0" y="28"/>
                    </a:lnTo>
                    <a:lnTo>
                      <a:pt x="21" y="43"/>
                    </a:lnTo>
                    <a:lnTo>
                      <a:pt x="37" y="35"/>
                    </a:lnTo>
                    <a:lnTo>
                      <a:pt x="43" y="35"/>
                    </a:lnTo>
                    <a:lnTo>
                      <a:pt x="58" y="52"/>
                    </a:lnTo>
                    <a:lnTo>
                      <a:pt x="58" y="59"/>
                    </a:lnTo>
                    <a:lnTo>
                      <a:pt x="63" y="52"/>
                    </a:lnTo>
                    <a:lnTo>
                      <a:pt x="78" y="72"/>
                    </a:lnTo>
                    <a:lnTo>
                      <a:pt x="85" y="72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66" name="Freeform 200"/>
              <p:cNvSpPr>
                <a:spLocks/>
              </p:cNvSpPr>
              <p:nvPr/>
            </p:nvSpPr>
            <p:spPr bwMode="auto">
              <a:xfrm>
                <a:off x="4005263" y="4754563"/>
                <a:ext cx="65087" cy="82550"/>
              </a:xfrm>
              <a:custGeom>
                <a:avLst/>
                <a:gdLst>
                  <a:gd name="T0" fmla="*/ 0 w 37"/>
                  <a:gd name="T1" fmla="*/ 8 h 47"/>
                  <a:gd name="T2" fmla="*/ 15 w 37"/>
                  <a:gd name="T3" fmla="*/ 0 h 47"/>
                  <a:gd name="T4" fmla="*/ 22 w 37"/>
                  <a:gd name="T5" fmla="*/ 0 h 47"/>
                  <a:gd name="T6" fmla="*/ 37 w 37"/>
                  <a:gd name="T7" fmla="*/ 17 h 47"/>
                  <a:gd name="T8" fmla="*/ 37 w 37"/>
                  <a:gd name="T9" fmla="*/ 25 h 47"/>
                  <a:gd name="T10" fmla="*/ 22 w 37"/>
                  <a:gd name="T11" fmla="*/ 47 h 47"/>
                  <a:gd name="T12" fmla="*/ 15 w 37"/>
                  <a:gd name="T13" fmla="*/ 39 h 47"/>
                  <a:gd name="T14" fmla="*/ 0 w 37"/>
                  <a:gd name="T15" fmla="*/ 39 h 47"/>
                  <a:gd name="T16" fmla="*/ 0 w 37"/>
                  <a:gd name="T17" fmla="*/ 8 h 47"/>
                  <a:gd name="T18" fmla="*/ 0 w 37"/>
                  <a:gd name="T19" fmla="*/ 8 h 47"/>
                  <a:gd name="T20" fmla="*/ 0 w 37"/>
                  <a:gd name="T21" fmla="*/ 8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7" h="47">
                    <a:moveTo>
                      <a:pt x="0" y="8"/>
                    </a:moveTo>
                    <a:lnTo>
                      <a:pt x="15" y="0"/>
                    </a:lnTo>
                    <a:lnTo>
                      <a:pt x="22" y="0"/>
                    </a:lnTo>
                    <a:lnTo>
                      <a:pt x="37" y="17"/>
                    </a:lnTo>
                    <a:lnTo>
                      <a:pt x="37" y="25"/>
                    </a:lnTo>
                    <a:lnTo>
                      <a:pt x="22" y="47"/>
                    </a:lnTo>
                    <a:lnTo>
                      <a:pt x="15" y="39"/>
                    </a:lnTo>
                    <a:lnTo>
                      <a:pt x="0" y="39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67" name="Freeform 201"/>
              <p:cNvSpPr>
                <a:spLocks/>
              </p:cNvSpPr>
              <p:nvPr/>
            </p:nvSpPr>
            <p:spPr bwMode="auto">
              <a:xfrm>
                <a:off x="4044950" y="4784725"/>
                <a:ext cx="101600" cy="119063"/>
              </a:xfrm>
              <a:custGeom>
                <a:avLst/>
                <a:gdLst>
                  <a:gd name="T0" fmla="*/ 58 w 58"/>
                  <a:gd name="T1" fmla="*/ 67 h 67"/>
                  <a:gd name="T2" fmla="*/ 58 w 58"/>
                  <a:gd name="T3" fmla="*/ 47 h 67"/>
                  <a:gd name="T4" fmla="*/ 43 w 58"/>
                  <a:gd name="T5" fmla="*/ 39 h 67"/>
                  <a:gd name="T6" fmla="*/ 43 w 58"/>
                  <a:gd name="T7" fmla="*/ 22 h 67"/>
                  <a:gd name="T8" fmla="*/ 35 w 58"/>
                  <a:gd name="T9" fmla="*/ 22 h 67"/>
                  <a:gd name="T10" fmla="*/ 21 w 58"/>
                  <a:gd name="T11" fmla="*/ 0 h 67"/>
                  <a:gd name="T12" fmla="*/ 0 w 58"/>
                  <a:gd name="T13" fmla="*/ 30 h 67"/>
                  <a:gd name="T14" fmla="*/ 43 w 58"/>
                  <a:gd name="T15" fmla="*/ 67 h 67"/>
                  <a:gd name="T16" fmla="*/ 58 w 58"/>
                  <a:gd name="T17" fmla="*/ 67 h 67"/>
                  <a:gd name="T18" fmla="*/ 58 w 58"/>
                  <a:gd name="T19" fmla="*/ 6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8" h="67">
                    <a:moveTo>
                      <a:pt x="58" y="67"/>
                    </a:moveTo>
                    <a:lnTo>
                      <a:pt x="58" y="47"/>
                    </a:lnTo>
                    <a:lnTo>
                      <a:pt x="43" y="39"/>
                    </a:lnTo>
                    <a:lnTo>
                      <a:pt x="43" y="22"/>
                    </a:lnTo>
                    <a:lnTo>
                      <a:pt x="35" y="22"/>
                    </a:lnTo>
                    <a:lnTo>
                      <a:pt x="21" y="0"/>
                    </a:lnTo>
                    <a:lnTo>
                      <a:pt x="0" y="30"/>
                    </a:lnTo>
                    <a:lnTo>
                      <a:pt x="43" y="67"/>
                    </a:lnTo>
                    <a:lnTo>
                      <a:pt x="58" y="67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68" name="Freeform 202"/>
              <p:cNvSpPr>
                <a:spLocks/>
              </p:cNvSpPr>
              <p:nvPr/>
            </p:nvSpPr>
            <p:spPr bwMode="auto">
              <a:xfrm>
                <a:off x="4197350" y="4629150"/>
                <a:ext cx="174625" cy="139700"/>
              </a:xfrm>
              <a:custGeom>
                <a:avLst/>
                <a:gdLst>
                  <a:gd name="T0" fmla="*/ 0 w 99"/>
                  <a:gd name="T1" fmla="*/ 65 h 80"/>
                  <a:gd name="T2" fmla="*/ 21 w 99"/>
                  <a:gd name="T3" fmla="*/ 22 h 80"/>
                  <a:gd name="T4" fmla="*/ 40 w 99"/>
                  <a:gd name="T5" fmla="*/ 17 h 80"/>
                  <a:gd name="T6" fmla="*/ 57 w 99"/>
                  <a:gd name="T7" fmla="*/ 0 h 80"/>
                  <a:gd name="T8" fmla="*/ 77 w 99"/>
                  <a:gd name="T9" fmla="*/ 0 h 80"/>
                  <a:gd name="T10" fmla="*/ 77 w 99"/>
                  <a:gd name="T11" fmla="*/ 17 h 80"/>
                  <a:gd name="T12" fmla="*/ 90 w 99"/>
                  <a:gd name="T13" fmla="*/ 38 h 80"/>
                  <a:gd name="T14" fmla="*/ 99 w 99"/>
                  <a:gd name="T15" fmla="*/ 38 h 80"/>
                  <a:gd name="T16" fmla="*/ 99 w 99"/>
                  <a:gd name="T17" fmla="*/ 45 h 80"/>
                  <a:gd name="T18" fmla="*/ 83 w 99"/>
                  <a:gd name="T19" fmla="*/ 52 h 80"/>
                  <a:gd name="T20" fmla="*/ 35 w 99"/>
                  <a:gd name="T21" fmla="*/ 52 h 80"/>
                  <a:gd name="T22" fmla="*/ 35 w 99"/>
                  <a:gd name="T23" fmla="*/ 80 h 80"/>
                  <a:gd name="T24" fmla="*/ 21 w 99"/>
                  <a:gd name="T25" fmla="*/ 74 h 80"/>
                  <a:gd name="T26" fmla="*/ 5 w 99"/>
                  <a:gd name="T27" fmla="*/ 74 h 80"/>
                  <a:gd name="T28" fmla="*/ 0 w 99"/>
                  <a:gd name="T29" fmla="*/ 65 h 80"/>
                  <a:gd name="T30" fmla="*/ 0 w 99"/>
                  <a:gd name="T31" fmla="*/ 65 h 80"/>
                  <a:gd name="T32" fmla="*/ 0 w 99"/>
                  <a:gd name="T33" fmla="*/ 65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9" h="80">
                    <a:moveTo>
                      <a:pt x="0" y="65"/>
                    </a:moveTo>
                    <a:lnTo>
                      <a:pt x="21" y="22"/>
                    </a:lnTo>
                    <a:lnTo>
                      <a:pt x="40" y="17"/>
                    </a:lnTo>
                    <a:lnTo>
                      <a:pt x="57" y="0"/>
                    </a:lnTo>
                    <a:lnTo>
                      <a:pt x="77" y="0"/>
                    </a:lnTo>
                    <a:lnTo>
                      <a:pt x="77" y="17"/>
                    </a:lnTo>
                    <a:lnTo>
                      <a:pt x="90" y="38"/>
                    </a:lnTo>
                    <a:lnTo>
                      <a:pt x="99" y="38"/>
                    </a:lnTo>
                    <a:lnTo>
                      <a:pt x="99" y="45"/>
                    </a:lnTo>
                    <a:lnTo>
                      <a:pt x="83" y="52"/>
                    </a:lnTo>
                    <a:lnTo>
                      <a:pt x="35" y="52"/>
                    </a:lnTo>
                    <a:lnTo>
                      <a:pt x="35" y="80"/>
                    </a:lnTo>
                    <a:lnTo>
                      <a:pt x="21" y="74"/>
                    </a:lnTo>
                    <a:lnTo>
                      <a:pt x="5" y="74"/>
                    </a:lnTo>
                    <a:lnTo>
                      <a:pt x="0" y="65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69" name="Freeform 203"/>
              <p:cNvSpPr>
                <a:spLocks/>
              </p:cNvSpPr>
              <p:nvPr/>
            </p:nvSpPr>
            <p:spPr bwMode="auto">
              <a:xfrm>
                <a:off x="4306888" y="4724400"/>
                <a:ext cx="47625" cy="130175"/>
              </a:xfrm>
              <a:custGeom>
                <a:avLst/>
                <a:gdLst>
                  <a:gd name="T0" fmla="*/ 22 w 27"/>
                  <a:gd name="T1" fmla="*/ 0 h 75"/>
                  <a:gd name="T2" fmla="*/ 0 w 27"/>
                  <a:gd name="T3" fmla="*/ 0 h 75"/>
                  <a:gd name="T4" fmla="*/ 22 w 27"/>
                  <a:gd name="T5" fmla="*/ 67 h 75"/>
                  <a:gd name="T6" fmla="*/ 22 w 27"/>
                  <a:gd name="T7" fmla="*/ 75 h 75"/>
                  <a:gd name="T8" fmla="*/ 27 w 27"/>
                  <a:gd name="T9" fmla="*/ 75 h 75"/>
                  <a:gd name="T10" fmla="*/ 27 w 27"/>
                  <a:gd name="T11" fmla="*/ 21 h 75"/>
                  <a:gd name="T12" fmla="*/ 22 w 27"/>
                  <a:gd name="T13" fmla="*/ 13 h 75"/>
                  <a:gd name="T14" fmla="*/ 22 w 27"/>
                  <a:gd name="T15" fmla="*/ 0 h 75"/>
                  <a:gd name="T16" fmla="*/ 22 w 27"/>
                  <a:gd name="T17" fmla="*/ 0 h 75"/>
                  <a:gd name="T18" fmla="*/ 22 w 27"/>
                  <a:gd name="T19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7" h="75">
                    <a:moveTo>
                      <a:pt x="22" y="0"/>
                    </a:moveTo>
                    <a:lnTo>
                      <a:pt x="0" y="0"/>
                    </a:lnTo>
                    <a:lnTo>
                      <a:pt x="22" y="67"/>
                    </a:lnTo>
                    <a:lnTo>
                      <a:pt x="22" y="75"/>
                    </a:lnTo>
                    <a:lnTo>
                      <a:pt x="27" y="75"/>
                    </a:lnTo>
                    <a:lnTo>
                      <a:pt x="27" y="21"/>
                    </a:lnTo>
                    <a:lnTo>
                      <a:pt x="22" y="13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70" name="Freeform 204"/>
              <p:cNvSpPr>
                <a:spLocks/>
              </p:cNvSpPr>
              <p:nvPr/>
            </p:nvSpPr>
            <p:spPr bwMode="auto">
              <a:xfrm>
                <a:off x="4341813" y="4694238"/>
                <a:ext cx="66675" cy="160337"/>
              </a:xfrm>
              <a:custGeom>
                <a:avLst/>
                <a:gdLst>
                  <a:gd name="T0" fmla="*/ 16 w 37"/>
                  <a:gd name="T1" fmla="*/ 10 h 92"/>
                  <a:gd name="T2" fmla="*/ 0 w 37"/>
                  <a:gd name="T3" fmla="*/ 17 h 92"/>
                  <a:gd name="T4" fmla="*/ 0 w 37"/>
                  <a:gd name="T5" fmla="*/ 30 h 92"/>
                  <a:gd name="T6" fmla="*/ 9 w 37"/>
                  <a:gd name="T7" fmla="*/ 38 h 92"/>
                  <a:gd name="T8" fmla="*/ 9 w 37"/>
                  <a:gd name="T9" fmla="*/ 92 h 92"/>
                  <a:gd name="T10" fmla="*/ 24 w 37"/>
                  <a:gd name="T11" fmla="*/ 92 h 92"/>
                  <a:gd name="T12" fmla="*/ 24 w 37"/>
                  <a:gd name="T13" fmla="*/ 62 h 92"/>
                  <a:gd name="T14" fmla="*/ 37 w 37"/>
                  <a:gd name="T15" fmla="*/ 30 h 92"/>
                  <a:gd name="T16" fmla="*/ 37 w 37"/>
                  <a:gd name="T17" fmla="*/ 10 h 92"/>
                  <a:gd name="T18" fmla="*/ 24 w 37"/>
                  <a:gd name="T19" fmla="*/ 0 h 92"/>
                  <a:gd name="T20" fmla="*/ 16 w 37"/>
                  <a:gd name="T21" fmla="*/ 0 h 92"/>
                  <a:gd name="T22" fmla="*/ 16 w 37"/>
                  <a:gd name="T23" fmla="*/ 10 h 92"/>
                  <a:gd name="T24" fmla="*/ 16 w 37"/>
                  <a:gd name="T25" fmla="*/ 10 h 92"/>
                  <a:gd name="T26" fmla="*/ 16 w 37"/>
                  <a:gd name="T27" fmla="*/ 1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7" h="92">
                    <a:moveTo>
                      <a:pt x="16" y="10"/>
                    </a:moveTo>
                    <a:lnTo>
                      <a:pt x="0" y="17"/>
                    </a:lnTo>
                    <a:lnTo>
                      <a:pt x="0" y="30"/>
                    </a:lnTo>
                    <a:lnTo>
                      <a:pt x="9" y="38"/>
                    </a:lnTo>
                    <a:lnTo>
                      <a:pt x="9" y="92"/>
                    </a:lnTo>
                    <a:lnTo>
                      <a:pt x="24" y="92"/>
                    </a:lnTo>
                    <a:lnTo>
                      <a:pt x="24" y="62"/>
                    </a:lnTo>
                    <a:lnTo>
                      <a:pt x="37" y="30"/>
                    </a:lnTo>
                    <a:lnTo>
                      <a:pt x="37" y="1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16" y="1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71" name="Freeform 205"/>
              <p:cNvSpPr>
                <a:spLocks/>
              </p:cNvSpPr>
              <p:nvPr/>
            </p:nvSpPr>
            <p:spPr bwMode="auto">
              <a:xfrm>
                <a:off x="4546600" y="4956175"/>
                <a:ext cx="34925" cy="46038"/>
              </a:xfrm>
              <a:custGeom>
                <a:avLst/>
                <a:gdLst>
                  <a:gd name="T0" fmla="*/ 20 w 20"/>
                  <a:gd name="T1" fmla="*/ 0 h 27"/>
                  <a:gd name="T2" fmla="*/ 20 w 20"/>
                  <a:gd name="T3" fmla="*/ 27 h 27"/>
                  <a:gd name="T4" fmla="*/ 0 w 20"/>
                  <a:gd name="T5" fmla="*/ 27 h 27"/>
                  <a:gd name="T6" fmla="*/ 8 w 20"/>
                  <a:gd name="T7" fmla="*/ 0 h 27"/>
                  <a:gd name="T8" fmla="*/ 20 w 20"/>
                  <a:gd name="T9" fmla="*/ 0 h 27"/>
                  <a:gd name="T10" fmla="*/ 20 w 20"/>
                  <a:gd name="T11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27">
                    <a:moveTo>
                      <a:pt x="20" y="0"/>
                    </a:moveTo>
                    <a:lnTo>
                      <a:pt x="20" y="27"/>
                    </a:lnTo>
                    <a:lnTo>
                      <a:pt x="0" y="27"/>
                    </a:lnTo>
                    <a:lnTo>
                      <a:pt x="8" y="0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72" name="Freeform 206"/>
              <p:cNvSpPr>
                <a:spLocks/>
              </p:cNvSpPr>
              <p:nvPr/>
            </p:nvSpPr>
            <p:spPr bwMode="auto">
              <a:xfrm>
                <a:off x="4576763" y="4921250"/>
                <a:ext cx="180975" cy="222250"/>
              </a:xfrm>
              <a:custGeom>
                <a:avLst/>
                <a:gdLst>
                  <a:gd name="T0" fmla="*/ 76 w 103"/>
                  <a:gd name="T1" fmla="*/ 9 h 128"/>
                  <a:gd name="T2" fmla="*/ 76 w 103"/>
                  <a:gd name="T3" fmla="*/ 30 h 128"/>
                  <a:gd name="T4" fmla="*/ 31 w 103"/>
                  <a:gd name="T5" fmla="*/ 22 h 128"/>
                  <a:gd name="T6" fmla="*/ 31 w 103"/>
                  <a:gd name="T7" fmla="*/ 39 h 128"/>
                  <a:gd name="T8" fmla="*/ 39 w 103"/>
                  <a:gd name="T9" fmla="*/ 30 h 128"/>
                  <a:gd name="T10" fmla="*/ 44 w 103"/>
                  <a:gd name="T11" fmla="*/ 39 h 128"/>
                  <a:gd name="T12" fmla="*/ 44 w 103"/>
                  <a:gd name="T13" fmla="*/ 83 h 128"/>
                  <a:gd name="T14" fmla="*/ 24 w 103"/>
                  <a:gd name="T15" fmla="*/ 83 h 128"/>
                  <a:gd name="T16" fmla="*/ 11 w 103"/>
                  <a:gd name="T17" fmla="*/ 91 h 128"/>
                  <a:gd name="T18" fmla="*/ 11 w 103"/>
                  <a:gd name="T19" fmla="*/ 96 h 128"/>
                  <a:gd name="T20" fmla="*/ 0 w 103"/>
                  <a:gd name="T21" fmla="*/ 96 h 128"/>
                  <a:gd name="T22" fmla="*/ 0 w 103"/>
                  <a:gd name="T23" fmla="*/ 113 h 128"/>
                  <a:gd name="T24" fmla="*/ 24 w 103"/>
                  <a:gd name="T25" fmla="*/ 128 h 128"/>
                  <a:gd name="T26" fmla="*/ 24 w 103"/>
                  <a:gd name="T27" fmla="*/ 120 h 128"/>
                  <a:gd name="T28" fmla="*/ 44 w 103"/>
                  <a:gd name="T29" fmla="*/ 120 h 128"/>
                  <a:gd name="T30" fmla="*/ 66 w 103"/>
                  <a:gd name="T31" fmla="*/ 113 h 128"/>
                  <a:gd name="T32" fmla="*/ 76 w 103"/>
                  <a:gd name="T33" fmla="*/ 83 h 128"/>
                  <a:gd name="T34" fmla="*/ 89 w 103"/>
                  <a:gd name="T35" fmla="*/ 67 h 128"/>
                  <a:gd name="T36" fmla="*/ 103 w 103"/>
                  <a:gd name="T37" fmla="*/ 0 h 128"/>
                  <a:gd name="T38" fmla="*/ 81 w 103"/>
                  <a:gd name="T39" fmla="*/ 9 h 128"/>
                  <a:gd name="T40" fmla="*/ 76 w 103"/>
                  <a:gd name="T41" fmla="*/ 9 h 128"/>
                  <a:gd name="T42" fmla="*/ 76 w 103"/>
                  <a:gd name="T43" fmla="*/ 9 h 128"/>
                  <a:gd name="T44" fmla="*/ 76 w 103"/>
                  <a:gd name="T45" fmla="*/ 9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03" h="128">
                    <a:moveTo>
                      <a:pt x="76" y="9"/>
                    </a:moveTo>
                    <a:lnTo>
                      <a:pt x="76" y="30"/>
                    </a:lnTo>
                    <a:lnTo>
                      <a:pt x="31" y="22"/>
                    </a:lnTo>
                    <a:lnTo>
                      <a:pt x="31" y="39"/>
                    </a:lnTo>
                    <a:lnTo>
                      <a:pt x="39" y="30"/>
                    </a:lnTo>
                    <a:lnTo>
                      <a:pt x="44" y="39"/>
                    </a:lnTo>
                    <a:lnTo>
                      <a:pt x="44" y="83"/>
                    </a:lnTo>
                    <a:lnTo>
                      <a:pt x="24" y="83"/>
                    </a:lnTo>
                    <a:lnTo>
                      <a:pt x="11" y="91"/>
                    </a:lnTo>
                    <a:lnTo>
                      <a:pt x="11" y="96"/>
                    </a:lnTo>
                    <a:lnTo>
                      <a:pt x="0" y="96"/>
                    </a:lnTo>
                    <a:lnTo>
                      <a:pt x="0" y="113"/>
                    </a:lnTo>
                    <a:lnTo>
                      <a:pt x="24" y="128"/>
                    </a:lnTo>
                    <a:lnTo>
                      <a:pt x="24" y="120"/>
                    </a:lnTo>
                    <a:lnTo>
                      <a:pt x="44" y="120"/>
                    </a:lnTo>
                    <a:lnTo>
                      <a:pt x="66" y="113"/>
                    </a:lnTo>
                    <a:lnTo>
                      <a:pt x="76" y="83"/>
                    </a:lnTo>
                    <a:lnTo>
                      <a:pt x="89" y="67"/>
                    </a:lnTo>
                    <a:lnTo>
                      <a:pt x="103" y="0"/>
                    </a:lnTo>
                    <a:lnTo>
                      <a:pt x="81" y="9"/>
                    </a:lnTo>
                    <a:lnTo>
                      <a:pt x="76" y="9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73" name="Freeform 207"/>
              <p:cNvSpPr>
                <a:spLocks/>
              </p:cNvSpPr>
              <p:nvPr/>
            </p:nvSpPr>
            <p:spPr bwMode="auto">
              <a:xfrm>
                <a:off x="5021263" y="5078413"/>
                <a:ext cx="39687" cy="50800"/>
              </a:xfrm>
              <a:custGeom>
                <a:avLst/>
                <a:gdLst>
                  <a:gd name="T0" fmla="*/ 22 w 22"/>
                  <a:gd name="T1" fmla="*/ 0 h 29"/>
                  <a:gd name="T2" fmla="*/ 22 w 22"/>
                  <a:gd name="T3" fmla="*/ 5 h 29"/>
                  <a:gd name="T4" fmla="*/ 0 w 22"/>
                  <a:gd name="T5" fmla="*/ 29 h 29"/>
                  <a:gd name="T6" fmla="*/ 0 w 22"/>
                  <a:gd name="T7" fmla="*/ 0 h 29"/>
                  <a:gd name="T8" fmla="*/ 22 w 22"/>
                  <a:gd name="T9" fmla="*/ 0 h 29"/>
                  <a:gd name="T10" fmla="*/ 22 w 22"/>
                  <a:gd name="T11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29">
                    <a:moveTo>
                      <a:pt x="22" y="0"/>
                    </a:moveTo>
                    <a:lnTo>
                      <a:pt x="22" y="5"/>
                    </a:lnTo>
                    <a:lnTo>
                      <a:pt x="0" y="29"/>
                    </a:lnTo>
                    <a:lnTo>
                      <a:pt x="0" y="0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74" name="Freeform 208"/>
              <p:cNvSpPr>
                <a:spLocks/>
              </p:cNvSpPr>
              <p:nvPr/>
            </p:nvSpPr>
            <p:spPr bwMode="auto">
              <a:xfrm>
                <a:off x="4603750" y="5441950"/>
                <a:ext cx="304800" cy="336550"/>
              </a:xfrm>
              <a:custGeom>
                <a:avLst/>
                <a:gdLst>
                  <a:gd name="T0" fmla="*/ 64 w 174"/>
                  <a:gd name="T1" fmla="*/ 193 h 193"/>
                  <a:gd name="T2" fmla="*/ 33 w 174"/>
                  <a:gd name="T3" fmla="*/ 116 h 193"/>
                  <a:gd name="T4" fmla="*/ 33 w 174"/>
                  <a:gd name="T5" fmla="*/ 94 h 193"/>
                  <a:gd name="T6" fmla="*/ 0 w 174"/>
                  <a:gd name="T7" fmla="*/ 17 h 193"/>
                  <a:gd name="T8" fmla="*/ 0 w 174"/>
                  <a:gd name="T9" fmla="*/ 0 h 193"/>
                  <a:gd name="T10" fmla="*/ 33 w 174"/>
                  <a:gd name="T11" fmla="*/ 0 h 193"/>
                  <a:gd name="T12" fmla="*/ 82 w 174"/>
                  <a:gd name="T13" fmla="*/ 17 h 193"/>
                  <a:gd name="T14" fmla="*/ 105 w 174"/>
                  <a:gd name="T15" fmla="*/ 17 h 193"/>
                  <a:gd name="T16" fmla="*/ 132 w 174"/>
                  <a:gd name="T17" fmla="*/ 25 h 193"/>
                  <a:gd name="T18" fmla="*/ 154 w 174"/>
                  <a:gd name="T19" fmla="*/ 17 h 193"/>
                  <a:gd name="T20" fmla="*/ 161 w 174"/>
                  <a:gd name="T21" fmla="*/ 0 h 193"/>
                  <a:gd name="T22" fmla="*/ 174 w 174"/>
                  <a:gd name="T23" fmla="*/ 17 h 193"/>
                  <a:gd name="T24" fmla="*/ 161 w 174"/>
                  <a:gd name="T25" fmla="*/ 32 h 193"/>
                  <a:gd name="T26" fmla="*/ 154 w 174"/>
                  <a:gd name="T27" fmla="*/ 25 h 193"/>
                  <a:gd name="T28" fmla="*/ 127 w 174"/>
                  <a:gd name="T29" fmla="*/ 25 h 193"/>
                  <a:gd name="T30" fmla="*/ 119 w 174"/>
                  <a:gd name="T31" fmla="*/ 77 h 193"/>
                  <a:gd name="T32" fmla="*/ 112 w 174"/>
                  <a:gd name="T33" fmla="*/ 94 h 193"/>
                  <a:gd name="T34" fmla="*/ 112 w 174"/>
                  <a:gd name="T35" fmla="*/ 185 h 193"/>
                  <a:gd name="T36" fmla="*/ 90 w 174"/>
                  <a:gd name="T37" fmla="*/ 193 h 193"/>
                  <a:gd name="T38" fmla="*/ 77 w 174"/>
                  <a:gd name="T39" fmla="*/ 193 h 193"/>
                  <a:gd name="T40" fmla="*/ 70 w 174"/>
                  <a:gd name="T41" fmla="*/ 185 h 193"/>
                  <a:gd name="T42" fmla="*/ 64 w 174"/>
                  <a:gd name="T43" fmla="*/ 193 h 193"/>
                  <a:gd name="T44" fmla="*/ 64 w 174"/>
                  <a:gd name="T45" fmla="*/ 193 h 193"/>
                  <a:gd name="T46" fmla="*/ 64 w 174"/>
                  <a:gd name="T47" fmla="*/ 193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74" h="193">
                    <a:moveTo>
                      <a:pt x="64" y="193"/>
                    </a:moveTo>
                    <a:lnTo>
                      <a:pt x="33" y="116"/>
                    </a:lnTo>
                    <a:lnTo>
                      <a:pt x="33" y="94"/>
                    </a:lnTo>
                    <a:lnTo>
                      <a:pt x="0" y="17"/>
                    </a:lnTo>
                    <a:lnTo>
                      <a:pt x="0" y="0"/>
                    </a:lnTo>
                    <a:lnTo>
                      <a:pt x="33" y="0"/>
                    </a:lnTo>
                    <a:lnTo>
                      <a:pt x="82" y="17"/>
                    </a:lnTo>
                    <a:lnTo>
                      <a:pt x="105" y="17"/>
                    </a:lnTo>
                    <a:lnTo>
                      <a:pt x="132" y="25"/>
                    </a:lnTo>
                    <a:lnTo>
                      <a:pt x="154" y="17"/>
                    </a:lnTo>
                    <a:lnTo>
                      <a:pt x="161" y="0"/>
                    </a:lnTo>
                    <a:lnTo>
                      <a:pt x="174" y="17"/>
                    </a:lnTo>
                    <a:lnTo>
                      <a:pt x="161" y="32"/>
                    </a:lnTo>
                    <a:lnTo>
                      <a:pt x="154" y="25"/>
                    </a:lnTo>
                    <a:lnTo>
                      <a:pt x="127" y="25"/>
                    </a:lnTo>
                    <a:lnTo>
                      <a:pt x="119" y="77"/>
                    </a:lnTo>
                    <a:lnTo>
                      <a:pt x="112" y="94"/>
                    </a:lnTo>
                    <a:lnTo>
                      <a:pt x="112" y="185"/>
                    </a:lnTo>
                    <a:lnTo>
                      <a:pt x="90" y="193"/>
                    </a:lnTo>
                    <a:lnTo>
                      <a:pt x="77" y="193"/>
                    </a:lnTo>
                    <a:lnTo>
                      <a:pt x="70" y="185"/>
                    </a:lnTo>
                    <a:lnTo>
                      <a:pt x="64" y="193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75" name="Freeform 209"/>
              <p:cNvSpPr>
                <a:spLocks/>
              </p:cNvSpPr>
              <p:nvPr/>
            </p:nvSpPr>
            <p:spPr bwMode="auto">
              <a:xfrm>
                <a:off x="4603750" y="5156200"/>
                <a:ext cx="287338" cy="328613"/>
              </a:xfrm>
              <a:custGeom>
                <a:avLst/>
                <a:gdLst>
                  <a:gd name="T0" fmla="*/ 0 w 164"/>
                  <a:gd name="T1" fmla="*/ 163 h 188"/>
                  <a:gd name="T2" fmla="*/ 32 w 164"/>
                  <a:gd name="T3" fmla="*/ 163 h 188"/>
                  <a:gd name="T4" fmla="*/ 80 w 164"/>
                  <a:gd name="T5" fmla="*/ 180 h 188"/>
                  <a:gd name="T6" fmla="*/ 102 w 164"/>
                  <a:gd name="T7" fmla="*/ 180 h 188"/>
                  <a:gd name="T8" fmla="*/ 131 w 164"/>
                  <a:gd name="T9" fmla="*/ 188 h 188"/>
                  <a:gd name="T10" fmla="*/ 151 w 164"/>
                  <a:gd name="T11" fmla="*/ 180 h 188"/>
                  <a:gd name="T12" fmla="*/ 131 w 164"/>
                  <a:gd name="T13" fmla="*/ 159 h 188"/>
                  <a:gd name="T14" fmla="*/ 131 w 164"/>
                  <a:gd name="T15" fmla="*/ 112 h 188"/>
                  <a:gd name="T16" fmla="*/ 164 w 164"/>
                  <a:gd name="T17" fmla="*/ 104 h 188"/>
                  <a:gd name="T18" fmla="*/ 156 w 164"/>
                  <a:gd name="T19" fmla="*/ 75 h 188"/>
                  <a:gd name="T20" fmla="*/ 131 w 164"/>
                  <a:gd name="T21" fmla="*/ 82 h 188"/>
                  <a:gd name="T22" fmla="*/ 131 w 164"/>
                  <a:gd name="T23" fmla="*/ 75 h 188"/>
                  <a:gd name="T24" fmla="*/ 146 w 164"/>
                  <a:gd name="T25" fmla="*/ 69 h 188"/>
                  <a:gd name="T26" fmla="*/ 131 w 164"/>
                  <a:gd name="T27" fmla="*/ 60 h 188"/>
                  <a:gd name="T28" fmla="*/ 131 w 164"/>
                  <a:gd name="T29" fmla="*/ 32 h 188"/>
                  <a:gd name="T30" fmla="*/ 115 w 164"/>
                  <a:gd name="T31" fmla="*/ 23 h 188"/>
                  <a:gd name="T32" fmla="*/ 102 w 164"/>
                  <a:gd name="T33" fmla="*/ 23 h 188"/>
                  <a:gd name="T34" fmla="*/ 102 w 164"/>
                  <a:gd name="T35" fmla="*/ 32 h 188"/>
                  <a:gd name="T36" fmla="*/ 80 w 164"/>
                  <a:gd name="T37" fmla="*/ 38 h 188"/>
                  <a:gd name="T38" fmla="*/ 69 w 164"/>
                  <a:gd name="T39" fmla="*/ 23 h 188"/>
                  <a:gd name="T40" fmla="*/ 69 w 164"/>
                  <a:gd name="T41" fmla="*/ 0 h 188"/>
                  <a:gd name="T42" fmla="*/ 25 w 164"/>
                  <a:gd name="T43" fmla="*/ 0 h 188"/>
                  <a:gd name="T44" fmla="*/ 10 w 164"/>
                  <a:gd name="T45" fmla="*/ 16 h 188"/>
                  <a:gd name="T46" fmla="*/ 25 w 164"/>
                  <a:gd name="T47" fmla="*/ 82 h 188"/>
                  <a:gd name="T48" fmla="*/ 25 w 164"/>
                  <a:gd name="T49" fmla="*/ 104 h 188"/>
                  <a:gd name="T50" fmla="*/ 10 w 164"/>
                  <a:gd name="T51" fmla="*/ 112 h 188"/>
                  <a:gd name="T52" fmla="*/ 0 w 164"/>
                  <a:gd name="T53" fmla="*/ 151 h 188"/>
                  <a:gd name="T54" fmla="*/ 0 w 164"/>
                  <a:gd name="T55" fmla="*/ 163 h 188"/>
                  <a:gd name="T56" fmla="*/ 0 w 164"/>
                  <a:gd name="T57" fmla="*/ 163 h 188"/>
                  <a:gd name="T58" fmla="*/ 0 w 164"/>
                  <a:gd name="T59" fmla="*/ 163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64" h="188">
                    <a:moveTo>
                      <a:pt x="0" y="163"/>
                    </a:moveTo>
                    <a:lnTo>
                      <a:pt x="32" y="163"/>
                    </a:lnTo>
                    <a:lnTo>
                      <a:pt x="80" y="180"/>
                    </a:lnTo>
                    <a:lnTo>
                      <a:pt x="102" y="180"/>
                    </a:lnTo>
                    <a:lnTo>
                      <a:pt x="131" y="188"/>
                    </a:lnTo>
                    <a:lnTo>
                      <a:pt x="151" y="180"/>
                    </a:lnTo>
                    <a:lnTo>
                      <a:pt x="131" y="159"/>
                    </a:lnTo>
                    <a:lnTo>
                      <a:pt x="131" y="112"/>
                    </a:lnTo>
                    <a:lnTo>
                      <a:pt x="164" y="104"/>
                    </a:lnTo>
                    <a:lnTo>
                      <a:pt x="156" y="75"/>
                    </a:lnTo>
                    <a:lnTo>
                      <a:pt x="131" y="82"/>
                    </a:lnTo>
                    <a:lnTo>
                      <a:pt x="131" y="75"/>
                    </a:lnTo>
                    <a:lnTo>
                      <a:pt x="146" y="69"/>
                    </a:lnTo>
                    <a:lnTo>
                      <a:pt x="131" y="60"/>
                    </a:lnTo>
                    <a:lnTo>
                      <a:pt x="131" y="32"/>
                    </a:lnTo>
                    <a:lnTo>
                      <a:pt x="115" y="23"/>
                    </a:lnTo>
                    <a:lnTo>
                      <a:pt x="102" y="23"/>
                    </a:lnTo>
                    <a:lnTo>
                      <a:pt x="102" y="32"/>
                    </a:lnTo>
                    <a:lnTo>
                      <a:pt x="80" y="38"/>
                    </a:lnTo>
                    <a:lnTo>
                      <a:pt x="69" y="23"/>
                    </a:lnTo>
                    <a:lnTo>
                      <a:pt x="69" y="0"/>
                    </a:lnTo>
                    <a:lnTo>
                      <a:pt x="25" y="0"/>
                    </a:lnTo>
                    <a:lnTo>
                      <a:pt x="10" y="16"/>
                    </a:lnTo>
                    <a:lnTo>
                      <a:pt x="25" y="82"/>
                    </a:lnTo>
                    <a:lnTo>
                      <a:pt x="25" y="104"/>
                    </a:lnTo>
                    <a:lnTo>
                      <a:pt x="10" y="112"/>
                    </a:lnTo>
                    <a:lnTo>
                      <a:pt x="0" y="151"/>
                    </a:lnTo>
                    <a:lnTo>
                      <a:pt x="0" y="163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76" name="Freeform 210"/>
              <p:cNvSpPr>
                <a:spLocks/>
              </p:cNvSpPr>
              <p:nvPr/>
            </p:nvSpPr>
            <p:spPr bwMode="auto">
              <a:xfrm>
                <a:off x="4708525" y="5570538"/>
                <a:ext cx="385763" cy="388937"/>
              </a:xfrm>
              <a:custGeom>
                <a:avLst/>
                <a:gdLst>
                  <a:gd name="T0" fmla="*/ 198 w 220"/>
                  <a:gd name="T1" fmla="*/ 17 h 222"/>
                  <a:gd name="T2" fmla="*/ 205 w 220"/>
                  <a:gd name="T3" fmla="*/ 69 h 222"/>
                  <a:gd name="T4" fmla="*/ 198 w 220"/>
                  <a:gd name="T5" fmla="*/ 69 h 222"/>
                  <a:gd name="T6" fmla="*/ 191 w 220"/>
                  <a:gd name="T7" fmla="*/ 75 h 222"/>
                  <a:gd name="T8" fmla="*/ 198 w 220"/>
                  <a:gd name="T9" fmla="*/ 82 h 222"/>
                  <a:gd name="T10" fmla="*/ 205 w 220"/>
                  <a:gd name="T11" fmla="*/ 75 h 222"/>
                  <a:gd name="T12" fmla="*/ 220 w 220"/>
                  <a:gd name="T13" fmla="*/ 75 h 222"/>
                  <a:gd name="T14" fmla="*/ 220 w 220"/>
                  <a:gd name="T15" fmla="*/ 114 h 222"/>
                  <a:gd name="T16" fmla="*/ 198 w 220"/>
                  <a:gd name="T17" fmla="*/ 122 h 222"/>
                  <a:gd name="T18" fmla="*/ 183 w 220"/>
                  <a:gd name="T19" fmla="*/ 153 h 222"/>
                  <a:gd name="T20" fmla="*/ 154 w 220"/>
                  <a:gd name="T21" fmla="*/ 176 h 222"/>
                  <a:gd name="T22" fmla="*/ 139 w 220"/>
                  <a:gd name="T23" fmla="*/ 201 h 222"/>
                  <a:gd name="T24" fmla="*/ 71 w 220"/>
                  <a:gd name="T25" fmla="*/ 206 h 222"/>
                  <a:gd name="T26" fmla="*/ 49 w 220"/>
                  <a:gd name="T27" fmla="*/ 222 h 222"/>
                  <a:gd name="T28" fmla="*/ 42 w 220"/>
                  <a:gd name="T29" fmla="*/ 222 h 222"/>
                  <a:gd name="T30" fmla="*/ 27 w 220"/>
                  <a:gd name="T31" fmla="*/ 206 h 222"/>
                  <a:gd name="T32" fmla="*/ 20 w 220"/>
                  <a:gd name="T33" fmla="*/ 176 h 222"/>
                  <a:gd name="T34" fmla="*/ 20 w 220"/>
                  <a:gd name="T35" fmla="*/ 168 h 222"/>
                  <a:gd name="T36" fmla="*/ 7 w 220"/>
                  <a:gd name="T37" fmla="*/ 114 h 222"/>
                  <a:gd name="T38" fmla="*/ 0 w 220"/>
                  <a:gd name="T39" fmla="*/ 114 h 222"/>
                  <a:gd name="T40" fmla="*/ 7 w 220"/>
                  <a:gd name="T41" fmla="*/ 107 h 222"/>
                  <a:gd name="T42" fmla="*/ 14 w 220"/>
                  <a:gd name="T43" fmla="*/ 114 h 222"/>
                  <a:gd name="T44" fmla="*/ 27 w 220"/>
                  <a:gd name="T45" fmla="*/ 114 h 222"/>
                  <a:gd name="T46" fmla="*/ 49 w 220"/>
                  <a:gd name="T47" fmla="*/ 107 h 222"/>
                  <a:gd name="T48" fmla="*/ 49 w 220"/>
                  <a:gd name="T49" fmla="*/ 43 h 222"/>
                  <a:gd name="T50" fmla="*/ 55 w 220"/>
                  <a:gd name="T51" fmla="*/ 60 h 222"/>
                  <a:gd name="T52" fmla="*/ 55 w 220"/>
                  <a:gd name="T53" fmla="*/ 75 h 222"/>
                  <a:gd name="T54" fmla="*/ 71 w 220"/>
                  <a:gd name="T55" fmla="*/ 75 h 222"/>
                  <a:gd name="T56" fmla="*/ 97 w 220"/>
                  <a:gd name="T57" fmla="*/ 60 h 222"/>
                  <a:gd name="T58" fmla="*/ 106 w 220"/>
                  <a:gd name="T59" fmla="*/ 69 h 222"/>
                  <a:gd name="T60" fmla="*/ 176 w 220"/>
                  <a:gd name="T61" fmla="*/ 0 h 222"/>
                  <a:gd name="T62" fmla="*/ 191 w 220"/>
                  <a:gd name="T63" fmla="*/ 17 h 222"/>
                  <a:gd name="T64" fmla="*/ 198 w 220"/>
                  <a:gd name="T65" fmla="*/ 17 h 222"/>
                  <a:gd name="T66" fmla="*/ 198 w 220"/>
                  <a:gd name="T67" fmla="*/ 17 h 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20" h="222">
                    <a:moveTo>
                      <a:pt x="198" y="17"/>
                    </a:moveTo>
                    <a:lnTo>
                      <a:pt x="205" y="69"/>
                    </a:lnTo>
                    <a:lnTo>
                      <a:pt x="198" y="69"/>
                    </a:lnTo>
                    <a:lnTo>
                      <a:pt x="191" y="75"/>
                    </a:lnTo>
                    <a:lnTo>
                      <a:pt x="198" y="82"/>
                    </a:lnTo>
                    <a:lnTo>
                      <a:pt x="205" y="75"/>
                    </a:lnTo>
                    <a:lnTo>
                      <a:pt x="220" y="75"/>
                    </a:lnTo>
                    <a:lnTo>
                      <a:pt x="220" y="114"/>
                    </a:lnTo>
                    <a:lnTo>
                      <a:pt x="198" y="122"/>
                    </a:lnTo>
                    <a:lnTo>
                      <a:pt x="183" y="153"/>
                    </a:lnTo>
                    <a:lnTo>
                      <a:pt x="154" y="176"/>
                    </a:lnTo>
                    <a:lnTo>
                      <a:pt x="139" y="201"/>
                    </a:lnTo>
                    <a:lnTo>
                      <a:pt x="71" y="206"/>
                    </a:lnTo>
                    <a:lnTo>
                      <a:pt x="49" y="222"/>
                    </a:lnTo>
                    <a:lnTo>
                      <a:pt x="42" y="222"/>
                    </a:lnTo>
                    <a:lnTo>
                      <a:pt x="27" y="206"/>
                    </a:lnTo>
                    <a:lnTo>
                      <a:pt x="20" y="176"/>
                    </a:lnTo>
                    <a:lnTo>
                      <a:pt x="20" y="168"/>
                    </a:lnTo>
                    <a:lnTo>
                      <a:pt x="7" y="114"/>
                    </a:lnTo>
                    <a:lnTo>
                      <a:pt x="0" y="114"/>
                    </a:lnTo>
                    <a:lnTo>
                      <a:pt x="7" y="107"/>
                    </a:lnTo>
                    <a:lnTo>
                      <a:pt x="14" y="114"/>
                    </a:lnTo>
                    <a:lnTo>
                      <a:pt x="27" y="114"/>
                    </a:lnTo>
                    <a:lnTo>
                      <a:pt x="49" y="107"/>
                    </a:lnTo>
                    <a:lnTo>
                      <a:pt x="49" y="43"/>
                    </a:lnTo>
                    <a:lnTo>
                      <a:pt x="55" y="60"/>
                    </a:lnTo>
                    <a:lnTo>
                      <a:pt x="55" y="75"/>
                    </a:lnTo>
                    <a:lnTo>
                      <a:pt x="71" y="75"/>
                    </a:lnTo>
                    <a:lnTo>
                      <a:pt x="97" y="60"/>
                    </a:lnTo>
                    <a:lnTo>
                      <a:pt x="106" y="69"/>
                    </a:lnTo>
                    <a:lnTo>
                      <a:pt x="176" y="0"/>
                    </a:lnTo>
                    <a:lnTo>
                      <a:pt x="191" y="17"/>
                    </a:lnTo>
                    <a:lnTo>
                      <a:pt x="198" y="17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77" name="Freeform 211"/>
              <p:cNvSpPr>
                <a:spLocks/>
              </p:cNvSpPr>
              <p:nvPr/>
            </p:nvSpPr>
            <p:spPr bwMode="auto">
              <a:xfrm>
                <a:off x="4792663" y="5473700"/>
                <a:ext cx="228600" cy="236538"/>
              </a:xfrm>
              <a:custGeom>
                <a:avLst/>
                <a:gdLst>
                  <a:gd name="T0" fmla="*/ 0 w 130"/>
                  <a:gd name="T1" fmla="*/ 104 h 136"/>
                  <a:gd name="T2" fmla="*/ 8 w 130"/>
                  <a:gd name="T3" fmla="*/ 121 h 136"/>
                  <a:gd name="T4" fmla="*/ 8 w 130"/>
                  <a:gd name="T5" fmla="*/ 136 h 136"/>
                  <a:gd name="T6" fmla="*/ 23 w 130"/>
                  <a:gd name="T7" fmla="*/ 136 h 136"/>
                  <a:gd name="T8" fmla="*/ 50 w 130"/>
                  <a:gd name="T9" fmla="*/ 121 h 136"/>
                  <a:gd name="T10" fmla="*/ 57 w 130"/>
                  <a:gd name="T11" fmla="*/ 128 h 136"/>
                  <a:gd name="T12" fmla="*/ 130 w 130"/>
                  <a:gd name="T13" fmla="*/ 61 h 136"/>
                  <a:gd name="T14" fmla="*/ 107 w 130"/>
                  <a:gd name="T15" fmla="*/ 61 h 136"/>
                  <a:gd name="T16" fmla="*/ 102 w 130"/>
                  <a:gd name="T17" fmla="*/ 47 h 136"/>
                  <a:gd name="T18" fmla="*/ 63 w 130"/>
                  <a:gd name="T19" fmla="*/ 0 h 136"/>
                  <a:gd name="T20" fmla="*/ 50 w 130"/>
                  <a:gd name="T21" fmla="*/ 15 h 136"/>
                  <a:gd name="T22" fmla="*/ 43 w 130"/>
                  <a:gd name="T23" fmla="*/ 7 h 136"/>
                  <a:gd name="T24" fmla="*/ 15 w 130"/>
                  <a:gd name="T25" fmla="*/ 7 h 136"/>
                  <a:gd name="T26" fmla="*/ 8 w 130"/>
                  <a:gd name="T27" fmla="*/ 61 h 136"/>
                  <a:gd name="T28" fmla="*/ 0 w 130"/>
                  <a:gd name="T29" fmla="*/ 78 h 136"/>
                  <a:gd name="T30" fmla="*/ 0 w 130"/>
                  <a:gd name="T31" fmla="*/ 104 h 136"/>
                  <a:gd name="T32" fmla="*/ 0 w 130"/>
                  <a:gd name="T33" fmla="*/ 104 h 136"/>
                  <a:gd name="T34" fmla="*/ 0 w 130"/>
                  <a:gd name="T35" fmla="*/ 104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0" h="136">
                    <a:moveTo>
                      <a:pt x="0" y="104"/>
                    </a:moveTo>
                    <a:lnTo>
                      <a:pt x="8" y="121"/>
                    </a:lnTo>
                    <a:lnTo>
                      <a:pt x="8" y="136"/>
                    </a:lnTo>
                    <a:lnTo>
                      <a:pt x="23" y="136"/>
                    </a:lnTo>
                    <a:lnTo>
                      <a:pt x="50" y="121"/>
                    </a:lnTo>
                    <a:lnTo>
                      <a:pt x="57" y="128"/>
                    </a:lnTo>
                    <a:lnTo>
                      <a:pt x="130" y="61"/>
                    </a:lnTo>
                    <a:lnTo>
                      <a:pt x="107" y="61"/>
                    </a:lnTo>
                    <a:lnTo>
                      <a:pt x="102" y="47"/>
                    </a:lnTo>
                    <a:lnTo>
                      <a:pt x="63" y="0"/>
                    </a:lnTo>
                    <a:lnTo>
                      <a:pt x="50" y="15"/>
                    </a:lnTo>
                    <a:lnTo>
                      <a:pt x="43" y="7"/>
                    </a:lnTo>
                    <a:lnTo>
                      <a:pt x="15" y="7"/>
                    </a:lnTo>
                    <a:lnTo>
                      <a:pt x="8" y="61"/>
                    </a:lnTo>
                    <a:lnTo>
                      <a:pt x="0" y="78"/>
                    </a:lnTo>
                    <a:lnTo>
                      <a:pt x="0" y="104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78" name="Freeform 212"/>
              <p:cNvSpPr>
                <a:spLocks/>
              </p:cNvSpPr>
              <p:nvPr/>
            </p:nvSpPr>
            <p:spPr bwMode="auto">
              <a:xfrm>
                <a:off x="4908550" y="5421313"/>
                <a:ext cx="195263" cy="180975"/>
              </a:xfrm>
              <a:custGeom>
                <a:avLst/>
                <a:gdLst>
                  <a:gd name="T0" fmla="*/ 69 w 111"/>
                  <a:gd name="T1" fmla="*/ 0 h 104"/>
                  <a:gd name="T2" fmla="*/ 49 w 111"/>
                  <a:gd name="T3" fmla="*/ 0 h 104"/>
                  <a:gd name="T4" fmla="*/ 49 w 111"/>
                  <a:gd name="T5" fmla="*/ 8 h 104"/>
                  <a:gd name="T6" fmla="*/ 29 w 111"/>
                  <a:gd name="T7" fmla="*/ 30 h 104"/>
                  <a:gd name="T8" fmla="*/ 0 w 111"/>
                  <a:gd name="T9" fmla="*/ 30 h 104"/>
                  <a:gd name="T10" fmla="*/ 37 w 111"/>
                  <a:gd name="T11" fmla="*/ 76 h 104"/>
                  <a:gd name="T12" fmla="*/ 44 w 111"/>
                  <a:gd name="T13" fmla="*/ 89 h 104"/>
                  <a:gd name="T14" fmla="*/ 65 w 111"/>
                  <a:gd name="T15" fmla="*/ 89 h 104"/>
                  <a:gd name="T16" fmla="*/ 79 w 111"/>
                  <a:gd name="T17" fmla="*/ 104 h 104"/>
                  <a:gd name="T18" fmla="*/ 84 w 111"/>
                  <a:gd name="T19" fmla="*/ 104 h 104"/>
                  <a:gd name="T20" fmla="*/ 104 w 111"/>
                  <a:gd name="T21" fmla="*/ 66 h 104"/>
                  <a:gd name="T22" fmla="*/ 111 w 111"/>
                  <a:gd name="T23" fmla="*/ 30 h 104"/>
                  <a:gd name="T24" fmla="*/ 104 w 111"/>
                  <a:gd name="T25" fmla="*/ 8 h 104"/>
                  <a:gd name="T26" fmla="*/ 84 w 111"/>
                  <a:gd name="T27" fmla="*/ 0 h 104"/>
                  <a:gd name="T28" fmla="*/ 69 w 111"/>
                  <a:gd name="T29" fmla="*/ 0 h 104"/>
                  <a:gd name="T30" fmla="*/ 69 w 111"/>
                  <a:gd name="T31" fmla="*/ 0 h 104"/>
                  <a:gd name="T32" fmla="*/ 69 w 111"/>
                  <a:gd name="T33" fmla="*/ 0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1" h="104">
                    <a:moveTo>
                      <a:pt x="69" y="0"/>
                    </a:moveTo>
                    <a:lnTo>
                      <a:pt x="49" y="0"/>
                    </a:lnTo>
                    <a:lnTo>
                      <a:pt x="49" y="8"/>
                    </a:lnTo>
                    <a:lnTo>
                      <a:pt x="29" y="30"/>
                    </a:lnTo>
                    <a:lnTo>
                      <a:pt x="0" y="30"/>
                    </a:lnTo>
                    <a:lnTo>
                      <a:pt x="37" y="76"/>
                    </a:lnTo>
                    <a:lnTo>
                      <a:pt x="44" y="89"/>
                    </a:lnTo>
                    <a:lnTo>
                      <a:pt x="65" y="89"/>
                    </a:lnTo>
                    <a:lnTo>
                      <a:pt x="79" y="104"/>
                    </a:lnTo>
                    <a:lnTo>
                      <a:pt x="84" y="104"/>
                    </a:lnTo>
                    <a:lnTo>
                      <a:pt x="104" y="66"/>
                    </a:lnTo>
                    <a:lnTo>
                      <a:pt x="111" y="30"/>
                    </a:lnTo>
                    <a:lnTo>
                      <a:pt x="104" y="8"/>
                    </a:lnTo>
                    <a:lnTo>
                      <a:pt x="84" y="0"/>
                    </a:lnTo>
                    <a:lnTo>
                      <a:pt x="69" y="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79" name="Freeform 213"/>
              <p:cNvSpPr>
                <a:spLocks/>
              </p:cNvSpPr>
              <p:nvPr/>
            </p:nvSpPr>
            <p:spPr bwMode="auto">
              <a:xfrm>
                <a:off x="5030788" y="5275263"/>
                <a:ext cx="249237" cy="428625"/>
              </a:xfrm>
              <a:custGeom>
                <a:avLst/>
                <a:gdLst>
                  <a:gd name="T0" fmla="*/ 37 w 141"/>
                  <a:gd name="T1" fmla="*/ 245 h 245"/>
                  <a:gd name="T2" fmla="*/ 37 w 141"/>
                  <a:gd name="T3" fmla="*/ 232 h 245"/>
                  <a:gd name="T4" fmla="*/ 73 w 141"/>
                  <a:gd name="T5" fmla="*/ 215 h 245"/>
                  <a:gd name="T6" fmla="*/ 79 w 141"/>
                  <a:gd name="T7" fmla="*/ 210 h 245"/>
                  <a:gd name="T8" fmla="*/ 79 w 141"/>
                  <a:gd name="T9" fmla="*/ 188 h 245"/>
                  <a:gd name="T10" fmla="*/ 57 w 141"/>
                  <a:gd name="T11" fmla="*/ 149 h 245"/>
                  <a:gd name="T12" fmla="*/ 141 w 141"/>
                  <a:gd name="T13" fmla="*/ 75 h 245"/>
                  <a:gd name="T14" fmla="*/ 134 w 141"/>
                  <a:gd name="T15" fmla="*/ 0 h 245"/>
                  <a:gd name="T16" fmla="*/ 121 w 141"/>
                  <a:gd name="T17" fmla="*/ 13 h 245"/>
                  <a:gd name="T18" fmla="*/ 73 w 141"/>
                  <a:gd name="T19" fmla="*/ 13 h 245"/>
                  <a:gd name="T20" fmla="*/ 57 w 141"/>
                  <a:gd name="T21" fmla="*/ 30 h 245"/>
                  <a:gd name="T22" fmla="*/ 73 w 141"/>
                  <a:gd name="T23" fmla="*/ 45 h 245"/>
                  <a:gd name="T24" fmla="*/ 79 w 141"/>
                  <a:gd name="T25" fmla="*/ 67 h 245"/>
                  <a:gd name="T26" fmla="*/ 79 w 141"/>
                  <a:gd name="T27" fmla="*/ 82 h 245"/>
                  <a:gd name="T28" fmla="*/ 73 w 141"/>
                  <a:gd name="T29" fmla="*/ 95 h 245"/>
                  <a:gd name="T30" fmla="*/ 57 w 141"/>
                  <a:gd name="T31" fmla="*/ 82 h 245"/>
                  <a:gd name="T32" fmla="*/ 57 w 141"/>
                  <a:gd name="T33" fmla="*/ 67 h 245"/>
                  <a:gd name="T34" fmla="*/ 49 w 141"/>
                  <a:gd name="T35" fmla="*/ 67 h 245"/>
                  <a:gd name="T36" fmla="*/ 44 w 141"/>
                  <a:gd name="T37" fmla="*/ 50 h 245"/>
                  <a:gd name="T38" fmla="*/ 0 w 141"/>
                  <a:gd name="T39" fmla="*/ 75 h 245"/>
                  <a:gd name="T40" fmla="*/ 0 w 141"/>
                  <a:gd name="T41" fmla="*/ 82 h 245"/>
                  <a:gd name="T42" fmla="*/ 16 w 141"/>
                  <a:gd name="T43" fmla="*/ 82 h 245"/>
                  <a:gd name="T44" fmla="*/ 37 w 141"/>
                  <a:gd name="T45" fmla="*/ 90 h 245"/>
                  <a:gd name="T46" fmla="*/ 44 w 141"/>
                  <a:gd name="T47" fmla="*/ 112 h 245"/>
                  <a:gd name="T48" fmla="*/ 37 w 141"/>
                  <a:gd name="T49" fmla="*/ 149 h 245"/>
                  <a:gd name="T50" fmla="*/ 16 w 141"/>
                  <a:gd name="T51" fmla="*/ 188 h 245"/>
                  <a:gd name="T52" fmla="*/ 24 w 141"/>
                  <a:gd name="T53" fmla="*/ 245 h 245"/>
                  <a:gd name="T54" fmla="*/ 37 w 141"/>
                  <a:gd name="T55" fmla="*/ 245 h 245"/>
                  <a:gd name="T56" fmla="*/ 37 w 141"/>
                  <a:gd name="T57" fmla="*/ 245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41" h="245">
                    <a:moveTo>
                      <a:pt x="37" y="245"/>
                    </a:moveTo>
                    <a:lnTo>
                      <a:pt x="37" y="232"/>
                    </a:lnTo>
                    <a:lnTo>
                      <a:pt x="73" y="215"/>
                    </a:lnTo>
                    <a:lnTo>
                      <a:pt x="79" y="210"/>
                    </a:lnTo>
                    <a:lnTo>
                      <a:pt x="79" y="188"/>
                    </a:lnTo>
                    <a:lnTo>
                      <a:pt x="57" y="149"/>
                    </a:lnTo>
                    <a:lnTo>
                      <a:pt x="141" y="75"/>
                    </a:lnTo>
                    <a:lnTo>
                      <a:pt x="134" y="0"/>
                    </a:lnTo>
                    <a:lnTo>
                      <a:pt x="121" y="13"/>
                    </a:lnTo>
                    <a:lnTo>
                      <a:pt x="73" y="13"/>
                    </a:lnTo>
                    <a:lnTo>
                      <a:pt x="57" y="30"/>
                    </a:lnTo>
                    <a:lnTo>
                      <a:pt x="73" y="45"/>
                    </a:lnTo>
                    <a:lnTo>
                      <a:pt x="79" y="67"/>
                    </a:lnTo>
                    <a:lnTo>
                      <a:pt x="79" y="82"/>
                    </a:lnTo>
                    <a:lnTo>
                      <a:pt x="73" y="95"/>
                    </a:lnTo>
                    <a:lnTo>
                      <a:pt x="57" y="82"/>
                    </a:lnTo>
                    <a:lnTo>
                      <a:pt x="57" y="67"/>
                    </a:lnTo>
                    <a:lnTo>
                      <a:pt x="49" y="67"/>
                    </a:lnTo>
                    <a:lnTo>
                      <a:pt x="44" y="50"/>
                    </a:lnTo>
                    <a:lnTo>
                      <a:pt x="0" y="75"/>
                    </a:lnTo>
                    <a:lnTo>
                      <a:pt x="0" y="82"/>
                    </a:lnTo>
                    <a:lnTo>
                      <a:pt x="16" y="82"/>
                    </a:lnTo>
                    <a:lnTo>
                      <a:pt x="37" y="90"/>
                    </a:lnTo>
                    <a:lnTo>
                      <a:pt x="44" y="112"/>
                    </a:lnTo>
                    <a:lnTo>
                      <a:pt x="37" y="149"/>
                    </a:lnTo>
                    <a:lnTo>
                      <a:pt x="16" y="188"/>
                    </a:lnTo>
                    <a:lnTo>
                      <a:pt x="24" y="245"/>
                    </a:lnTo>
                    <a:lnTo>
                      <a:pt x="37" y="245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80" name="Freeform 214"/>
              <p:cNvSpPr>
                <a:spLocks/>
              </p:cNvSpPr>
              <p:nvPr/>
            </p:nvSpPr>
            <p:spPr bwMode="auto">
              <a:xfrm>
                <a:off x="5348288" y="5327650"/>
                <a:ext cx="150812" cy="354013"/>
              </a:xfrm>
              <a:custGeom>
                <a:avLst/>
                <a:gdLst>
                  <a:gd name="T0" fmla="*/ 0 w 86"/>
                  <a:gd name="T1" fmla="*/ 144 h 202"/>
                  <a:gd name="T2" fmla="*/ 5 w 86"/>
                  <a:gd name="T3" fmla="*/ 180 h 202"/>
                  <a:gd name="T4" fmla="*/ 19 w 86"/>
                  <a:gd name="T5" fmla="*/ 202 h 202"/>
                  <a:gd name="T6" fmla="*/ 41 w 86"/>
                  <a:gd name="T7" fmla="*/ 202 h 202"/>
                  <a:gd name="T8" fmla="*/ 79 w 86"/>
                  <a:gd name="T9" fmla="*/ 47 h 202"/>
                  <a:gd name="T10" fmla="*/ 86 w 86"/>
                  <a:gd name="T11" fmla="*/ 54 h 202"/>
                  <a:gd name="T12" fmla="*/ 79 w 86"/>
                  <a:gd name="T13" fmla="*/ 10 h 202"/>
                  <a:gd name="T14" fmla="*/ 72 w 86"/>
                  <a:gd name="T15" fmla="*/ 0 h 202"/>
                  <a:gd name="T16" fmla="*/ 67 w 86"/>
                  <a:gd name="T17" fmla="*/ 17 h 202"/>
                  <a:gd name="T18" fmla="*/ 61 w 86"/>
                  <a:gd name="T19" fmla="*/ 17 h 202"/>
                  <a:gd name="T20" fmla="*/ 61 w 86"/>
                  <a:gd name="T21" fmla="*/ 40 h 202"/>
                  <a:gd name="T22" fmla="*/ 19 w 86"/>
                  <a:gd name="T23" fmla="*/ 62 h 202"/>
                  <a:gd name="T24" fmla="*/ 5 w 86"/>
                  <a:gd name="T25" fmla="*/ 84 h 202"/>
                  <a:gd name="T26" fmla="*/ 19 w 86"/>
                  <a:gd name="T27" fmla="*/ 121 h 202"/>
                  <a:gd name="T28" fmla="*/ 0 w 86"/>
                  <a:gd name="T29" fmla="*/ 144 h 202"/>
                  <a:gd name="T30" fmla="*/ 0 w 86"/>
                  <a:gd name="T31" fmla="*/ 144 h 202"/>
                  <a:gd name="T32" fmla="*/ 0 w 86"/>
                  <a:gd name="T33" fmla="*/ 144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6" h="202">
                    <a:moveTo>
                      <a:pt x="0" y="144"/>
                    </a:moveTo>
                    <a:lnTo>
                      <a:pt x="5" y="180"/>
                    </a:lnTo>
                    <a:lnTo>
                      <a:pt x="19" y="202"/>
                    </a:lnTo>
                    <a:lnTo>
                      <a:pt x="41" y="202"/>
                    </a:lnTo>
                    <a:lnTo>
                      <a:pt x="79" y="47"/>
                    </a:lnTo>
                    <a:lnTo>
                      <a:pt x="86" y="54"/>
                    </a:lnTo>
                    <a:lnTo>
                      <a:pt x="79" y="10"/>
                    </a:lnTo>
                    <a:lnTo>
                      <a:pt x="72" y="0"/>
                    </a:lnTo>
                    <a:lnTo>
                      <a:pt x="67" y="17"/>
                    </a:lnTo>
                    <a:lnTo>
                      <a:pt x="61" y="17"/>
                    </a:lnTo>
                    <a:lnTo>
                      <a:pt x="61" y="40"/>
                    </a:lnTo>
                    <a:lnTo>
                      <a:pt x="19" y="62"/>
                    </a:lnTo>
                    <a:lnTo>
                      <a:pt x="5" y="84"/>
                    </a:lnTo>
                    <a:lnTo>
                      <a:pt x="19" y="121"/>
                    </a:lnTo>
                    <a:lnTo>
                      <a:pt x="0" y="144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81" name="Freeform 215"/>
              <p:cNvSpPr>
                <a:spLocks/>
              </p:cNvSpPr>
              <p:nvPr/>
            </p:nvSpPr>
            <p:spPr bwMode="auto">
              <a:xfrm>
                <a:off x="4954588" y="5761038"/>
                <a:ext cx="66675" cy="66675"/>
              </a:xfrm>
              <a:custGeom>
                <a:avLst/>
                <a:gdLst>
                  <a:gd name="T0" fmla="*/ 38 w 38"/>
                  <a:gd name="T1" fmla="*/ 13 h 39"/>
                  <a:gd name="T2" fmla="*/ 22 w 38"/>
                  <a:gd name="T3" fmla="*/ 32 h 39"/>
                  <a:gd name="T4" fmla="*/ 8 w 38"/>
                  <a:gd name="T5" fmla="*/ 39 h 39"/>
                  <a:gd name="T6" fmla="*/ 0 w 38"/>
                  <a:gd name="T7" fmla="*/ 32 h 39"/>
                  <a:gd name="T8" fmla="*/ 15 w 38"/>
                  <a:gd name="T9" fmla="*/ 0 h 39"/>
                  <a:gd name="T10" fmla="*/ 22 w 38"/>
                  <a:gd name="T11" fmla="*/ 7 h 39"/>
                  <a:gd name="T12" fmla="*/ 38 w 38"/>
                  <a:gd name="T13" fmla="*/ 13 h 39"/>
                  <a:gd name="T14" fmla="*/ 38 w 38"/>
                  <a:gd name="T15" fmla="*/ 13 h 39"/>
                  <a:gd name="T16" fmla="*/ 38 w 38"/>
                  <a:gd name="T17" fmla="*/ 13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8" h="39">
                    <a:moveTo>
                      <a:pt x="38" y="13"/>
                    </a:moveTo>
                    <a:lnTo>
                      <a:pt x="22" y="32"/>
                    </a:lnTo>
                    <a:lnTo>
                      <a:pt x="8" y="39"/>
                    </a:lnTo>
                    <a:lnTo>
                      <a:pt x="0" y="32"/>
                    </a:lnTo>
                    <a:lnTo>
                      <a:pt x="15" y="0"/>
                    </a:lnTo>
                    <a:lnTo>
                      <a:pt x="22" y="7"/>
                    </a:lnTo>
                    <a:lnTo>
                      <a:pt x="38" y="13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82" name="Freeform 216"/>
              <p:cNvSpPr>
                <a:spLocks/>
              </p:cNvSpPr>
              <p:nvPr/>
            </p:nvSpPr>
            <p:spPr bwMode="auto">
              <a:xfrm>
                <a:off x="5094288" y="5259388"/>
                <a:ext cx="73025" cy="182562"/>
              </a:xfrm>
              <a:custGeom>
                <a:avLst/>
                <a:gdLst>
                  <a:gd name="T0" fmla="*/ 8 w 42"/>
                  <a:gd name="T1" fmla="*/ 60 h 104"/>
                  <a:gd name="T2" fmla="*/ 0 w 42"/>
                  <a:gd name="T3" fmla="*/ 53 h 104"/>
                  <a:gd name="T4" fmla="*/ 8 w 42"/>
                  <a:gd name="T5" fmla="*/ 36 h 104"/>
                  <a:gd name="T6" fmla="*/ 8 w 42"/>
                  <a:gd name="T7" fmla="*/ 23 h 104"/>
                  <a:gd name="T8" fmla="*/ 13 w 42"/>
                  <a:gd name="T9" fmla="*/ 16 h 104"/>
                  <a:gd name="T10" fmla="*/ 8 w 42"/>
                  <a:gd name="T11" fmla="*/ 0 h 104"/>
                  <a:gd name="T12" fmla="*/ 21 w 42"/>
                  <a:gd name="T13" fmla="*/ 0 h 104"/>
                  <a:gd name="T14" fmla="*/ 35 w 42"/>
                  <a:gd name="T15" fmla="*/ 23 h 104"/>
                  <a:gd name="T16" fmla="*/ 21 w 42"/>
                  <a:gd name="T17" fmla="*/ 36 h 104"/>
                  <a:gd name="T18" fmla="*/ 35 w 42"/>
                  <a:gd name="T19" fmla="*/ 53 h 104"/>
                  <a:gd name="T20" fmla="*/ 42 w 42"/>
                  <a:gd name="T21" fmla="*/ 75 h 104"/>
                  <a:gd name="T22" fmla="*/ 42 w 42"/>
                  <a:gd name="T23" fmla="*/ 90 h 104"/>
                  <a:gd name="T24" fmla="*/ 35 w 42"/>
                  <a:gd name="T25" fmla="*/ 104 h 104"/>
                  <a:gd name="T26" fmla="*/ 21 w 42"/>
                  <a:gd name="T27" fmla="*/ 90 h 104"/>
                  <a:gd name="T28" fmla="*/ 21 w 42"/>
                  <a:gd name="T29" fmla="*/ 75 h 104"/>
                  <a:gd name="T30" fmla="*/ 13 w 42"/>
                  <a:gd name="T31" fmla="*/ 75 h 104"/>
                  <a:gd name="T32" fmla="*/ 8 w 42"/>
                  <a:gd name="T33" fmla="*/ 60 h 104"/>
                  <a:gd name="T34" fmla="*/ 8 w 42"/>
                  <a:gd name="T35" fmla="*/ 60 h 104"/>
                  <a:gd name="T36" fmla="*/ 8 w 42"/>
                  <a:gd name="T37" fmla="*/ 60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2" h="104">
                    <a:moveTo>
                      <a:pt x="8" y="60"/>
                    </a:moveTo>
                    <a:lnTo>
                      <a:pt x="0" y="53"/>
                    </a:lnTo>
                    <a:lnTo>
                      <a:pt x="8" y="36"/>
                    </a:lnTo>
                    <a:lnTo>
                      <a:pt x="8" y="23"/>
                    </a:lnTo>
                    <a:lnTo>
                      <a:pt x="13" y="16"/>
                    </a:lnTo>
                    <a:lnTo>
                      <a:pt x="8" y="0"/>
                    </a:lnTo>
                    <a:lnTo>
                      <a:pt x="21" y="0"/>
                    </a:lnTo>
                    <a:lnTo>
                      <a:pt x="35" y="23"/>
                    </a:lnTo>
                    <a:lnTo>
                      <a:pt x="21" y="36"/>
                    </a:lnTo>
                    <a:lnTo>
                      <a:pt x="35" y="53"/>
                    </a:lnTo>
                    <a:lnTo>
                      <a:pt x="42" y="75"/>
                    </a:lnTo>
                    <a:lnTo>
                      <a:pt x="42" y="90"/>
                    </a:lnTo>
                    <a:lnTo>
                      <a:pt x="35" y="104"/>
                    </a:lnTo>
                    <a:lnTo>
                      <a:pt x="21" y="90"/>
                    </a:lnTo>
                    <a:lnTo>
                      <a:pt x="21" y="75"/>
                    </a:lnTo>
                    <a:lnTo>
                      <a:pt x="13" y="75"/>
                    </a:lnTo>
                    <a:lnTo>
                      <a:pt x="8" y="6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83" name="Freeform 217"/>
              <p:cNvSpPr>
                <a:spLocks/>
              </p:cNvSpPr>
              <p:nvPr/>
            </p:nvSpPr>
            <p:spPr bwMode="auto">
              <a:xfrm>
                <a:off x="4489450" y="4000500"/>
                <a:ext cx="87313" cy="198438"/>
              </a:xfrm>
              <a:custGeom>
                <a:avLst/>
                <a:gdLst>
                  <a:gd name="T0" fmla="*/ 50 w 50"/>
                  <a:gd name="T1" fmla="*/ 71 h 114"/>
                  <a:gd name="T2" fmla="*/ 50 w 50"/>
                  <a:gd name="T3" fmla="*/ 79 h 114"/>
                  <a:gd name="T4" fmla="*/ 39 w 50"/>
                  <a:gd name="T5" fmla="*/ 101 h 114"/>
                  <a:gd name="T6" fmla="*/ 39 w 50"/>
                  <a:gd name="T7" fmla="*/ 109 h 114"/>
                  <a:gd name="T8" fmla="*/ 30 w 50"/>
                  <a:gd name="T9" fmla="*/ 114 h 114"/>
                  <a:gd name="T10" fmla="*/ 30 w 50"/>
                  <a:gd name="T11" fmla="*/ 87 h 114"/>
                  <a:gd name="T12" fmla="*/ 9 w 50"/>
                  <a:gd name="T13" fmla="*/ 79 h 114"/>
                  <a:gd name="T14" fmla="*/ 0 w 50"/>
                  <a:gd name="T15" fmla="*/ 64 h 114"/>
                  <a:gd name="T16" fmla="*/ 15 w 50"/>
                  <a:gd name="T17" fmla="*/ 42 h 114"/>
                  <a:gd name="T18" fmla="*/ 9 w 50"/>
                  <a:gd name="T19" fmla="*/ 8 h 114"/>
                  <a:gd name="T20" fmla="*/ 15 w 50"/>
                  <a:gd name="T21" fmla="*/ 0 h 114"/>
                  <a:gd name="T22" fmla="*/ 39 w 50"/>
                  <a:gd name="T23" fmla="*/ 0 h 114"/>
                  <a:gd name="T24" fmla="*/ 44 w 50"/>
                  <a:gd name="T25" fmla="*/ 8 h 114"/>
                  <a:gd name="T26" fmla="*/ 50 w 50"/>
                  <a:gd name="T27" fmla="*/ 0 h 114"/>
                  <a:gd name="T28" fmla="*/ 44 w 50"/>
                  <a:gd name="T29" fmla="*/ 15 h 114"/>
                  <a:gd name="T30" fmla="*/ 50 w 50"/>
                  <a:gd name="T31" fmla="*/ 34 h 114"/>
                  <a:gd name="T32" fmla="*/ 39 w 50"/>
                  <a:gd name="T33" fmla="*/ 51 h 114"/>
                  <a:gd name="T34" fmla="*/ 39 w 50"/>
                  <a:gd name="T35" fmla="*/ 64 h 114"/>
                  <a:gd name="T36" fmla="*/ 50 w 50"/>
                  <a:gd name="T37" fmla="*/ 64 h 114"/>
                  <a:gd name="T38" fmla="*/ 50 w 50"/>
                  <a:gd name="T39" fmla="*/ 71 h 114"/>
                  <a:gd name="T40" fmla="*/ 50 w 50"/>
                  <a:gd name="T41" fmla="*/ 71 h 114"/>
                  <a:gd name="T42" fmla="*/ 50 w 50"/>
                  <a:gd name="T43" fmla="*/ 71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0" h="114">
                    <a:moveTo>
                      <a:pt x="50" y="71"/>
                    </a:moveTo>
                    <a:lnTo>
                      <a:pt x="50" y="79"/>
                    </a:lnTo>
                    <a:lnTo>
                      <a:pt x="39" y="101"/>
                    </a:lnTo>
                    <a:lnTo>
                      <a:pt x="39" y="109"/>
                    </a:lnTo>
                    <a:lnTo>
                      <a:pt x="30" y="114"/>
                    </a:lnTo>
                    <a:lnTo>
                      <a:pt x="30" y="87"/>
                    </a:lnTo>
                    <a:lnTo>
                      <a:pt x="9" y="79"/>
                    </a:lnTo>
                    <a:lnTo>
                      <a:pt x="0" y="64"/>
                    </a:lnTo>
                    <a:lnTo>
                      <a:pt x="15" y="42"/>
                    </a:lnTo>
                    <a:lnTo>
                      <a:pt x="9" y="8"/>
                    </a:lnTo>
                    <a:lnTo>
                      <a:pt x="15" y="0"/>
                    </a:lnTo>
                    <a:lnTo>
                      <a:pt x="39" y="0"/>
                    </a:lnTo>
                    <a:lnTo>
                      <a:pt x="44" y="8"/>
                    </a:lnTo>
                    <a:lnTo>
                      <a:pt x="50" y="0"/>
                    </a:lnTo>
                    <a:lnTo>
                      <a:pt x="44" y="15"/>
                    </a:lnTo>
                    <a:lnTo>
                      <a:pt x="50" y="34"/>
                    </a:lnTo>
                    <a:lnTo>
                      <a:pt x="39" y="51"/>
                    </a:lnTo>
                    <a:lnTo>
                      <a:pt x="39" y="64"/>
                    </a:lnTo>
                    <a:lnTo>
                      <a:pt x="50" y="64"/>
                    </a:lnTo>
                    <a:lnTo>
                      <a:pt x="50" y="71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84" name="Freeform 218"/>
              <p:cNvSpPr>
                <a:spLocks/>
              </p:cNvSpPr>
              <p:nvPr/>
            </p:nvSpPr>
            <p:spPr bwMode="auto">
              <a:xfrm>
                <a:off x="4659313" y="4724400"/>
                <a:ext cx="307975" cy="207963"/>
              </a:xfrm>
              <a:custGeom>
                <a:avLst/>
                <a:gdLst>
                  <a:gd name="T0" fmla="*/ 114 w 176"/>
                  <a:gd name="T1" fmla="*/ 0 h 119"/>
                  <a:gd name="T2" fmla="*/ 125 w 176"/>
                  <a:gd name="T3" fmla="*/ 21 h 119"/>
                  <a:gd name="T4" fmla="*/ 125 w 176"/>
                  <a:gd name="T5" fmla="*/ 37 h 119"/>
                  <a:gd name="T6" fmla="*/ 139 w 176"/>
                  <a:gd name="T7" fmla="*/ 45 h 119"/>
                  <a:gd name="T8" fmla="*/ 176 w 176"/>
                  <a:gd name="T9" fmla="*/ 89 h 119"/>
                  <a:gd name="T10" fmla="*/ 119 w 176"/>
                  <a:gd name="T11" fmla="*/ 89 h 119"/>
                  <a:gd name="T12" fmla="*/ 114 w 176"/>
                  <a:gd name="T13" fmla="*/ 105 h 119"/>
                  <a:gd name="T14" fmla="*/ 85 w 176"/>
                  <a:gd name="T15" fmla="*/ 105 h 119"/>
                  <a:gd name="T16" fmla="*/ 77 w 176"/>
                  <a:gd name="T17" fmla="*/ 89 h 119"/>
                  <a:gd name="T18" fmla="*/ 70 w 176"/>
                  <a:gd name="T19" fmla="*/ 89 h 119"/>
                  <a:gd name="T20" fmla="*/ 57 w 176"/>
                  <a:gd name="T21" fmla="*/ 112 h 119"/>
                  <a:gd name="T22" fmla="*/ 37 w 176"/>
                  <a:gd name="T23" fmla="*/ 119 h 119"/>
                  <a:gd name="T24" fmla="*/ 30 w 176"/>
                  <a:gd name="T25" fmla="*/ 119 h 119"/>
                  <a:gd name="T26" fmla="*/ 8 w 176"/>
                  <a:gd name="T27" fmla="*/ 89 h 119"/>
                  <a:gd name="T28" fmla="*/ 0 w 176"/>
                  <a:gd name="T29" fmla="*/ 84 h 119"/>
                  <a:gd name="T30" fmla="*/ 21 w 176"/>
                  <a:gd name="T31" fmla="*/ 60 h 119"/>
                  <a:gd name="T32" fmla="*/ 70 w 176"/>
                  <a:gd name="T33" fmla="*/ 37 h 119"/>
                  <a:gd name="T34" fmla="*/ 57 w 176"/>
                  <a:gd name="T35" fmla="*/ 37 h 119"/>
                  <a:gd name="T36" fmla="*/ 85 w 176"/>
                  <a:gd name="T37" fmla="*/ 30 h 119"/>
                  <a:gd name="T38" fmla="*/ 114 w 176"/>
                  <a:gd name="T39" fmla="*/ 0 h 119"/>
                  <a:gd name="T40" fmla="*/ 114 w 176"/>
                  <a:gd name="T41" fmla="*/ 0 h 119"/>
                  <a:gd name="T42" fmla="*/ 114 w 176"/>
                  <a:gd name="T43" fmla="*/ 0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76" h="119">
                    <a:moveTo>
                      <a:pt x="114" y="0"/>
                    </a:moveTo>
                    <a:lnTo>
                      <a:pt x="125" y="21"/>
                    </a:lnTo>
                    <a:lnTo>
                      <a:pt x="125" y="37"/>
                    </a:lnTo>
                    <a:lnTo>
                      <a:pt x="139" y="45"/>
                    </a:lnTo>
                    <a:lnTo>
                      <a:pt x="176" y="89"/>
                    </a:lnTo>
                    <a:lnTo>
                      <a:pt x="119" y="89"/>
                    </a:lnTo>
                    <a:lnTo>
                      <a:pt x="114" y="105"/>
                    </a:lnTo>
                    <a:lnTo>
                      <a:pt x="85" y="105"/>
                    </a:lnTo>
                    <a:lnTo>
                      <a:pt x="77" y="89"/>
                    </a:lnTo>
                    <a:lnTo>
                      <a:pt x="70" y="89"/>
                    </a:lnTo>
                    <a:lnTo>
                      <a:pt x="57" y="112"/>
                    </a:lnTo>
                    <a:lnTo>
                      <a:pt x="37" y="119"/>
                    </a:lnTo>
                    <a:lnTo>
                      <a:pt x="30" y="119"/>
                    </a:lnTo>
                    <a:lnTo>
                      <a:pt x="8" y="89"/>
                    </a:lnTo>
                    <a:lnTo>
                      <a:pt x="0" y="84"/>
                    </a:lnTo>
                    <a:lnTo>
                      <a:pt x="21" y="60"/>
                    </a:lnTo>
                    <a:lnTo>
                      <a:pt x="70" y="37"/>
                    </a:lnTo>
                    <a:lnTo>
                      <a:pt x="57" y="37"/>
                    </a:lnTo>
                    <a:lnTo>
                      <a:pt x="85" y="30"/>
                    </a:lnTo>
                    <a:lnTo>
                      <a:pt x="114" y="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85" name="Freeform 219"/>
              <p:cNvSpPr>
                <a:spLocks/>
              </p:cNvSpPr>
              <p:nvPr/>
            </p:nvSpPr>
            <p:spPr bwMode="auto">
              <a:xfrm>
                <a:off x="4995863" y="5035550"/>
                <a:ext cx="52387" cy="47625"/>
              </a:xfrm>
              <a:custGeom>
                <a:avLst/>
                <a:gdLst>
                  <a:gd name="T0" fmla="*/ 29 w 29"/>
                  <a:gd name="T1" fmla="*/ 27 h 27"/>
                  <a:gd name="T2" fmla="*/ 0 w 29"/>
                  <a:gd name="T3" fmla="*/ 27 h 27"/>
                  <a:gd name="T4" fmla="*/ 29 w 29"/>
                  <a:gd name="T5" fmla="*/ 0 h 27"/>
                  <a:gd name="T6" fmla="*/ 29 w 29"/>
                  <a:gd name="T7" fmla="*/ 27 h 27"/>
                  <a:gd name="T8" fmla="*/ 29 w 29"/>
                  <a:gd name="T9" fmla="*/ 27 h 27"/>
                  <a:gd name="T10" fmla="*/ 29 w 29"/>
                  <a:gd name="T11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9" h="27">
                    <a:moveTo>
                      <a:pt x="29" y="27"/>
                    </a:moveTo>
                    <a:lnTo>
                      <a:pt x="0" y="27"/>
                    </a:lnTo>
                    <a:lnTo>
                      <a:pt x="29" y="0"/>
                    </a:lnTo>
                    <a:lnTo>
                      <a:pt x="29" y="27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86" name="Freeform 220"/>
              <p:cNvSpPr>
                <a:spLocks/>
              </p:cNvSpPr>
              <p:nvPr/>
            </p:nvSpPr>
            <p:spPr bwMode="auto">
              <a:xfrm>
                <a:off x="6630988" y="4483100"/>
                <a:ext cx="182562" cy="385763"/>
              </a:xfrm>
              <a:custGeom>
                <a:avLst/>
                <a:gdLst>
                  <a:gd name="T0" fmla="*/ 35 w 104"/>
                  <a:gd name="T1" fmla="*/ 0 h 220"/>
                  <a:gd name="T2" fmla="*/ 0 w 104"/>
                  <a:gd name="T3" fmla="*/ 15 h 220"/>
                  <a:gd name="T4" fmla="*/ 0 w 104"/>
                  <a:gd name="T5" fmla="*/ 35 h 220"/>
                  <a:gd name="T6" fmla="*/ 13 w 104"/>
                  <a:gd name="T7" fmla="*/ 60 h 220"/>
                  <a:gd name="T8" fmla="*/ 13 w 104"/>
                  <a:gd name="T9" fmla="*/ 82 h 220"/>
                  <a:gd name="T10" fmla="*/ 22 w 104"/>
                  <a:gd name="T11" fmla="*/ 99 h 220"/>
                  <a:gd name="T12" fmla="*/ 28 w 104"/>
                  <a:gd name="T13" fmla="*/ 128 h 220"/>
                  <a:gd name="T14" fmla="*/ 13 w 104"/>
                  <a:gd name="T15" fmla="*/ 164 h 220"/>
                  <a:gd name="T16" fmla="*/ 13 w 104"/>
                  <a:gd name="T17" fmla="*/ 180 h 220"/>
                  <a:gd name="T18" fmla="*/ 35 w 104"/>
                  <a:gd name="T19" fmla="*/ 212 h 220"/>
                  <a:gd name="T20" fmla="*/ 35 w 104"/>
                  <a:gd name="T21" fmla="*/ 201 h 220"/>
                  <a:gd name="T22" fmla="*/ 42 w 104"/>
                  <a:gd name="T23" fmla="*/ 212 h 220"/>
                  <a:gd name="T24" fmla="*/ 57 w 104"/>
                  <a:gd name="T25" fmla="*/ 220 h 220"/>
                  <a:gd name="T26" fmla="*/ 62 w 104"/>
                  <a:gd name="T27" fmla="*/ 212 h 220"/>
                  <a:gd name="T28" fmla="*/ 57 w 104"/>
                  <a:gd name="T29" fmla="*/ 201 h 220"/>
                  <a:gd name="T30" fmla="*/ 35 w 104"/>
                  <a:gd name="T31" fmla="*/ 201 h 220"/>
                  <a:gd name="T32" fmla="*/ 28 w 104"/>
                  <a:gd name="T33" fmla="*/ 164 h 220"/>
                  <a:gd name="T34" fmla="*/ 22 w 104"/>
                  <a:gd name="T35" fmla="*/ 164 h 220"/>
                  <a:gd name="T36" fmla="*/ 22 w 104"/>
                  <a:gd name="T37" fmla="*/ 156 h 220"/>
                  <a:gd name="T38" fmla="*/ 28 w 104"/>
                  <a:gd name="T39" fmla="*/ 128 h 220"/>
                  <a:gd name="T40" fmla="*/ 28 w 104"/>
                  <a:gd name="T41" fmla="*/ 104 h 220"/>
                  <a:gd name="T42" fmla="*/ 42 w 104"/>
                  <a:gd name="T43" fmla="*/ 104 h 220"/>
                  <a:gd name="T44" fmla="*/ 42 w 104"/>
                  <a:gd name="T45" fmla="*/ 119 h 220"/>
                  <a:gd name="T46" fmla="*/ 57 w 104"/>
                  <a:gd name="T47" fmla="*/ 119 h 220"/>
                  <a:gd name="T48" fmla="*/ 70 w 104"/>
                  <a:gd name="T49" fmla="*/ 136 h 220"/>
                  <a:gd name="T50" fmla="*/ 70 w 104"/>
                  <a:gd name="T51" fmla="*/ 128 h 220"/>
                  <a:gd name="T52" fmla="*/ 62 w 104"/>
                  <a:gd name="T53" fmla="*/ 104 h 220"/>
                  <a:gd name="T54" fmla="*/ 70 w 104"/>
                  <a:gd name="T55" fmla="*/ 87 h 220"/>
                  <a:gd name="T56" fmla="*/ 104 w 104"/>
                  <a:gd name="T57" fmla="*/ 87 h 220"/>
                  <a:gd name="T58" fmla="*/ 104 w 104"/>
                  <a:gd name="T59" fmla="*/ 74 h 220"/>
                  <a:gd name="T60" fmla="*/ 79 w 104"/>
                  <a:gd name="T61" fmla="*/ 32 h 220"/>
                  <a:gd name="T62" fmla="*/ 42 w 104"/>
                  <a:gd name="T63" fmla="*/ 45 h 220"/>
                  <a:gd name="T64" fmla="*/ 42 w 104"/>
                  <a:gd name="T65" fmla="*/ 15 h 220"/>
                  <a:gd name="T66" fmla="*/ 35 w 104"/>
                  <a:gd name="T67" fmla="*/ 10 h 220"/>
                  <a:gd name="T68" fmla="*/ 35 w 104"/>
                  <a:gd name="T69" fmla="*/ 0 h 220"/>
                  <a:gd name="T70" fmla="*/ 35 w 104"/>
                  <a:gd name="T71" fmla="*/ 0 h 220"/>
                  <a:gd name="T72" fmla="*/ 35 w 104"/>
                  <a:gd name="T73" fmla="*/ 0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04" h="220">
                    <a:moveTo>
                      <a:pt x="35" y="0"/>
                    </a:moveTo>
                    <a:lnTo>
                      <a:pt x="0" y="15"/>
                    </a:lnTo>
                    <a:lnTo>
                      <a:pt x="0" y="35"/>
                    </a:lnTo>
                    <a:lnTo>
                      <a:pt x="13" y="60"/>
                    </a:lnTo>
                    <a:lnTo>
                      <a:pt x="13" y="82"/>
                    </a:lnTo>
                    <a:lnTo>
                      <a:pt x="22" y="99"/>
                    </a:lnTo>
                    <a:lnTo>
                      <a:pt x="28" y="128"/>
                    </a:lnTo>
                    <a:lnTo>
                      <a:pt x="13" y="164"/>
                    </a:lnTo>
                    <a:lnTo>
                      <a:pt x="13" y="180"/>
                    </a:lnTo>
                    <a:lnTo>
                      <a:pt x="35" y="212"/>
                    </a:lnTo>
                    <a:lnTo>
                      <a:pt x="35" y="201"/>
                    </a:lnTo>
                    <a:lnTo>
                      <a:pt x="42" y="212"/>
                    </a:lnTo>
                    <a:lnTo>
                      <a:pt x="57" y="220"/>
                    </a:lnTo>
                    <a:lnTo>
                      <a:pt x="62" y="212"/>
                    </a:lnTo>
                    <a:lnTo>
                      <a:pt x="57" y="201"/>
                    </a:lnTo>
                    <a:lnTo>
                      <a:pt x="35" y="201"/>
                    </a:lnTo>
                    <a:lnTo>
                      <a:pt x="28" y="164"/>
                    </a:lnTo>
                    <a:lnTo>
                      <a:pt x="22" y="164"/>
                    </a:lnTo>
                    <a:lnTo>
                      <a:pt x="22" y="156"/>
                    </a:lnTo>
                    <a:lnTo>
                      <a:pt x="28" y="128"/>
                    </a:lnTo>
                    <a:lnTo>
                      <a:pt x="28" y="104"/>
                    </a:lnTo>
                    <a:lnTo>
                      <a:pt x="42" y="104"/>
                    </a:lnTo>
                    <a:lnTo>
                      <a:pt x="42" y="119"/>
                    </a:lnTo>
                    <a:lnTo>
                      <a:pt x="57" y="119"/>
                    </a:lnTo>
                    <a:lnTo>
                      <a:pt x="70" y="136"/>
                    </a:lnTo>
                    <a:lnTo>
                      <a:pt x="70" y="128"/>
                    </a:lnTo>
                    <a:lnTo>
                      <a:pt x="62" y="104"/>
                    </a:lnTo>
                    <a:lnTo>
                      <a:pt x="70" y="87"/>
                    </a:lnTo>
                    <a:lnTo>
                      <a:pt x="104" y="87"/>
                    </a:lnTo>
                    <a:lnTo>
                      <a:pt x="104" y="74"/>
                    </a:lnTo>
                    <a:lnTo>
                      <a:pt x="79" y="32"/>
                    </a:lnTo>
                    <a:lnTo>
                      <a:pt x="42" y="45"/>
                    </a:lnTo>
                    <a:lnTo>
                      <a:pt x="42" y="15"/>
                    </a:lnTo>
                    <a:lnTo>
                      <a:pt x="35" y="10"/>
                    </a:lnTo>
                    <a:lnTo>
                      <a:pt x="35" y="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87" name="Freeform 221"/>
              <p:cNvSpPr>
                <a:spLocks/>
              </p:cNvSpPr>
              <p:nvPr/>
            </p:nvSpPr>
            <p:spPr bwMode="auto">
              <a:xfrm>
                <a:off x="6740525" y="4414838"/>
                <a:ext cx="161925" cy="369887"/>
              </a:xfrm>
              <a:custGeom>
                <a:avLst/>
                <a:gdLst>
                  <a:gd name="T0" fmla="*/ 0 w 92"/>
                  <a:gd name="T1" fmla="*/ 8 h 212"/>
                  <a:gd name="T2" fmla="*/ 0 w 92"/>
                  <a:gd name="T3" fmla="*/ 0 h 212"/>
                  <a:gd name="T4" fmla="*/ 8 w 92"/>
                  <a:gd name="T5" fmla="*/ 8 h 212"/>
                  <a:gd name="T6" fmla="*/ 57 w 92"/>
                  <a:gd name="T7" fmla="*/ 0 h 212"/>
                  <a:gd name="T8" fmla="*/ 57 w 92"/>
                  <a:gd name="T9" fmla="*/ 17 h 212"/>
                  <a:gd name="T10" fmla="*/ 79 w 92"/>
                  <a:gd name="T11" fmla="*/ 17 h 212"/>
                  <a:gd name="T12" fmla="*/ 57 w 92"/>
                  <a:gd name="T13" fmla="*/ 22 h 212"/>
                  <a:gd name="T14" fmla="*/ 50 w 92"/>
                  <a:gd name="T15" fmla="*/ 45 h 212"/>
                  <a:gd name="T16" fmla="*/ 42 w 92"/>
                  <a:gd name="T17" fmla="*/ 54 h 212"/>
                  <a:gd name="T18" fmla="*/ 92 w 92"/>
                  <a:gd name="T19" fmla="*/ 136 h 212"/>
                  <a:gd name="T20" fmla="*/ 85 w 92"/>
                  <a:gd name="T21" fmla="*/ 175 h 212"/>
                  <a:gd name="T22" fmla="*/ 62 w 92"/>
                  <a:gd name="T23" fmla="*/ 187 h 212"/>
                  <a:gd name="T24" fmla="*/ 57 w 92"/>
                  <a:gd name="T25" fmla="*/ 187 h 212"/>
                  <a:gd name="T26" fmla="*/ 50 w 92"/>
                  <a:gd name="T27" fmla="*/ 205 h 212"/>
                  <a:gd name="T28" fmla="*/ 35 w 92"/>
                  <a:gd name="T29" fmla="*/ 212 h 212"/>
                  <a:gd name="T30" fmla="*/ 35 w 92"/>
                  <a:gd name="T31" fmla="*/ 197 h 212"/>
                  <a:gd name="T32" fmla="*/ 23 w 92"/>
                  <a:gd name="T33" fmla="*/ 187 h 212"/>
                  <a:gd name="T34" fmla="*/ 62 w 92"/>
                  <a:gd name="T35" fmla="*/ 158 h 212"/>
                  <a:gd name="T36" fmla="*/ 62 w 92"/>
                  <a:gd name="T37" fmla="*/ 113 h 212"/>
                  <a:gd name="T38" fmla="*/ 50 w 92"/>
                  <a:gd name="T39" fmla="*/ 91 h 212"/>
                  <a:gd name="T40" fmla="*/ 50 w 92"/>
                  <a:gd name="T41" fmla="*/ 82 h 212"/>
                  <a:gd name="T42" fmla="*/ 13 w 92"/>
                  <a:gd name="T43" fmla="*/ 54 h 212"/>
                  <a:gd name="T44" fmla="*/ 35 w 92"/>
                  <a:gd name="T45" fmla="*/ 45 h 212"/>
                  <a:gd name="T46" fmla="*/ 23 w 92"/>
                  <a:gd name="T47" fmla="*/ 39 h 212"/>
                  <a:gd name="T48" fmla="*/ 8 w 92"/>
                  <a:gd name="T49" fmla="*/ 22 h 212"/>
                  <a:gd name="T50" fmla="*/ 0 w 92"/>
                  <a:gd name="T51" fmla="*/ 8 h 212"/>
                  <a:gd name="T52" fmla="*/ 0 w 92"/>
                  <a:gd name="T53" fmla="*/ 8 h 212"/>
                  <a:gd name="T54" fmla="*/ 0 w 92"/>
                  <a:gd name="T55" fmla="*/ 8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92" h="212">
                    <a:moveTo>
                      <a:pt x="0" y="8"/>
                    </a:moveTo>
                    <a:lnTo>
                      <a:pt x="0" y="0"/>
                    </a:lnTo>
                    <a:lnTo>
                      <a:pt x="8" y="8"/>
                    </a:lnTo>
                    <a:lnTo>
                      <a:pt x="57" y="0"/>
                    </a:lnTo>
                    <a:lnTo>
                      <a:pt x="57" y="17"/>
                    </a:lnTo>
                    <a:lnTo>
                      <a:pt x="79" y="17"/>
                    </a:lnTo>
                    <a:lnTo>
                      <a:pt x="57" y="22"/>
                    </a:lnTo>
                    <a:lnTo>
                      <a:pt x="50" y="45"/>
                    </a:lnTo>
                    <a:lnTo>
                      <a:pt x="42" y="54"/>
                    </a:lnTo>
                    <a:lnTo>
                      <a:pt x="92" y="136"/>
                    </a:lnTo>
                    <a:lnTo>
                      <a:pt x="85" y="175"/>
                    </a:lnTo>
                    <a:lnTo>
                      <a:pt x="62" y="187"/>
                    </a:lnTo>
                    <a:lnTo>
                      <a:pt x="57" y="187"/>
                    </a:lnTo>
                    <a:lnTo>
                      <a:pt x="50" y="205"/>
                    </a:lnTo>
                    <a:lnTo>
                      <a:pt x="35" y="212"/>
                    </a:lnTo>
                    <a:lnTo>
                      <a:pt x="35" y="197"/>
                    </a:lnTo>
                    <a:lnTo>
                      <a:pt x="23" y="187"/>
                    </a:lnTo>
                    <a:lnTo>
                      <a:pt x="62" y="158"/>
                    </a:lnTo>
                    <a:lnTo>
                      <a:pt x="62" y="113"/>
                    </a:lnTo>
                    <a:lnTo>
                      <a:pt x="50" y="91"/>
                    </a:lnTo>
                    <a:lnTo>
                      <a:pt x="50" y="82"/>
                    </a:lnTo>
                    <a:lnTo>
                      <a:pt x="13" y="54"/>
                    </a:lnTo>
                    <a:lnTo>
                      <a:pt x="35" y="45"/>
                    </a:lnTo>
                    <a:lnTo>
                      <a:pt x="23" y="39"/>
                    </a:lnTo>
                    <a:lnTo>
                      <a:pt x="8" y="22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88" name="Freeform 222"/>
              <p:cNvSpPr>
                <a:spLocks/>
              </p:cNvSpPr>
              <p:nvPr/>
            </p:nvSpPr>
            <p:spPr bwMode="auto">
              <a:xfrm>
                <a:off x="6740525" y="4641850"/>
                <a:ext cx="114300" cy="104775"/>
              </a:xfrm>
              <a:custGeom>
                <a:avLst/>
                <a:gdLst>
                  <a:gd name="T0" fmla="*/ 23 w 65"/>
                  <a:gd name="T1" fmla="*/ 60 h 60"/>
                  <a:gd name="T2" fmla="*/ 65 w 65"/>
                  <a:gd name="T3" fmla="*/ 31 h 60"/>
                  <a:gd name="T4" fmla="*/ 65 w 65"/>
                  <a:gd name="T5" fmla="*/ 0 h 60"/>
                  <a:gd name="T6" fmla="*/ 52 w 65"/>
                  <a:gd name="T7" fmla="*/ 0 h 60"/>
                  <a:gd name="T8" fmla="*/ 52 w 65"/>
                  <a:gd name="T9" fmla="*/ 10 h 60"/>
                  <a:gd name="T10" fmla="*/ 42 w 65"/>
                  <a:gd name="T11" fmla="*/ 0 h 60"/>
                  <a:gd name="T12" fmla="*/ 8 w 65"/>
                  <a:gd name="T13" fmla="*/ 0 h 60"/>
                  <a:gd name="T14" fmla="*/ 0 w 65"/>
                  <a:gd name="T15" fmla="*/ 15 h 60"/>
                  <a:gd name="T16" fmla="*/ 8 w 65"/>
                  <a:gd name="T17" fmla="*/ 40 h 60"/>
                  <a:gd name="T18" fmla="*/ 8 w 65"/>
                  <a:gd name="T19" fmla="*/ 60 h 60"/>
                  <a:gd name="T20" fmla="*/ 23 w 65"/>
                  <a:gd name="T21" fmla="*/ 60 h 60"/>
                  <a:gd name="T22" fmla="*/ 23 w 65"/>
                  <a:gd name="T2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5" h="60">
                    <a:moveTo>
                      <a:pt x="23" y="60"/>
                    </a:moveTo>
                    <a:lnTo>
                      <a:pt x="65" y="31"/>
                    </a:lnTo>
                    <a:lnTo>
                      <a:pt x="65" y="0"/>
                    </a:lnTo>
                    <a:lnTo>
                      <a:pt x="52" y="0"/>
                    </a:lnTo>
                    <a:lnTo>
                      <a:pt x="52" y="10"/>
                    </a:lnTo>
                    <a:lnTo>
                      <a:pt x="42" y="0"/>
                    </a:lnTo>
                    <a:lnTo>
                      <a:pt x="8" y="0"/>
                    </a:lnTo>
                    <a:lnTo>
                      <a:pt x="0" y="15"/>
                    </a:lnTo>
                    <a:lnTo>
                      <a:pt x="8" y="40"/>
                    </a:lnTo>
                    <a:lnTo>
                      <a:pt x="8" y="60"/>
                    </a:lnTo>
                    <a:lnTo>
                      <a:pt x="23" y="6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89" name="Freeform 223"/>
              <p:cNvSpPr>
                <a:spLocks/>
              </p:cNvSpPr>
              <p:nvPr/>
            </p:nvSpPr>
            <p:spPr bwMode="auto">
              <a:xfrm>
                <a:off x="6691313" y="4837113"/>
                <a:ext cx="90487" cy="147637"/>
              </a:xfrm>
              <a:custGeom>
                <a:avLst/>
                <a:gdLst>
                  <a:gd name="T0" fmla="*/ 29 w 52"/>
                  <a:gd name="T1" fmla="*/ 9 h 84"/>
                  <a:gd name="T2" fmla="*/ 24 w 52"/>
                  <a:gd name="T3" fmla="*/ 17 h 84"/>
                  <a:gd name="T4" fmla="*/ 9 w 52"/>
                  <a:gd name="T5" fmla="*/ 9 h 84"/>
                  <a:gd name="T6" fmla="*/ 0 w 52"/>
                  <a:gd name="T7" fmla="*/ 0 h 84"/>
                  <a:gd name="T8" fmla="*/ 0 w 52"/>
                  <a:gd name="T9" fmla="*/ 39 h 84"/>
                  <a:gd name="T10" fmla="*/ 24 w 52"/>
                  <a:gd name="T11" fmla="*/ 52 h 84"/>
                  <a:gd name="T12" fmla="*/ 44 w 52"/>
                  <a:gd name="T13" fmla="*/ 84 h 84"/>
                  <a:gd name="T14" fmla="*/ 52 w 52"/>
                  <a:gd name="T15" fmla="*/ 84 h 84"/>
                  <a:gd name="T16" fmla="*/ 44 w 52"/>
                  <a:gd name="T17" fmla="*/ 52 h 84"/>
                  <a:gd name="T18" fmla="*/ 44 w 52"/>
                  <a:gd name="T19" fmla="*/ 22 h 84"/>
                  <a:gd name="T20" fmla="*/ 29 w 52"/>
                  <a:gd name="T21" fmla="*/ 9 h 84"/>
                  <a:gd name="T22" fmla="*/ 29 w 52"/>
                  <a:gd name="T23" fmla="*/ 9 h 84"/>
                  <a:gd name="T24" fmla="*/ 29 w 52"/>
                  <a:gd name="T25" fmla="*/ 9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2" h="84">
                    <a:moveTo>
                      <a:pt x="29" y="9"/>
                    </a:moveTo>
                    <a:lnTo>
                      <a:pt x="24" y="17"/>
                    </a:lnTo>
                    <a:lnTo>
                      <a:pt x="9" y="9"/>
                    </a:lnTo>
                    <a:lnTo>
                      <a:pt x="0" y="0"/>
                    </a:lnTo>
                    <a:lnTo>
                      <a:pt x="0" y="39"/>
                    </a:lnTo>
                    <a:lnTo>
                      <a:pt x="24" y="52"/>
                    </a:lnTo>
                    <a:lnTo>
                      <a:pt x="44" y="84"/>
                    </a:lnTo>
                    <a:lnTo>
                      <a:pt x="52" y="84"/>
                    </a:lnTo>
                    <a:lnTo>
                      <a:pt x="44" y="52"/>
                    </a:lnTo>
                    <a:lnTo>
                      <a:pt x="44" y="22"/>
                    </a:lnTo>
                    <a:lnTo>
                      <a:pt x="29" y="9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90" name="Freeform 224"/>
              <p:cNvSpPr>
                <a:spLocks/>
              </p:cNvSpPr>
              <p:nvPr/>
            </p:nvSpPr>
            <p:spPr bwMode="auto">
              <a:xfrm>
                <a:off x="6902450" y="4837113"/>
                <a:ext cx="239713" cy="147637"/>
              </a:xfrm>
              <a:custGeom>
                <a:avLst/>
                <a:gdLst>
                  <a:gd name="T0" fmla="*/ 77 w 136"/>
                  <a:gd name="T1" fmla="*/ 22 h 84"/>
                  <a:gd name="T2" fmla="*/ 85 w 136"/>
                  <a:gd name="T3" fmla="*/ 22 h 84"/>
                  <a:gd name="T4" fmla="*/ 77 w 136"/>
                  <a:gd name="T5" fmla="*/ 39 h 84"/>
                  <a:gd name="T6" fmla="*/ 55 w 136"/>
                  <a:gd name="T7" fmla="*/ 39 h 84"/>
                  <a:gd name="T8" fmla="*/ 45 w 136"/>
                  <a:gd name="T9" fmla="*/ 52 h 84"/>
                  <a:gd name="T10" fmla="*/ 28 w 136"/>
                  <a:gd name="T11" fmla="*/ 52 h 84"/>
                  <a:gd name="T12" fmla="*/ 28 w 136"/>
                  <a:gd name="T13" fmla="*/ 76 h 84"/>
                  <a:gd name="T14" fmla="*/ 0 w 136"/>
                  <a:gd name="T15" fmla="*/ 76 h 84"/>
                  <a:gd name="T16" fmla="*/ 12 w 136"/>
                  <a:gd name="T17" fmla="*/ 84 h 84"/>
                  <a:gd name="T18" fmla="*/ 34 w 136"/>
                  <a:gd name="T19" fmla="*/ 84 h 84"/>
                  <a:gd name="T20" fmla="*/ 45 w 136"/>
                  <a:gd name="T21" fmla="*/ 76 h 84"/>
                  <a:gd name="T22" fmla="*/ 55 w 136"/>
                  <a:gd name="T23" fmla="*/ 84 h 84"/>
                  <a:gd name="T24" fmla="*/ 70 w 136"/>
                  <a:gd name="T25" fmla="*/ 76 h 84"/>
                  <a:gd name="T26" fmla="*/ 90 w 136"/>
                  <a:gd name="T27" fmla="*/ 39 h 84"/>
                  <a:gd name="T28" fmla="*/ 127 w 136"/>
                  <a:gd name="T29" fmla="*/ 39 h 84"/>
                  <a:gd name="T30" fmla="*/ 119 w 136"/>
                  <a:gd name="T31" fmla="*/ 22 h 84"/>
                  <a:gd name="T32" fmla="*/ 136 w 136"/>
                  <a:gd name="T33" fmla="*/ 22 h 84"/>
                  <a:gd name="T34" fmla="*/ 112 w 136"/>
                  <a:gd name="T35" fmla="*/ 17 h 84"/>
                  <a:gd name="T36" fmla="*/ 112 w 136"/>
                  <a:gd name="T37" fmla="*/ 9 h 84"/>
                  <a:gd name="T38" fmla="*/ 97 w 136"/>
                  <a:gd name="T39" fmla="*/ 0 h 84"/>
                  <a:gd name="T40" fmla="*/ 85 w 136"/>
                  <a:gd name="T41" fmla="*/ 17 h 84"/>
                  <a:gd name="T42" fmla="*/ 77 w 136"/>
                  <a:gd name="T43" fmla="*/ 22 h 84"/>
                  <a:gd name="T44" fmla="*/ 77 w 136"/>
                  <a:gd name="T45" fmla="*/ 22 h 84"/>
                  <a:gd name="T46" fmla="*/ 77 w 136"/>
                  <a:gd name="T47" fmla="*/ 22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36" h="84">
                    <a:moveTo>
                      <a:pt x="77" y="22"/>
                    </a:moveTo>
                    <a:lnTo>
                      <a:pt x="85" y="22"/>
                    </a:lnTo>
                    <a:lnTo>
                      <a:pt x="77" y="39"/>
                    </a:lnTo>
                    <a:lnTo>
                      <a:pt x="55" y="39"/>
                    </a:lnTo>
                    <a:lnTo>
                      <a:pt x="45" y="52"/>
                    </a:lnTo>
                    <a:lnTo>
                      <a:pt x="28" y="52"/>
                    </a:lnTo>
                    <a:lnTo>
                      <a:pt x="28" y="76"/>
                    </a:lnTo>
                    <a:lnTo>
                      <a:pt x="0" y="76"/>
                    </a:lnTo>
                    <a:lnTo>
                      <a:pt x="12" y="84"/>
                    </a:lnTo>
                    <a:lnTo>
                      <a:pt x="34" y="84"/>
                    </a:lnTo>
                    <a:lnTo>
                      <a:pt x="45" y="76"/>
                    </a:lnTo>
                    <a:lnTo>
                      <a:pt x="55" y="84"/>
                    </a:lnTo>
                    <a:lnTo>
                      <a:pt x="70" y="76"/>
                    </a:lnTo>
                    <a:lnTo>
                      <a:pt x="90" y="39"/>
                    </a:lnTo>
                    <a:lnTo>
                      <a:pt x="127" y="39"/>
                    </a:lnTo>
                    <a:lnTo>
                      <a:pt x="119" y="22"/>
                    </a:lnTo>
                    <a:lnTo>
                      <a:pt x="136" y="22"/>
                    </a:lnTo>
                    <a:lnTo>
                      <a:pt x="112" y="17"/>
                    </a:lnTo>
                    <a:lnTo>
                      <a:pt x="112" y="9"/>
                    </a:lnTo>
                    <a:lnTo>
                      <a:pt x="97" y="0"/>
                    </a:lnTo>
                    <a:lnTo>
                      <a:pt x="85" y="17"/>
                    </a:lnTo>
                    <a:lnTo>
                      <a:pt x="77" y="22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91" name="Freeform 225"/>
              <p:cNvSpPr>
                <a:spLocks/>
              </p:cNvSpPr>
              <p:nvPr/>
            </p:nvSpPr>
            <p:spPr bwMode="auto">
              <a:xfrm>
                <a:off x="6891338" y="4903788"/>
                <a:ext cx="234950" cy="214312"/>
              </a:xfrm>
              <a:custGeom>
                <a:avLst/>
                <a:gdLst>
                  <a:gd name="T0" fmla="*/ 9 w 134"/>
                  <a:gd name="T1" fmla="*/ 39 h 123"/>
                  <a:gd name="T2" fmla="*/ 20 w 134"/>
                  <a:gd name="T3" fmla="*/ 47 h 123"/>
                  <a:gd name="T4" fmla="*/ 42 w 134"/>
                  <a:gd name="T5" fmla="*/ 47 h 123"/>
                  <a:gd name="T6" fmla="*/ 51 w 134"/>
                  <a:gd name="T7" fmla="*/ 39 h 123"/>
                  <a:gd name="T8" fmla="*/ 64 w 134"/>
                  <a:gd name="T9" fmla="*/ 47 h 123"/>
                  <a:gd name="T10" fmla="*/ 77 w 134"/>
                  <a:gd name="T11" fmla="*/ 39 h 123"/>
                  <a:gd name="T12" fmla="*/ 99 w 134"/>
                  <a:gd name="T13" fmla="*/ 0 h 123"/>
                  <a:gd name="T14" fmla="*/ 126 w 134"/>
                  <a:gd name="T15" fmla="*/ 0 h 123"/>
                  <a:gd name="T16" fmla="*/ 121 w 134"/>
                  <a:gd name="T17" fmla="*/ 17 h 123"/>
                  <a:gd name="T18" fmla="*/ 126 w 134"/>
                  <a:gd name="T19" fmla="*/ 32 h 123"/>
                  <a:gd name="T20" fmla="*/ 121 w 134"/>
                  <a:gd name="T21" fmla="*/ 39 h 123"/>
                  <a:gd name="T22" fmla="*/ 134 w 134"/>
                  <a:gd name="T23" fmla="*/ 47 h 123"/>
                  <a:gd name="T24" fmla="*/ 104 w 134"/>
                  <a:gd name="T25" fmla="*/ 77 h 123"/>
                  <a:gd name="T26" fmla="*/ 99 w 134"/>
                  <a:gd name="T27" fmla="*/ 94 h 123"/>
                  <a:gd name="T28" fmla="*/ 104 w 134"/>
                  <a:gd name="T29" fmla="*/ 94 h 123"/>
                  <a:gd name="T30" fmla="*/ 99 w 134"/>
                  <a:gd name="T31" fmla="*/ 108 h 123"/>
                  <a:gd name="T32" fmla="*/ 84 w 134"/>
                  <a:gd name="T33" fmla="*/ 123 h 123"/>
                  <a:gd name="T34" fmla="*/ 77 w 134"/>
                  <a:gd name="T35" fmla="*/ 108 h 123"/>
                  <a:gd name="T36" fmla="*/ 42 w 134"/>
                  <a:gd name="T37" fmla="*/ 108 h 123"/>
                  <a:gd name="T38" fmla="*/ 42 w 134"/>
                  <a:gd name="T39" fmla="*/ 101 h 123"/>
                  <a:gd name="T40" fmla="*/ 20 w 134"/>
                  <a:gd name="T41" fmla="*/ 101 h 123"/>
                  <a:gd name="T42" fmla="*/ 0 w 134"/>
                  <a:gd name="T43" fmla="*/ 47 h 123"/>
                  <a:gd name="T44" fmla="*/ 9 w 134"/>
                  <a:gd name="T45" fmla="*/ 39 h 123"/>
                  <a:gd name="T46" fmla="*/ 9 w 134"/>
                  <a:gd name="T47" fmla="*/ 39 h 123"/>
                  <a:gd name="T48" fmla="*/ 9 w 134"/>
                  <a:gd name="T49" fmla="*/ 39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34" h="123">
                    <a:moveTo>
                      <a:pt x="9" y="39"/>
                    </a:moveTo>
                    <a:lnTo>
                      <a:pt x="20" y="47"/>
                    </a:lnTo>
                    <a:lnTo>
                      <a:pt x="42" y="47"/>
                    </a:lnTo>
                    <a:lnTo>
                      <a:pt x="51" y="39"/>
                    </a:lnTo>
                    <a:lnTo>
                      <a:pt x="64" y="47"/>
                    </a:lnTo>
                    <a:lnTo>
                      <a:pt x="77" y="39"/>
                    </a:lnTo>
                    <a:lnTo>
                      <a:pt x="99" y="0"/>
                    </a:lnTo>
                    <a:lnTo>
                      <a:pt x="126" y="0"/>
                    </a:lnTo>
                    <a:lnTo>
                      <a:pt x="121" y="17"/>
                    </a:lnTo>
                    <a:lnTo>
                      <a:pt x="126" y="32"/>
                    </a:lnTo>
                    <a:lnTo>
                      <a:pt x="121" y="39"/>
                    </a:lnTo>
                    <a:lnTo>
                      <a:pt x="134" y="47"/>
                    </a:lnTo>
                    <a:lnTo>
                      <a:pt x="104" y="77"/>
                    </a:lnTo>
                    <a:lnTo>
                      <a:pt x="99" y="94"/>
                    </a:lnTo>
                    <a:lnTo>
                      <a:pt x="104" y="94"/>
                    </a:lnTo>
                    <a:lnTo>
                      <a:pt x="99" y="108"/>
                    </a:lnTo>
                    <a:lnTo>
                      <a:pt x="84" y="123"/>
                    </a:lnTo>
                    <a:lnTo>
                      <a:pt x="77" y="108"/>
                    </a:lnTo>
                    <a:lnTo>
                      <a:pt x="42" y="108"/>
                    </a:lnTo>
                    <a:lnTo>
                      <a:pt x="42" y="101"/>
                    </a:lnTo>
                    <a:lnTo>
                      <a:pt x="20" y="101"/>
                    </a:lnTo>
                    <a:lnTo>
                      <a:pt x="0" y="47"/>
                    </a:lnTo>
                    <a:lnTo>
                      <a:pt x="9" y="39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92" name="Freeform 226"/>
              <p:cNvSpPr>
                <a:spLocks/>
              </p:cNvSpPr>
              <p:nvPr/>
            </p:nvSpPr>
            <p:spPr bwMode="auto">
              <a:xfrm>
                <a:off x="7412038" y="5011738"/>
                <a:ext cx="238125" cy="219075"/>
              </a:xfrm>
              <a:custGeom>
                <a:avLst/>
                <a:gdLst>
                  <a:gd name="T0" fmla="*/ 136 w 136"/>
                  <a:gd name="T1" fmla="*/ 37 h 126"/>
                  <a:gd name="T2" fmla="*/ 136 w 136"/>
                  <a:gd name="T3" fmla="*/ 126 h 126"/>
                  <a:gd name="T4" fmla="*/ 112 w 136"/>
                  <a:gd name="T5" fmla="*/ 111 h 126"/>
                  <a:gd name="T6" fmla="*/ 94 w 136"/>
                  <a:gd name="T7" fmla="*/ 120 h 126"/>
                  <a:gd name="T8" fmla="*/ 99 w 136"/>
                  <a:gd name="T9" fmla="*/ 105 h 126"/>
                  <a:gd name="T10" fmla="*/ 94 w 136"/>
                  <a:gd name="T11" fmla="*/ 81 h 126"/>
                  <a:gd name="T12" fmla="*/ 28 w 136"/>
                  <a:gd name="T13" fmla="*/ 44 h 126"/>
                  <a:gd name="T14" fmla="*/ 22 w 136"/>
                  <a:gd name="T15" fmla="*/ 59 h 126"/>
                  <a:gd name="T16" fmla="*/ 22 w 136"/>
                  <a:gd name="T17" fmla="*/ 44 h 126"/>
                  <a:gd name="T18" fmla="*/ 13 w 136"/>
                  <a:gd name="T19" fmla="*/ 37 h 126"/>
                  <a:gd name="T20" fmla="*/ 28 w 136"/>
                  <a:gd name="T21" fmla="*/ 37 h 126"/>
                  <a:gd name="T22" fmla="*/ 42 w 136"/>
                  <a:gd name="T23" fmla="*/ 29 h 126"/>
                  <a:gd name="T24" fmla="*/ 13 w 136"/>
                  <a:gd name="T25" fmla="*/ 29 h 126"/>
                  <a:gd name="T26" fmla="*/ 7 w 136"/>
                  <a:gd name="T27" fmla="*/ 20 h 126"/>
                  <a:gd name="T28" fmla="*/ 0 w 136"/>
                  <a:gd name="T29" fmla="*/ 20 h 126"/>
                  <a:gd name="T30" fmla="*/ 13 w 136"/>
                  <a:gd name="T31" fmla="*/ 0 h 126"/>
                  <a:gd name="T32" fmla="*/ 22 w 136"/>
                  <a:gd name="T33" fmla="*/ 0 h 126"/>
                  <a:gd name="T34" fmla="*/ 42 w 136"/>
                  <a:gd name="T35" fmla="*/ 12 h 126"/>
                  <a:gd name="T36" fmla="*/ 42 w 136"/>
                  <a:gd name="T37" fmla="*/ 29 h 126"/>
                  <a:gd name="T38" fmla="*/ 58 w 136"/>
                  <a:gd name="T39" fmla="*/ 44 h 126"/>
                  <a:gd name="T40" fmla="*/ 72 w 136"/>
                  <a:gd name="T41" fmla="*/ 29 h 126"/>
                  <a:gd name="T42" fmla="*/ 94 w 136"/>
                  <a:gd name="T43" fmla="*/ 20 h 126"/>
                  <a:gd name="T44" fmla="*/ 136 w 136"/>
                  <a:gd name="T45" fmla="*/ 37 h 126"/>
                  <a:gd name="T46" fmla="*/ 136 w 136"/>
                  <a:gd name="T47" fmla="*/ 37 h 126"/>
                  <a:gd name="T48" fmla="*/ 136 w 136"/>
                  <a:gd name="T49" fmla="*/ 37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36" h="126">
                    <a:moveTo>
                      <a:pt x="136" y="37"/>
                    </a:moveTo>
                    <a:lnTo>
                      <a:pt x="136" y="126"/>
                    </a:lnTo>
                    <a:lnTo>
                      <a:pt x="112" y="111"/>
                    </a:lnTo>
                    <a:lnTo>
                      <a:pt x="94" y="120"/>
                    </a:lnTo>
                    <a:lnTo>
                      <a:pt x="99" y="105"/>
                    </a:lnTo>
                    <a:lnTo>
                      <a:pt x="94" y="81"/>
                    </a:lnTo>
                    <a:lnTo>
                      <a:pt x="28" y="44"/>
                    </a:lnTo>
                    <a:lnTo>
                      <a:pt x="22" y="59"/>
                    </a:lnTo>
                    <a:lnTo>
                      <a:pt x="22" y="44"/>
                    </a:lnTo>
                    <a:lnTo>
                      <a:pt x="13" y="37"/>
                    </a:lnTo>
                    <a:lnTo>
                      <a:pt x="28" y="37"/>
                    </a:lnTo>
                    <a:lnTo>
                      <a:pt x="42" y="29"/>
                    </a:lnTo>
                    <a:lnTo>
                      <a:pt x="13" y="29"/>
                    </a:lnTo>
                    <a:lnTo>
                      <a:pt x="7" y="20"/>
                    </a:lnTo>
                    <a:lnTo>
                      <a:pt x="0" y="20"/>
                    </a:lnTo>
                    <a:lnTo>
                      <a:pt x="13" y="0"/>
                    </a:lnTo>
                    <a:lnTo>
                      <a:pt x="22" y="0"/>
                    </a:lnTo>
                    <a:lnTo>
                      <a:pt x="42" y="12"/>
                    </a:lnTo>
                    <a:lnTo>
                      <a:pt x="42" y="29"/>
                    </a:lnTo>
                    <a:lnTo>
                      <a:pt x="58" y="44"/>
                    </a:lnTo>
                    <a:lnTo>
                      <a:pt x="72" y="29"/>
                    </a:lnTo>
                    <a:lnTo>
                      <a:pt x="94" y="20"/>
                    </a:lnTo>
                    <a:lnTo>
                      <a:pt x="136" y="37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93" name="Freeform 227"/>
              <p:cNvSpPr>
                <a:spLocks/>
              </p:cNvSpPr>
              <p:nvPr/>
            </p:nvSpPr>
            <p:spPr bwMode="auto">
              <a:xfrm>
                <a:off x="7650163" y="5075238"/>
                <a:ext cx="223837" cy="214312"/>
              </a:xfrm>
              <a:custGeom>
                <a:avLst/>
                <a:gdLst>
                  <a:gd name="T0" fmla="*/ 0 w 127"/>
                  <a:gd name="T1" fmla="*/ 91 h 123"/>
                  <a:gd name="T2" fmla="*/ 0 w 127"/>
                  <a:gd name="T3" fmla="*/ 0 h 123"/>
                  <a:gd name="T4" fmla="*/ 35 w 127"/>
                  <a:gd name="T5" fmla="*/ 7 h 123"/>
                  <a:gd name="T6" fmla="*/ 57 w 127"/>
                  <a:gd name="T7" fmla="*/ 31 h 123"/>
                  <a:gd name="T8" fmla="*/ 57 w 127"/>
                  <a:gd name="T9" fmla="*/ 39 h 123"/>
                  <a:gd name="T10" fmla="*/ 90 w 127"/>
                  <a:gd name="T11" fmla="*/ 61 h 123"/>
                  <a:gd name="T12" fmla="*/ 78 w 127"/>
                  <a:gd name="T13" fmla="*/ 69 h 123"/>
                  <a:gd name="T14" fmla="*/ 83 w 127"/>
                  <a:gd name="T15" fmla="*/ 69 h 123"/>
                  <a:gd name="T16" fmla="*/ 90 w 127"/>
                  <a:gd name="T17" fmla="*/ 76 h 123"/>
                  <a:gd name="T18" fmla="*/ 98 w 127"/>
                  <a:gd name="T19" fmla="*/ 91 h 123"/>
                  <a:gd name="T20" fmla="*/ 105 w 127"/>
                  <a:gd name="T21" fmla="*/ 91 h 123"/>
                  <a:gd name="T22" fmla="*/ 105 w 127"/>
                  <a:gd name="T23" fmla="*/ 106 h 123"/>
                  <a:gd name="T24" fmla="*/ 127 w 127"/>
                  <a:gd name="T25" fmla="*/ 115 h 123"/>
                  <a:gd name="T26" fmla="*/ 127 w 127"/>
                  <a:gd name="T27" fmla="*/ 123 h 123"/>
                  <a:gd name="T28" fmla="*/ 83 w 127"/>
                  <a:gd name="T29" fmla="*/ 115 h 123"/>
                  <a:gd name="T30" fmla="*/ 63 w 127"/>
                  <a:gd name="T31" fmla="*/ 76 h 123"/>
                  <a:gd name="T32" fmla="*/ 43 w 127"/>
                  <a:gd name="T33" fmla="*/ 76 h 123"/>
                  <a:gd name="T34" fmla="*/ 21 w 127"/>
                  <a:gd name="T35" fmla="*/ 84 h 123"/>
                  <a:gd name="T36" fmla="*/ 35 w 127"/>
                  <a:gd name="T37" fmla="*/ 91 h 123"/>
                  <a:gd name="T38" fmla="*/ 0 w 127"/>
                  <a:gd name="T39" fmla="*/ 91 h 123"/>
                  <a:gd name="T40" fmla="*/ 0 w 127"/>
                  <a:gd name="T41" fmla="*/ 91 h 123"/>
                  <a:gd name="T42" fmla="*/ 0 w 127"/>
                  <a:gd name="T43" fmla="*/ 91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27" h="123">
                    <a:moveTo>
                      <a:pt x="0" y="91"/>
                    </a:moveTo>
                    <a:lnTo>
                      <a:pt x="0" y="0"/>
                    </a:lnTo>
                    <a:lnTo>
                      <a:pt x="35" y="7"/>
                    </a:lnTo>
                    <a:lnTo>
                      <a:pt x="57" y="31"/>
                    </a:lnTo>
                    <a:lnTo>
                      <a:pt x="57" y="39"/>
                    </a:lnTo>
                    <a:lnTo>
                      <a:pt x="90" y="61"/>
                    </a:lnTo>
                    <a:lnTo>
                      <a:pt x="78" y="69"/>
                    </a:lnTo>
                    <a:lnTo>
                      <a:pt x="83" y="69"/>
                    </a:lnTo>
                    <a:lnTo>
                      <a:pt x="90" y="76"/>
                    </a:lnTo>
                    <a:lnTo>
                      <a:pt x="98" y="91"/>
                    </a:lnTo>
                    <a:lnTo>
                      <a:pt x="105" y="91"/>
                    </a:lnTo>
                    <a:lnTo>
                      <a:pt x="105" y="106"/>
                    </a:lnTo>
                    <a:lnTo>
                      <a:pt x="127" y="115"/>
                    </a:lnTo>
                    <a:lnTo>
                      <a:pt x="127" y="123"/>
                    </a:lnTo>
                    <a:lnTo>
                      <a:pt x="83" y="115"/>
                    </a:lnTo>
                    <a:lnTo>
                      <a:pt x="63" y="76"/>
                    </a:lnTo>
                    <a:lnTo>
                      <a:pt x="43" y="76"/>
                    </a:lnTo>
                    <a:lnTo>
                      <a:pt x="21" y="84"/>
                    </a:lnTo>
                    <a:lnTo>
                      <a:pt x="35" y="91"/>
                    </a:lnTo>
                    <a:lnTo>
                      <a:pt x="0" y="91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94" name="Freeform 228"/>
              <p:cNvSpPr>
                <a:spLocks/>
              </p:cNvSpPr>
              <p:nvPr/>
            </p:nvSpPr>
            <p:spPr bwMode="auto">
              <a:xfrm>
                <a:off x="6616700" y="4970463"/>
                <a:ext cx="42863" cy="47625"/>
              </a:xfrm>
              <a:custGeom>
                <a:avLst/>
                <a:gdLst>
                  <a:gd name="T0" fmla="*/ 0 w 23"/>
                  <a:gd name="T1" fmla="*/ 15 h 27"/>
                  <a:gd name="T2" fmla="*/ 23 w 23"/>
                  <a:gd name="T3" fmla="*/ 27 h 27"/>
                  <a:gd name="T4" fmla="*/ 0 w 23"/>
                  <a:gd name="T5" fmla="*/ 0 h 27"/>
                  <a:gd name="T6" fmla="*/ 0 w 23"/>
                  <a:gd name="T7" fmla="*/ 15 h 27"/>
                  <a:gd name="T8" fmla="*/ 0 w 23"/>
                  <a:gd name="T9" fmla="*/ 15 h 27"/>
                  <a:gd name="T10" fmla="*/ 0 w 23"/>
                  <a:gd name="T11" fmla="*/ 15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3" h="27">
                    <a:moveTo>
                      <a:pt x="0" y="15"/>
                    </a:moveTo>
                    <a:lnTo>
                      <a:pt x="23" y="27"/>
                    </a:lnTo>
                    <a:lnTo>
                      <a:pt x="0" y="0"/>
                    </a:lnTo>
                    <a:lnTo>
                      <a:pt x="0" y="15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95" name="Freeform 229"/>
              <p:cNvSpPr>
                <a:spLocks/>
              </p:cNvSpPr>
              <p:nvPr/>
            </p:nvSpPr>
            <p:spPr bwMode="auto">
              <a:xfrm>
                <a:off x="6656388" y="5037138"/>
                <a:ext cx="41275" cy="46037"/>
              </a:xfrm>
              <a:custGeom>
                <a:avLst/>
                <a:gdLst>
                  <a:gd name="T0" fmla="*/ 0 w 24"/>
                  <a:gd name="T1" fmla="*/ 0 h 26"/>
                  <a:gd name="T2" fmla="*/ 24 w 24"/>
                  <a:gd name="T3" fmla="*/ 26 h 26"/>
                  <a:gd name="T4" fmla="*/ 24 w 24"/>
                  <a:gd name="T5" fmla="*/ 0 h 26"/>
                  <a:gd name="T6" fmla="*/ 0 w 24"/>
                  <a:gd name="T7" fmla="*/ 0 h 26"/>
                  <a:gd name="T8" fmla="*/ 0 w 24"/>
                  <a:gd name="T9" fmla="*/ 0 h 26"/>
                  <a:gd name="T10" fmla="*/ 0 w 24"/>
                  <a:gd name="T11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" h="26">
                    <a:moveTo>
                      <a:pt x="0" y="0"/>
                    </a:moveTo>
                    <a:lnTo>
                      <a:pt x="24" y="26"/>
                    </a:lnTo>
                    <a:lnTo>
                      <a:pt x="24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96" name="Freeform 230"/>
              <p:cNvSpPr>
                <a:spLocks/>
              </p:cNvSpPr>
              <p:nvPr/>
            </p:nvSpPr>
            <p:spPr bwMode="auto">
              <a:xfrm>
                <a:off x="6891338" y="4500563"/>
                <a:ext cx="63500" cy="44450"/>
              </a:xfrm>
              <a:custGeom>
                <a:avLst/>
                <a:gdLst>
                  <a:gd name="T0" fmla="*/ 0 w 37"/>
                  <a:gd name="T1" fmla="*/ 5 h 25"/>
                  <a:gd name="T2" fmla="*/ 0 w 37"/>
                  <a:gd name="T3" fmla="*/ 22 h 25"/>
                  <a:gd name="T4" fmla="*/ 15 w 37"/>
                  <a:gd name="T5" fmla="*/ 25 h 25"/>
                  <a:gd name="T6" fmla="*/ 20 w 37"/>
                  <a:gd name="T7" fmla="*/ 22 h 25"/>
                  <a:gd name="T8" fmla="*/ 37 w 37"/>
                  <a:gd name="T9" fmla="*/ 0 h 25"/>
                  <a:gd name="T10" fmla="*/ 9 w 37"/>
                  <a:gd name="T11" fmla="*/ 0 h 25"/>
                  <a:gd name="T12" fmla="*/ 0 w 37"/>
                  <a:gd name="T13" fmla="*/ 5 h 25"/>
                  <a:gd name="T14" fmla="*/ 0 w 37"/>
                  <a:gd name="T15" fmla="*/ 5 h 25"/>
                  <a:gd name="T16" fmla="*/ 0 w 37"/>
                  <a:gd name="T17" fmla="*/ 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7" h="25">
                    <a:moveTo>
                      <a:pt x="0" y="5"/>
                    </a:moveTo>
                    <a:lnTo>
                      <a:pt x="0" y="22"/>
                    </a:lnTo>
                    <a:lnTo>
                      <a:pt x="15" y="25"/>
                    </a:lnTo>
                    <a:lnTo>
                      <a:pt x="20" y="22"/>
                    </a:lnTo>
                    <a:lnTo>
                      <a:pt x="37" y="0"/>
                    </a:lnTo>
                    <a:lnTo>
                      <a:pt x="9" y="0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97" name="Freeform 231"/>
              <p:cNvSpPr>
                <a:spLocks/>
              </p:cNvSpPr>
              <p:nvPr/>
            </p:nvSpPr>
            <p:spPr bwMode="auto">
              <a:xfrm>
                <a:off x="7005638" y="5292725"/>
                <a:ext cx="955675" cy="796925"/>
              </a:xfrm>
              <a:custGeom>
                <a:avLst/>
                <a:gdLst>
                  <a:gd name="T0" fmla="*/ 47 w 544"/>
                  <a:gd name="T1" fmla="*/ 388 h 455"/>
                  <a:gd name="T2" fmla="*/ 90 w 544"/>
                  <a:gd name="T3" fmla="*/ 358 h 455"/>
                  <a:gd name="T4" fmla="*/ 147 w 544"/>
                  <a:gd name="T5" fmla="*/ 349 h 455"/>
                  <a:gd name="T6" fmla="*/ 246 w 544"/>
                  <a:gd name="T7" fmla="*/ 319 h 455"/>
                  <a:gd name="T8" fmla="*/ 281 w 544"/>
                  <a:gd name="T9" fmla="*/ 349 h 455"/>
                  <a:gd name="T10" fmla="*/ 303 w 544"/>
                  <a:gd name="T11" fmla="*/ 388 h 455"/>
                  <a:gd name="T12" fmla="*/ 331 w 544"/>
                  <a:gd name="T13" fmla="*/ 358 h 455"/>
                  <a:gd name="T14" fmla="*/ 331 w 544"/>
                  <a:gd name="T15" fmla="*/ 388 h 455"/>
                  <a:gd name="T16" fmla="*/ 338 w 544"/>
                  <a:gd name="T17" fmla="*/ 388 h 455"/>
                  <a:gd name="T18" fmla="*/ 346 w 544"/>
                  <a:gd name="T19" fmla="*/ 396 h 455"/>
                  <a:gd name="T20" fmla="*/ 353 w 544"/>
                  <a:gd name="T21" fmla="*/ 425 h 455"/>
                  <a:gd name="T22" fmla="*/ 395 w 544"/>
                  <a:gd name="T23" fmla="*/ 440 h 455"/>
                  <a:gd name="T24" fmla="*/ 424 w 544"/>
                  <a:gd name="T25" fmla="*/ 433 h 455"/>
                  <a:gd name="T26" fmla="*/ 432 w 544"/>
                  <a:gd name="T27" fmla="*/ 440 h 455"/>
                  <a:gd name="T28" fmla="*/ 454 w 544"/>
                  <a:gd name="T29" fmla="*/ 455 h 455"/>
                  <a:gd name="T30" fmla="*/ 496 w 544"/>
                  <a:gd name="T31" fmla="*/ 433 h 455"/>
                  <a:gd name="T32" fmla="*/ 537 w 544"/>
                  <a:gd name="T33" fmla="*/ 312 h 455"/>
                  <a:gd name="T34" fmla="*/ 537 w 544"/>
                  <a:gd name="T35" fmla="*/ 230 h 455"/>
                  <a:gd name="T36" fmla="*/ 511 w 544"/>
                  <a:gd name="T37" fmla="*/ 193 h 455"/>
                  <a:gd name="T38" fmla="*/ 496 w 544"/>
                  <a:gd name="T39" fmla="*/ 180 h 455"/>
                  <a:gd name="T40" fmla="*/ 432 w 544"/>
                  <a:gd name="T41" fmla="*/ 82 h 455"/>
                  <a:gd name="T42" fmla="*/ 424 w 544"/>
                  <a:gd name="T43" fmla="*/ 59 h 455"/>
                  <a:gd name="T44" fmla="*/ 395 w 544"/>
                  <a:gd name="T45" fmla="*/ 0 h 455"/>
                  <a:gd name="T46" fmla="*/ 380 w 544"/>
                  <a:gd name="T47" fmla="*/ 22 h 455"/>
                  <a:gd name="T48" fmla="*/ 353 w 544"/>
                  <a:gd name="T49" fmla="*/ 104 h 455"/>
                  <a:gd name="T50" fmla="*/ 311 w 544"/>
                  <a:gd name="T51" fmla="*/ 74 h 455"/>
                  <a:gd name="T52" fmla="*/ 296 w 544"/>
                  <a:gd name="T53" fmla="*/ 67 h 455"/>
                  <a:gd name="T54" fmla="*/ 311 w 544"/>
                  <a:gd name="T55" fmla="*/ 37 h 455"/>
                  <a:gd name="T56" fmla="*/ 311 w 544"/>
                  <a:gd name="T57" fmla="*/ 22 h 455"/>
                  <a:gd name="T58" fmla="*/ 303 w 544"/>
                  <a:gd name="T59" fmla="*/ 22 h 455"/>
                  <a:gd name="T60" fmla="*/ 253 w 544"/>
                  <a:gd name="T61" fmla="*/ 5 h 455"/>
                  <a:gd name="T62" fmla="*/ 239 w 544"/>
                  <a:gd name="T63" fmla="*/ 22 h 455"/>
                  <a:gd name="T64" fmla="*/ 226 w 544"/>
                  <a:gd name="T65" fmla="*/ 37 h 455"/>
                  <a:gd name="T66" fmla="*/ 217 w 544"/>
                  <a:gd name="T67" fmla="*/ 67 h 455"/>
                  <a:gd name="T68" fmla="*/ 206 w 544"/>
                  <a:gd name="T69" fmla="*/ 67 h 455"/>
                  <a:gd name="T70" fmla="*/ 196 w 544"/>
                  <a:gd name="T71" fmla="*/ 43 h 455"/>
                  <a:gd name="T72" fmla="*/ 169 w 544"/>
                  <a:gd name="T73" fmla="*/ 59 h 455"/>
                  <a:gd name="T74" fmla="*/ 154 w 544"/>
                  <a:gd name="T75" fmla="*/ 82 h 455"/>
                  <a:gd name="T76" fmla="*/ 147 w 544"/>
                  <a:gd name="T77" fmla="*/ 87 h 455"/>
                  <a:gd name="T78" fmla="*/ 132 w 544"/>
                  <a:gd name="T79" fmla="*/ 82 h 455"/>
                  <a:gd name="T80" fmla="*/ 125 w 544"/>
                  <a:gd name="T81" fmla="*/ 112 h 455"/>
                  <a:gd name="T82" fmla="*/ 40 w 544"/>
                  <a:gd name="T83" fmla="*/ 151 h 455"/>
                  <a:gd name="T84" fmla="*/ 5 w 544"/>
                  <a:gd name="T85" fmla="*/ 163 h 455"/>
                  <a:gd name="T86" fmla="*/ 0 w 544"/>
                  <a:gd name="T87" fmla="*/ 193 h 455"/>
                  <a:gd name="T88" fmla="*/ 5 w 544"/>
                  <a:gd name="T89" fmla="*/ 223 h 455"/>
                  <a:gd name="T90" fmla="*/ 0 w 544"/>
                  <a:gd name="T91" fmla="*/ 230 h 455"/>
                  <a:gd name="T92" fmla="*/ 33 w 544"/>
                  <a:gd name="T93" fmla="*/ 349 h 455"/>
                  <a:gd name="T94" fmla="*/ 25 w 544"/>
                  <a:gd name="T95" fmla="*/ 364 h 455"/>
                  <a:gd name="T96" fmla="*/ 25 w 544"/>
                  <a:gd name="T97" fmla="*/ 364 h 4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44" h="455">
                    <a:moveTo>
                      <a:pt x="25" y="364"/>
                    </a:moveTo>
                    <a:lnTo>
                      <a:pt x="47" y="388"/>
                    </a:lnTo>
                    <a:lnTo>
                      <a:pt x="68" y="388"/>
                    </a:lnTo>
                    <a:lnTo>
                      <a:pt x="90" y="358"/>
                    </a:lnTo>
                    <a:lnTo>
                      <a:pt x="132" y="358"/>
                    </a:lnTo>
                    <a:lnTo>
                      <a:pt x="147" y="349"/>
                    </a:lnTo>
                    <a:lnTo>
                      <a:pt x="176" y="326"/>
                    </a:lnTo>
                    <a:lnTo>
                      <a:pt x="246" y="319"/>
                    </a:lnTo>
                    <a:lnTo>
                      <a:pt x="281" y="334"/>
                    </a:lnTo>
                    <a:lnTo>
                      <a:pt x="281" y="349"/>
                    </a:lnTo>
                    <a:lnTo>
                      <a:pt x="288" y="349"/>
                    </a:lnTo>
                    <a:lnTo>
                      <a:pt x="303" y="388"/>
                    </a:lnTo>
                    <a:lnTo>
                      <a:pt x="331" y="334"/>
                    </a:lnTo>
                    <a:lnTo>
                      <a:pt x="331" y="358"/>
                    </a:lnTo>
                    <a:lnTo>
                      <a:pt x="323" y="388"/>
                    </a:lnTo>
                    <a:lnTo>
                      <a:pt x="331" y="388"/>
                    </a:lnTo>
                    <a:lnTo>
                      <a:pt x="331" y="364"/>
                    </a:lnTo>
                    <a:lnTo>
                      <a:pt x="338" y="388"/>
                    </a:lnTo>
                    <a:lnTo>
                      <a:pt x="331" y="396"/>
                    </a:lnTo>
                    <a:lnTo>
                      <a:pt x="346" y="396"/>
                    </a:lnTo>
                    <a:lnTo>
                      <a:pt x="353" y="410"/>
                    </a:lnTo>
                    <a:lnTo>
                      <a:pt x="353" y="425"/>
                    </a:lnTo>
                    <a:lnTo>
                      <a:pt x="380" y="440"/>
                    </a:lnTo>
                    <a:lnTo>
                      <a:pt x="395" y="440"/>
                    </a:lnTo>
                    <a:lnTo>
                      <a:pt x="408" y="447"/>
                    </a:lnTo>
                    <a:lnTo>
                      <a:pt x="424" y="433"/>
                    </a:lnTo>
                    <a:lnTo>
                      <a:pt x="424" y="440"/>
                    </a:lnTo>
                    <a:lnTo>
                      <a:pt x="432" y="440"/>
                    </a:lnTo>
                    <a:lnTo>
                      <a:pt x="432" y="447"/>
                    </a:lnTo>
                    <a:lnTo>
                      <a:pt x="454" y="455"/>
                    </a:lnTo>
                    <a:lnTo>
                      <a:pt x="465" y="433"/>
                    </a:lnTo>
                    <a:lnTo>
                      <a:pt x="496" y="433"/>
                    </a:lnTo>
                    <a:lnTo>
                      <a:pt x="502" y="396"/>
                    </a:lnTo>
                    <a:lnTo>
                      <a:pt x="537" y="312"/>
                    </a:lnTo>
                    <a:lnTo>
                      <a:pt x="544" y="275"/>
                    </a:lnTo>
                    <a:lnTo>
                      <a:pt x="537" y="230"/>
                    </a:lnTo>
                    <a:lnTo>
                      <a:pt x="519" y="200"/>
                    </a:lnTo>
                    <a:lnTo>
                      <a:pt x="511" y="193"/>
                    </a:lnTo>
                    <a:lnTo>
                      <a:pt x="496" y="163"/>
                    </a:lnTo>
                    <a:lnTo>
                      <a:pt x="496" y="180"/>
                    </a:lnTo>
                    <a:lnTo>
                      <a:pt x="439" y="87"/>
                    </a:lnTo>
                    <a:lnTo>
                      <a:pt x="432" y="82"/>
                    </a:lnTo>
                    <a:lnTo>
                      <a:pt x="432" y="67"/>
                    </a:lnTo>
                    <a:lnTo>
                      <a:pt x="424" y="59"/>
                    </a:lnTo>
                    <a:lnTo>
                      <a:pt x="408" y="59"/>
                    </a:lnTo>
                    <a:lnTo>
                      <a:pt x="395" y="0"/>
                    </a:lnTo>
                    <a:lnTo>
                      <a:pt x="390" y="0"/>
                    </a:lnTo>
                    <a:lnTo>
                      <a:pt x="380" y="22"/>
                    </a:lnTo>
                    <a:lnTo>
                      <a:pt x="373" y="104"/>
                    </a:lnTo>
                    <a:lnTo>
                      <a:pt x="353" y="104"/>
                    </a:lnTo>
                    <a:lnTo>
                      <a:pt x="323" y="74"/>
                    </a:lnTo>
                    <a:lnTo>
                      <a:pt x="311" y="74"/>
                    </a:lnTo>
                    <a:lnTo>
                      <a:pt x="311" y="67"/>
                    </a:lnTo>
                    <a:lnTo>
                      <a:pt x="296" y="67"/>
                    </a:lnTo>
                    <a:lnTo>
                      <a:pt x="303" y="37"/>
                    </a:lnTo>
                    <a:lnTo>
                      <a:pt x="311" y="37"/>
                    </a:lnTo>
                    <a:lnTo>
                      <a:pt x="323" y="22"/>
                    </a:lnTo>
                    <a:lnTo>
                      <a:pt x="311" y="22"/>
                    </a:lnTo>
                    <a:lnTo>
                      <a:pt x="303" y="28"/>
                    </a:lnTo>
                    <a:lnTo>
                      <a:pt x="303" y="22"/>
                    </a:lnTo>
                    <a:lnTo>
                      <a:pt x="296" y="22"/>
                    </a:lnTo>
                    <a:lnTo>
                      <a:pt x="253" y="5"/>
                    </a:lnTo>
                    <a:lnTo>
                      <a:pt x="259" y="22"/>
                    </a:lnTo>
                    <a:lnTo>
                      <a:pt x="239" y="22"/>
                    </a:lnTo>
                    <a:lnTo>
                      <a:pt x="226" y="28"/>
                    </a:lnTo>
                    <a:lnTo>
                      <a:pt x="226" y="37"/>
                    </a:lnTo>
                    <a:lnTo>
                      <a:pt x="217" y="37"/>
                    </a:lnTo>
                    <a:lnTo>
                      <a:pt x="217" y="67"/>
                    </a:lnTo>
                    <a:lnTo>
                      <a:pt x="206" y="59"/>
                    </a:lnTo>
                    <a:lnTo>
                      <a:pt x="206" y="67"/>
                    </a:lnTo>
                    <a:lnTo>
                      <a:pt x="206" y="59"/>
                    </a:lnTo>
                    <a:lnTo>
                      <a:pt x="196" y="43"/>
                    </a:lnTo>
                    <a:lnTo>
                      <a:pt x="189" y="43"/>
                    </a:lnTo>
                    <a:lnTo>
                      <a:pt x="169" y="59"/>
                    </a:lnTo>
                    <a:lnTo>
                      <a:pt x="162" y="59"/>
                    </a:lnTo>
                    <a:lnTo>
                      <a:pt x="154" y="82"/>
                    </a:lnTo>
                    <a:lnTo>
                      <a:pt x="132" y="82"/>
                    </a:lnTo>
                    <a:lnTo>
                      <a:pt x="147" y="87"/>
                    </a:lnTo>
                    <a:lnTo>
                      <a:pt x="132" y="104"/>
                    </a:lnTo>
                    <a:lnTo>
                      <a:pt x="132" y="82"/>
                    </a:lnTo>
                    <a:lnTo>
                      <a:pt x="119" y="104"/>
                    </a:lnTo>
                    <a:lnTo>
                      <a:pt x="125" y="112"/>
                    </a:lnTo>
                    <a:lnTo>
                      <a:pt x="104" y="127"/>
                    </a:lnTo>
                    <a:lnTo>
                      <a:pt x="40" y="151"/>
                    </a:lnTo>
                    <a:lnTo>
                      <a:pt x="20" y="180"/>
                    </a:lnTo>
                    <a:lnTo>
                      <a:pt x="5" y="163"/>
                    </a:lnTo>
                    <a:lnTo>
                      <a:pt x="5" y="193"/>
                    </a:lnTo>
                    <a:lnTo>
                      <a:pt x="0" y="193"/>
                    </a:lnTo>
                    <a:lnTo>
                      <a:pt x="20" y="237"/>
                    </a:lnTo>
                    <a:lnTo>
                      <a:pt x="5" y="223"/>
                    </a:lnTo>
                    <a:lnTo>
                      <a:pt x="5" y="237"/>
                    </a:lnTo>
                    <a:lnTo>
                      <a:pt x="0" y="230"/>
                    </a:lnTo>
                    <a:lnTo>
                      <a:pt x="25" y="280"/>
                    </a:lnTo>
                    <a:lnTo>
                      <a:pt x="33" y="349"/>
                    </a:lnTo>
                    <a:lnTo>
                      <a:pt x="25" y="358"/>
                    </a:lnTo>
                    <a:lnTo>
                      <a:pt x="25" y="364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98" name="Freeform 232"/>
              <p:cNvSpPr>
                <a:spLocks/>
              </p:cNvSpPr>
              <p:nvPr/>
            </p:nvSpPr>
            <p:spPr bwMode="auto">
              <a:xfrm>
                <a:off x="6570663" y="4864100"/>
                <a:ext cx="254000" cy="292100"/>
              </a:xfrm>
              <a:custGeom>
                <a:avLst/>
                <a:gdLst>
                  <a:gd name="T0" fmla="*/ 0 w 145"/>
                  <a:gd name="T1" fmla="*/ 0 h 167"/>
                  <a:gd name="T2" fmla="*/ 0 w 145"/>
                  <a:gd name="T3" fmla="*/ 7 h 167"/>
                  <a:gd name="T4" fmla="*/ 33 w 145"/>
                  <a:gd name="T5" fmla="*/ 52 h 167"/>
                  <a:gd name="T6" fmla="*/ 47 w 145"/>
                  <a:gd name="T7" fmla="*/ 61 h 167"/>
                  <a:gd name="T8" fmla="*/ 119 w 145"/>
                  <a:gd name="T9" fmla="*/ 167 h 167"/>
                  <a:gd name="T10" fmla="*/ 137 w 145"/>
                  <a:gd name="T11" fmla="*/ 167 h 167"/>
                  <a:gd name="T12" fmla="*/ 145 w 145"/>
                  <a:gd name="T13" fmla="*/ 128 h 167"/>
                  <a:gd name="T14" fmla="*/ 137 w 145"/>
                  <a:gd name="T15" fmla="*/ 116 h 167"/>
                  <a:gd name="T16" fmla="*/ 130 w 145"/>
                  <a:gd name="T17" fmla="*/ 116 h 167"/>
                  <a:gd name="T18" fmla="*/ 119 w 145"/>
                  <a:gd name="T19" fmla="*/ 99 h 167"/>
                  <a:gd name="T20" fmla="*/ 110 w 145"/>
                  <a:gd name="T21" fmla="*/ 99 h 167"/>
                  <a:gd name="T22" fmla="*/ 110 w 145"/>
                  <a:gd name="T23" fmla="*/ 84 h 167"/>
                  <a:gd name="T24" fmla="*/ 104 w 145"/>
                  <a:gd name="T25" fmla="*/ 78 h 167"/>
                  <a:gd name="T26" fmla="*/ 104 w 145"/>
                  <a:gd name="T27" fmla="*/ 69 h 167"/>
                  <a:gd name="T28" fmla="*/ 73 w 145"/>
                  <a:gd name="T29" fmla="*/ 52 h 167"/>
                  <a:gd name="T30" fmla="*/ 68 w 145"/>
                  <a:gd name="T31" fmla="*/ 52 h 167"/>
                  <a:gd name="T32" fmla="*/ 27 w 145"/>
                  <a:gd name="T33" fmla="*/ 7 h 167"/>
                  <a:gd name="T34" fmla="*/ 0 w 145"/>
                  <a:gd name="T35" fmla="*/ 0 h 167"/>
                  <a:gd name="T36" fmla="*/ 0 w 145"/>
                  <a:gd name="T37" fmla="*/ 0 h 167"/>
                  <a:gd name="T38" fmla="*/ 0 w 145"/>
                  <a:gd name="T39" fmla="*/ 0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45" h="167">
                    <a:moveTo>
                      <a:pt x="0" y="0"/>
                    </a:moveTo>
                    <a:lnTo>
                      <a:pt x="0" y="7"/>
                    </a:lnTo>
                    <a:lnTo>
                      <a:pt x="33" y="52"/>
                    </a:lnTo>
                    <a:lnTo>
                      <a:pt x="47" y="61"/>
                    </a:lnTo>
                    <a:lnTo>
                      <a:pt x="119" y="167"/>
                    </a:lnTo>
                    <a:lnTo>
                      <a:pt x="137" y="167"/>
                    </a:lnTo>
                    <a:lnTo>
                      <a:pt x="145" y="128"/>
                    </a:lnTo>
                    <a:lnTo>
                      <a:pt x="137" y="116"/>
                    </a:lnTo>
                    <a:lnTo>
                      <a:pt x="130" y="116"/>
                    </a:lnTo>
                    <a:lnTo>
                      <a:pt x="119" y="99"/>
                    </a:lnTo>
                    <a:lnTo>
                      <a:pt x="110" y="99"/>
                    </a:lnTo>
                    <a:lnTo>
                      <a:pt x="110" y="84"/>
                    </a:lnTo>
                    <a:lnTo>
                      <a:pt x="104" y="78"/>
                    </a:lnTo>
                    <a:lnTo>
                      <a:pt x="104" y="69"/>
                    </a:lnTo>
                    <a:lnTo>
                      <a:pt x="73" y="52"/>
                    </a:lnTo>
                    <a:lnTo>
                      <a:pt x="68" y="52"/>
                    </a:lnTo>
                    <a:lnTo>
                      <a:pt x="27" y="7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599" name="Freeform 233"/>
              <p:cNvSpPr>
                <a:spLocks/>
              </p:cNvSpPr>
              <p:nvPr/>
            </p:nvSpPr>
            <p:spPr bwMode="auto">
              <a:xfrm>
                <a:off x="6813550" y="5157788"/>
                <a:ext cx="209550" cy="63500"/>
              </a:xfrm>
              <a:custGeom>
                <a:avLst/>
                <a:gdLst>
                  <a:gd name="T0" fmla="*/ 0 w 119"/>
                  <a:gd name="T1" fmla="*/ 15 h 37"/>
                  <a:gd name="T2" fmla="*/ 37 w 119"/>
                  <a:gd name="T3" fmla="*/ 29 h 37"/>
                  <a:gd name="T4" fmla="*/ 119 w 119"/>
                  <a:gd name="T5" fmla="*/ 37 h 37"/>
                  <a:gd name="T6" fmla="*/ 119 w 119"/>
                  <a:gd name="T7" fmla="*/ 29 h 37"/>
                  <a:gd name="T8" fmla="*/ 99 w 119"/>
                  <a:gd name="T9" fmla="*/ 29 h 37"/>
                  <a:gd name="T10" fmla="*/ 94 w 119"/>
                  <a:gd name="T11" fmla="*/ 22 h 37"/>
                  <a:gd name="T12" fmla="*/ 62 w 119"/>
                  <a:gd name="T13" fmla="*/ 15 h 37"/>
                  <a:gd name="T14" fmla="*/ 62 w 119"/>
                  <a:gd name="T15" fmla="*/ 22 h 37"/>
                  <a:gd name="T16" fmla="*/ 22 w 119"/>
                  <a:gd name="T17" fmla="*/ 0 h 37"/>
                  <a:gd name="T18" fmla="*/ 8 w 119"/>
                  <a:gd name="T19" fmla="*/ 0 h 37"/>
                  <a:gd name="T20" fmla="*/ 0 w 119"/>
                  <a:gd name="T21" fmla="*/ 15 h 37"/>
                  <a:gd name="T22" fmla="*/ 0 w 119"/>
                  <a:gd name="T23" fmla="*/ 15 h 37"/>
                  <a:gd name="T24" fmla="*/ 0 w 119"/>
                  <a:gd name="T25" fmla="*/ 15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9" h="37">
                    <a:moveTo>
                      <a:pt x="0" y="15"/>
                    </a:moveTo>
                    <a:lnTo>
                      <a:pt x="37" y="29"/>
                    </a:lnTo>
                    <a:lnTo>
                      <a:pt x="119" y="37"/>
                    </a:lnTo>
                    <a:lnTo>
                      <a:pt x="119" y="29"/>
                    </a:lnTo>
                    <a:lnTo>
                      <a:pt x="99" y="29"/>
                    </a:lnTo>
                    <a:lnTo>
                      <a:pt x="94" y="22"/>
                    </a:lnTo>
                    <a:lnTo>
                      <a:pt x="62" y="15"/>
                    </a:lnTo>
                    <a:lnTo>
                      <a:pt x="62" y="22"/>
                    </a:lnTo>
                    <a:lnTo>
                      <a:pt x="22" y="0"/>
                    </a:lnTo>
                    <a:lnTo>
                      <a:pt x="8" y="0"/>
                    </a:lnTo>
                    <a:lnTo>
                      <a:pt x="0" y="15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00" name="Freeform 234"/>
              <p:cNvSpPr>
                <a:spLocks/>
              </p:cNvSpPr>
              <p:nvPr/>
            </p:nvSpPr>
            <p:spPr bwMode="auto">
              <a:xfrm>
                <a:off x="7062788" y="5221288"/>
                <a:ext cx="187325" cy="53975"/>
              </a:xfrm>
              <a:custGeom>
                <a:avLst/>
                <a:gdLst>
                  <a:gd name="T0" fmla="*/ 0 w 106"/>
                  <a:gd name="T1" fmla="*/ 31 h 31"/>
                  <a:gd name="T2" fmla="*/ 5 w 106"/>
                  <a:gd name="T3" fmla="*/ 31 h 31"/>
                  <a:gd name="T4" fmla="*/ 42 w 106"/>
                  <a:gd name="T5" fmla="*/ 0 h 31"/>
                  <a:gd name="T6" fmla="*/ 77 w 106"/>
                  <a:gd name="T7" fmla="*/ 31 h 31"/>
                  <a:gd name="T8" fmla="*/ 106 w 106"/>
                  <a:gd name="T9" fmla="*/ 0 h 31"/>
                  <a:gd name="T10" fmla="*/ 20 w 106"/>
                  <a:gd name="T11" fmla="*/ 0 h 31"/>
                  <a:gd name="T12" fmla="*/ 27 w 106"/>
                  <a:gd name="T13" fmla="*/ 0 h 31"/>
                  <a:gd name="T14" fmla="*/ 0 w 106"/>
                  <a:gd name="T15" fmla="*/ 0 h 31"/>
                  <a:gd name="T16" fmla="*/ 0 w 106"/>
                  <a:gd name="T17" fmla="*/ 31 h 31"/>
                  <a:gd name="T18" fmla="*/ 0 w 106"/>
                  <a:gd name="T19" fmla="*/ 31 h 31"/>
                  <a:gd name="T20" fmla="*/ 0 w 106"/>
                  <a:gd name="T21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6" h="31">
                    <a:moveTo>
                      <a:pt x="0" y="31"/>
                    </a:moveTo>
                    <a:lnTo>
                      <a:pt x="5" y="31"/>
                    </a:lnTo>
                    <a:lnTo>
                      <a:pt x="42" y="0"/>
                    </a:lnTo>
                    <a:lnTo>
                      <a:pt x="77" y="31"/>
                    </a:lnTo>
                    <a:lnTo>
                      <a:pt x="106" y="0"/>
                    </a:lnTo>
                    <a:lnTo>
                      <a:pt x="20" y="0"/>
                    </a:lnTo>
                    <a:lnTo>
                      <a:pt x="27" y="0"/>
                    </a:lnTo>
                    <a:lnTo>
                      <a:pt x="0" y="0"/>
                    </a:lnTo>
                    <a:lnTo>
                      <a:pt x="0" y="31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01" name="Freeform 235"/>
              <p:cNvSpPr>
                <a:spLocks/>
              </p:cNvSpPr>
              <p:nvPr/>
            </p:nvSpPr>
            <p:spPr bwMode="auto">
              <a:xfrm>
                <a:off x="7126288" y="5259388"/>
                <a:ext cx="47625" cy="47625"/>
              </a:xfrm>
              <a:custGeom>
                <a:avLst/>
                <a:gdLst>
                  <a:gd name="T0" fmla="*/ 0 w 27"/>
                  <a:gd name="T1" fmla="*/ 0 h 28"/>
                  <a:gd name="T2" fmla="*/ 14 w 27"/>
                  <a:gd name="T3" fmla="*/ 28 h 28"/>
                  <a:gd name="T4" fmla="*/ 27 w 27"/>
                  <a:gd name="T5" fmla="*/ 28 h 28"/>
                  <a:gd name="T6" fmla="*/ 14 w 27"/>
                  <a:gd name="T7" fmla="*/ 0 h 28"/>
                  <a:gd name="T8" fmla="*/ 0 w 27"/>
                  <a:gd name="T9" fmla="*/ 0 h 28"/>
                  <a:gd name="T10" fmla="*/ 0 w 27"/>
                  <a:gd name="T11" fmla="*/ 0 h 28"/>
                  <a:gd name="T12" fmla="*/ 0 w 27"/>
                  <a:gd name="T13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" h="28">
                    <a:moveTo>
                      <a:pt x="0" y="0"/>
                    </a:moveTo>
                    <a:lnTo>
                      <a:pt x="14" y="28"/>
                    </a:lnTo>
                    <a:lnTo>
                      <a:pt x="27" y="28"/>
                    </a:lnTo>
                    <a:lnTo>
                      <a:pt x="14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02" name="Freeform 236"/>
              <p:cNvSpPr>
                <a:spLocks/>
              </p:cNvSpPr>
              <p:nvPr/>
            </p:nvSpPr>
            <p:spPr bwMode="auto">
              <a:xfrm>
                <a:off x="7229475" y="5221288"/>
                <a:ext cx="95250" cy="53975"/>
              </a:xfrm>
              <a:custGeom>
                <a:avLst/>
                <a:gdLst>
                  <a:gd name="T0" fmla="*/ 0 w 55"/>
                  <a:gd name="T1" fmla="*/ 31 h 31"/>
                  <a:gd name="T2" fmla="*/ 22 w 55"/>
                  <a:gd name="T3" fmla="*/ 31 h 31"/>
                  <a:gd name="T4" fmla="*/ 55 w 55"/>
                  <a:gd name="T5" fmla="*/ 0 h 31"/>
                  <a:gd name="T6" fmla="*/ 30 w 55"/>
                  <a:gd name="T7" fmla="*/ 0 h 31"/>
                  <a:gd name="T8" fmla="*/ 15 w 55"/>
                  <a:gd name="T9" fmla="*/ 22 h 31"/>
                  <a:gd name="T10" fmla="*/ 0 w 55"/>
                  <a:gd name="T11" fmla="*/ 31 h 31"/>
                  <a:gd name="T12" fmla="*/ 0 w 55"/>
                  <a:gd name="T13" fmla="*/ 31 h 31"/>
                  <a:gd name="T14" fmla="*/ 0 w 55"/>
                  <a:gd name="T1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5" h="31">
                    <a:moveTo>
                      <a:pt x="0" y="31"/>
                    </a:moveTo>
                    <a:lnTo>
                      <a:pt x="22" y="31"/>
                    </a:lnTo>
                    <a:lnTo>
                      <a:pt x="55" y="0"/>
                    </a:lnTo>
                    <a:lnTo>
                      <a:pt x="30" y="0"/>
                    </a:lnTo>
                    <a:lnTo>
                      <a:pt x="15" y="22"/>
                    </a:lnTo>
                    <a:lnTo>
                      <a:pt x="0" y="31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03" name="Freeform 237"/>
              <p:cNvSpPr>
                <a:spLocks/>
              </p:cNvSpPr>
              <p:nvPr/>
            </p:nvSpPr>
            <p:spPr bwMode="auto">
              <a:xfrm>
                <a:off x="6813550" y="5049838"/>
                <a:ext cx="44450" cy="46037"/>
              </a:xfrm>
              <a:custGeom>
                <a:avLst/>
                <a:gdLst>
                  <a:gd name="T0" fmla="*/ 0 w 25"/>
                  <a:gd name="T1" fmla="*/ 10 h 27"/>
                  <a:gd name="T2" fmla="*/ 25 w 25"/>
                  <a:gd name="T3" fmla="*/ 27 h 27"/>
                  <a:gd name="T4" fmla="*/ 25 w 25"/>
                  <a:gd name="T5" fmla="*/ 20 h 27"/>
                  <a:gd name="T6" fmla="*/ 13 w 25"/>
                  <a:gd name="T7" fmla="*/ 0 h 27"/>
                  <a:gd name="T8" fmla="*/ 0 w 25"/>
                  <a:gd name="T9" fmla="*/ 10 h 27"/>
                  <a:gd name="T10" fmla="*/ 0 w 25"/>
                  <a:gd name="T11" fmla="*/ 10 h 27"/>
                  <a:gd name="T12" fmla="*/ 0 w 25"/>
                  <a:gd name="T13" fmla="*/ 1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" h="27">
                    <a:moveTo>
                      <a:pt x="0" y="10"/>
                    </a:moveTo>
                    <a:lnTo>
                      <a:pt x="25" y="27"/>
                    </a:lnTo>
                    <a:lnTo>
                      <a:pt x="25" y="20"/>
                    </a:lnTo>
                    <a:lnTo>
                      <a:pt x="13" y="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04" name="Freeform 238"/>
              <p:cNvSpPr>
                <a:spLocks/>
              </p:cNvSpPr>
              <p:nvPr/>
            </p:nvSpPr>
            <p:spPr bwMode="auto">
              <a:xfrm>
                <a:off x="6862763" y="5110163"/>
                <a:ext cx="28575" cy="30162"/>
              </a:xfrm>
              <a:custGeom>
                <a:avLst/>
                <a:gdLst>
                  <a:gd name="T0" fmla="*/ 0 w 15"/>
                  <a:gd name="T1" fmla="*/ 0 h 17"/>
                  <a:gd name="T2" fmla="*/ 0 w 15"/>
                  <a:gd name="T3" fmla="*/ 17 h 17"/>
                  <a:gd name="T4" fmla="*/ 15 w 15"/>
                  <a:gd name="T5" fmla="*/ 17 h 17"/>
                  <a:gd name="T6" fmla="*/ 15 w 15"/>
                  <a:gd name="T7" fmla="*/ 0 h 17"/>
                  <a:gd name="T8" fmla="*/ 0 w 15"/>
                  <a:gd name="T9" fmla="*/ 0 h 17"/>
                  <a:gd name="T10" fmla="*/ 0 w 15"/>
                  <a:gd name="T11" fmla="*/ 0 h 17"/>
                  <a:gd name="T12" fmla="*/ 0 w 15"/>
                  <a:gd name="T13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5" h="17">
                    <a:moveTo>
                      <a:pt x="0" y="0"/>
                    </a:moveTo>
                    <a:lnTo>
                      <a:pt x="0" y="17"/>
                    </a:lnTo>
                    <a:lnTo>
                      <a:pt x="15" y="17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05" name="Freeform 239"/>
              <p:cNvSpPr>
                <a:spLocks/>
              </p:cNvSpPr>
              <p:nvPr/>
            </p:nvSpPr>
            <p:spPr bwMode="auto">
              <a:xfrm>
                <a:off x="6861175" y="5092700"/>
                <a:ext cx="28575" cy="25400"/>
              </a:xfrm>
              <a:custGeom>
                <a:avLst/>
                <a:gdLst>
                  <a:gd name="T0" fmla="*/ 0 w 15"/>
                  <a:gd name="T1" fmla="*/ 0 h 14"/>
                  <a:gd name="T2" fmla="*/ 0 w 15"/>
                  <a:gd name="T3" fmla="*/ 14 h 14"/>
                  <a:gd name="T4" fmla="*/ 15 w 15"/>
                  <a:gd name="T5" fmla="*/ 14 h 14"/>
                  <a:gd name="T6" fmla="*/ 15 w 15"/>
                  <a:gd name="T7" fmla="*/ 0 h 14"/>
                  <a:gd name="T8" fmla="*/ 0 w 15"/>
                  <a:gd name="T9" fmla="*/ 0 h 14"/>
                  <a:gd name="T10" fmla="*/ 0 w 15"/>
                  <a:gd name="T11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14">
                    <a:moveTo>
                      <a:pt x="0" y="0"/>
                    </a:moveTo>
                    <a:lnTo>
                      <a:pt x="0" y="14"/>
                    </a:lnTo>
                    <a:lnTo>
                      <a:pt x="15" y="14"/>
                    </a:lnTo>
                    <a:lnTo>
                      <a:pt x="15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06" name="Freeform 240"/>
              <p:cNvSpPr>
                <a:spLocks/>
              </p:cNvSpPr>
              <p:nvPr/>
            </p:nvSpPr>
            <p:spPr bwMode="auto">
              <a:xfrm>
                <a:off x="7126288" y="4970463"/>
                <a:ext cx="149225" cy="187325"/>
              </a:xfrm>
              <a:custGeom>
                <a:avLst/>
                <a:gdLst>
                  <a:gd name="T0" fmla="*/ 0 w 86"/>
                  <a:gd name="T1" fmla="*/ 62 h 107"/>
                  <a:gd name="T2" fmla="*/ 0 w 86"/>
                  <a:gd name="T3" fmla="*/ 69 h 107"/>
                  <a:gd name="T4" fmla="*/ 7 w 86"/>
                  <a:gd name="T5" fmla="*/ 69 h 107"/>
                  <a:gd name="T6" fmla="*/ 7 w 86"/>
                  <a:gd name="T7" fmla="*/ 107 h 107"/>
                  <a:gd name="T8" fmla="*/ 14 w 86"/>
                  <a:gd name="T9" fmla="*/ 101 h 107"/>
                  <a:gd name="T10" fmla="*/ 14 w 86"/>
                  <a:gd name="T11" fmla="*/ 69 h 107"/>
                  <a:gd name="T12" fmla="*/ 27 w 86"/>
                  <a:gd name="T13" fmla="*/ 62 h 107"/>
                  <a:gd name="T14" fmla="*/ 34 w 86"/>
                  <a:gd name="T15" fmla="*/ 62 h 107"/>
                  <a:gd name="T16" fmla="*/ 27 w 86"/>
                  <a:gd name="T17" fmla="*/ 69 h 107"/>
                  <a:gd name="T18" fmla="*/ 34 w 86"/>
                  <a:gd name="T19" fmla="*/ 86 h 107"/>
                  <a:gd name="T20" fmla="*/ 34 w 86"/>
                  <a:gd name="T21" fmla="*/ 92 h 107"/>
                  <a:gd name="T22" fmla="*/ 49 w 86"/>
                  <a:gd name="T23" fmla="*/ 92 h 107"/>
                  <a:gd name="T24" fmla="*/ 49 w 86"/>
                  <a:gd name="T25" fmla="*/ 107 h 107"/>
                  <a:gd name="T26" fmla="*/ 56 w 86"/>
                  <a:gd name="T27" fmla="*/ 101 h 107"/>
                  <a:gd name="T28" fmla="*/ 56 w 86"/>
                  <a:gd name="T29" fmla="*/ 92 h 107"/>
                  <a:gd name="T30" fmla="*/ 42 w 86"/>
                  <a:gd name="T31" fmla="*/ 69 h 107"/>
                  <a:gd name="T32" fmla="*/ 49 w 86"/>
                  <a:gd name="T33" fmla="*/ 69 h 107"/>
                  <a:gd name="T34" fmla="*/ 34 w 86"/>
                  <a:gd name="T35" fmla="*/ 55 h 107"/>
                  <a:gd name="T36" fmla="*/ 49 w 86"/>
                  <a:gd name="T37" fmla="*/ 38 h 107"/>
                  <a:gd name="T38" fmla="*/ 56 w 86"/>
                  <a:gd name="T39" fmla="*/ 38 h 107"/>
                  <a:gd name="T40" fmla="*/ 27 w 86"/>
                  <a:gd name="T41" fmla="*/ 47 h 107"/>
                  <a:gd name="T42" fmla="*/ 14 w 86"/>
                  <a:gd name="T43" fmla="*/ 38 h 107"/>
                  <a:gd name="T44" fmla="*/ 14 w 86"/>
                  <a:gd name="T45" fmla="*/ 25 h 107"/>
                  <a:gd name="T46" fmla="*/ 27 w 86"/>
                  <a:gd name="T47" fmla="*/ 15 h 107"/>
                  <a:gd name="T48" fmla="*/ 77 w 86"/>
                  <a:gd name="T49" fmla="*/ 15 h 107"/>
                  <a:gd name="T50" fmla="*/ 86 w 86"/>
                  <a:gd name="T51" fmla="*/ 0 h 107"/>
                  <a:gd name="T52" fmla="*/ 49 w 86"/>
                  <a:gd name="T53" fmla="*/ 15 h 107"/>
                  <a:gd name="T54" fmla="*/ 27 w 86"/>
                  <a:gd name="T55" fmla="*/ 8 h 107"/>
                  <a:gd name="T56" fmla="*/ 27 w 86"/>
                  <a:gd name="T57" fmla="*/ 15 h 107"/>
                  <a:gd name="T58" fmla="*/ 14 w 86"/>
                  <a:gd name="T59" fmla="*/ 15 h 107"/>
                  <a:gd name="T60" fmla="*/ 14 w 86"/>
                  <a:gd name="T61" fmla="*/ 38 h 107"/>
                  <a:gd name="T62" fmla="*/ 0 w 86"/>
                  <a:gd name="T63" fmla="*/ 62 h 107"/>
                  <a:gd name="T64" fmla="*/ 0 w 86"/>
                  <a:gd name="T65" fmla="*/ 62 h 107"/>
                  <a:gd name="T66" fmla="*/ 0 w 86"/>
                  <a:gd name="T67" fmla="*/ 62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6" h="107">
                    <a:moveTo>
                      <a:pt x="0" y="62"/>
                    </a:moveTo>
                    <a:lnTo>
                      <a:pt x="0" y="69"/>
                    </a:lnTo>
                    <a:lnTo>
                      <a:pt x="7" y="69"/>
                    </a:lnTo>
                    <a:lnTo>
                      <a:pt x="7" y="107"/>
                    </a:lnTo>
                    <a:lnTo>
                      <a:pt x="14" y="101"/>
                    </a:lnTo>
                    <a:lnTo>
                      <a:pt x="14" y="69"/>
                    </a:lnTo>
                    <a:lnTo>
                      <a:pt x="27" y="62"/>
                    </a:lnTo>
                    <a:lnTo>
                      <a:pt x="34" y="62"/>
                    </a:lnTo>
                    <a:lnTo>
                      <a:pt x="27" y="69"/>
                    </a:lnTo>
                    <a:lnTo>
                      <a:pt x="34" y="86"/>
                    </a:lnTo>
                    <a:lnTo>
                      <a:pt x="34" y="92"/>
                    </a:lnTo>
                    <a:lnTo>
                      <a:pt x="49" y="92"/>
                    </a:lnTo>
                    <a:lnTo>
                      <a:pt x="49" y="107"/>
                    </a:lnTo>
                    <a:lnTo>
                      <a:pt x="56" y="101"/>
                    </a:lnTo>
                    <a:lnTo>
                      <a:pt x="56" y="92"/>
                    </a:lnTo>
                    <a:lnTo>
                      <a:pt x="42" y="69"/>
                    </a:lnTo>
                    <a:lnTo>
                      <a:pt x="49" y="69"/>
                    </a:lnTo>
                    <a:lnTo>
                      <a:pt x="34" y="55"/>
                    </a:lnTo>
                    <a:lnTo>
                      <a:pt x="49" y="38"/>
                    </a:lnTo>
                    <a:lnTo>
                      <a:pt x="56" y="38"/>
                    </a:lnTo>
                    <a:lnTo>
                      <a:pt x="27" y="47"/>
                    </a:lnTo>
                    <a:lnTo>
                      <a:pt x="14" y="38"/>
                    </a:lnTo>
                    <a:lnTo>
                      <a:pt x="14" y="25"/>
                    </a:lnTo>
                    <a:lnTo>
                      <a:pt x="27" y="15"/>
                    </a:lnTo>
                    <a:lnTo>
                      <a:pt x="77" y="15"/>
                    </a:lnTo>
                    <a:lnTo>
                      <a:pt x="86" y="0"/>
                    </a:lnTo>
                    <a:lnTo>
                      <a:pt x="49" y="15"/>
                    </a:lnTo>
                    <a:lnTo>
                      <a:pt x="27" y="8"/>
                    </a:lnTo>
                    <a:lnTo>
                      <a:pt x="27" y="15"/>
                    </a:lnTo>
                    <a:lnTo>
                      <a:pt x="14" y="15"/>
                    </a:lnTo>
                    <a:lnTo>
                      <a:pt x="14" y="38"/>
                    </a:lnTo>
                    <a:lnTo>
                      <a:pt x="0" y="62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07" name="Freeform 241"/>
              <p:cNvSpPr>
                <a:spLocks/>
              </p:cNvSpPr>
              <p:nvPr/>
            </p:nvSpPr>
            <p:spPr bwMode="auto">
              <a:xfrm>
                <a:off x="7324725" y="4956175"/>
                <a:ext cx="42863" cy="80963"/>
              </a:xfrm>
              <a:custGeom>
                <a:avLst/>
                <a:gdLst>
                  <a:gd name="T0" fmla="*/ 0 w 24"/>
                  <a:gd name="T1" fmla="*/ 17 h 47"/>
                  <a:gd name="T2" fmla="*/ 9 w 24"/>
                  <a:gd name="T3" fmla="*/ 32 h 47"/>
                  <a:gd name="T4" fmla="*/ 24 w 24"/>
                  <a:gd name="T5" fmla="*/ 47 h 47"/>
                  <a:gd name="T6" fmla="*/ 9 w 24"/>
                  <a:gd name="T7" fmla="*/ 32 h 47"/>
                  <a:gd name="T8" fmla="*/ 9 w 24"/>
                  <a:gd name="T9" fmla="*/ 26 h 47"/>
                  <a:gd name="T10" fmla="*/ 24 w 24"/>
                  <a:gd name="T11" fmla="*/ 26 h 47"/>
                  <a:gd name="T12" fmla="*/ 24 w 24"/>
                  <a:gd name="T13" fmla="*/ 7 h 47"/>
                  <a:gd name="T14" fmla="*/ 24 w 24"/>
                  <a:gd name="T15" fmla="*/ 17 h 47"/>
                  <a:gd name="T16" fmla="*/ 9 w 24"/>
                  <a:gd name="T17" fmla="*/ 0 h 47"/>
                  <a:gd name="T18" fmla="*/ 0 w 24"/>
                  <a:gd name="T19" fmla="*/ 17 h 47"/>
                  <a:gd name="T20" fmla="*/ 0 w 24"/>
                  <a:gd name="T21" fmla="*/ 17 h 47"/>
                  <a:gd name="T22" fmla="*/ 0 w 24"/>
                  <a:gd name="T23" fmla="*/ 1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4" h="47">
                    <a:moveTo>
                      <a:pt x="0" y="17"/>
                    </a:moveTo>
                    <a:lnTo>
                      <a:pt x="9" y="32"/>
                    </a:lnTo>
                    <a:lnTo>
                      <a:pt x="24" y="47"/>
                    </a:lnTo>
                    <a:lnTo>
                      <a:pt x="9" y="32"/>
                    </a:lnTo>
                    <a:lnTo>
                      <a:pt x="9" y="26"/>
                    </a:lnTo>
                    <a:lnTo>
                      <a:pt x="24" y="26"/>
                    </a:lnTo>
                    <a:lnTo>
                      <a:pt x="24" y="7"/>
                    </a:lnTo>
                    <a:lnTo>
                      <a:pt x="24" y="17"/>
                    </a:lnTo>
                    <a:lnTo>
                      <a:pt x="9" y="0"/>
                    </a:lnTo>
                    <a:lnTo>
                      <a:pt x="0" y="17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08" name="Freeform 242"/>
              <p:cNvSpPr>
                <a:spLocks/>
              </p:cNvSpPr>
              <p:nvPr/>
            </p:nvSpPr>
            <p:spPr bwMode="auto">
              <a:xfrm>
                <a:off x="7289800" y="5091113"/>
                <a:ext cx="39688" cy="44450"/>
              </a:xfrm>
              <a:custGeom>
                <a:avLst/>
                <a:gdLst>
                  <a:gd name="T0" fmla="*/ 0 w 22"/>
                  <a:gd name="T1" fmla="*/ 0 h 25"/>
                  <a:gd name="T2" fmla="*/ 22 w 22"/>
                  <a:gd name="T3" fmla="*/ 25 h 25"/>
                  <a:gd name="T4" fmla="*/ 22 w 22"/>
                  <a:gd name="T5" fmla="*/ 0 h 25"/>
                  <a:gd name="T6" fmla="*/ 0 w 22"/>
                  <a:gd name="T7" fmla="*/ 0 h 25"/>
                  <a:gd name="T8" fmla="*/ 0 w 22"/>
                  <a:gd name="T9" fmla="*/ 0 h 25"/>
                  <a:gd name="T10" fmla="*/ 0 w 22"/>
                  <a:gd name="T11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25">
                    <a:moveTo>
                      <a:pt x="0" y="0"/>
                    </a:moveTo>
                    <a:lnTo>
                      <a:pt x="22" y="25"/>
                    </a:lnTo>
                    <a:lnTo>
                      <a:pt x="2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09" name="Freeform 243"/>
              <p:cNvSpPr>
                <a:spLocks/>
              </p:cNvSpPr>
              <p:nvPr/>
            </p:nvSpPr>
            <p:spPr bwMode="auto">
              <a:xfrm>
                <a:off x="7332663" y="5075238"/>
                <a:ext cx="79375" cy="50800"/>
              </a:xfrm>
              <a:custGeom>
                <a:avLst/>
                <a:gdLst>
                  <a:gd name="T0" fmla="*/ 0 w 45"/>
                  <a:gd name="T1" fmla="*/ 9 h 29"/>
                  <a:gd name="T2" fmla="*/ 45 w 45"/>
                  <a:gd name="T3" fmla="*/ 29 h 29"/>
                  <a:gd name="T4" fmla="*/ 21 w 45"/>
                  <a:gd name="T5" fmla="*/ 0 h 29"/>
                  <a:gd name="T6" fmla="*/ 8 w 45"/>
                  <a:gd name="T7" fmla="*/ 0 h 29"/>
                  <a:gd name="T8" fmla="*/ 0 w 45"/>
                  <a:gd name="T9" fmla="*/ 9 h 29"/>
                  <a:gd name="T10" fmla="*/ 0 w 45"/>
                  <a:gd name="T11" fmla="*/ 9 h 29"/>
                  <a:gd name="T12" fmla="*/ 0 w 45"/>
                  <a:gd name="T13" fmla="*/ 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5" h="29">
                    <a:moveTo>
                      <a:pt x="0" y="9"/>
                    </a:moveTo>
                    <a:lnTo>
                      <a:pt x="45" y="29"/>
                    </a:lnTo>
                    <a:lnTo>
                      <a:pt x="21" y="0"/>
                    </a:lnTo>
                    <a:lnTo>
                      <a:pt x="8" y="0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10" name="Freeform 244"/>
              <p:cNvSpPr>
                <a:spLocks/>
              </p:cNvSpPr>
              <p:nvPr/>
            </p:nvSpPr>
            <p:spPr bwMode="auto">
              <a:xfrm>
                <a:off x="7151688" y="4540250"/>
                <a:ext cx="98425" cy="130175"/>
              </a:xfrm>
              <a:custGeom>
                <a:avLst/>
                <a:gdLst>
                  <a:gd name="T0" fmla="*/ 0 w 56"/>
                  <a:gd name="T1" fmla="*/ 31 h 74"/>
                  <a:gd name="T2" fmla="*/ 0 w 56"/>
                  <a:gd name="T3" fmla="*/ 51 h 74"/>
                  <a:gd name="T4" fmla="*/ 12 w 56"/>
                  <a:gd name="T5" fmla="*/ 58 h 74"/>
                  <a:gd name="T6" fmla="*/ 12 w 56"/>
                  <a:gd name="T7" fmla="*/ 68 h 74"/>
                  <a:gd name="T8" fmla="*/ 29 w 56"/>
                  <a:gd name="T9" fmla="*/ 68 h 74"/>
                  <a:gd name="T10" fmla="*/ 34 w 56"/>
                  <a:gd name="T11" fmla="*/ 74 h 74"/>
                  <a:gd name="T12" fmla="*/ 34 w 56"/>
                  <a:gd name="T13" fmla="*/ 68 h 74"/>
                  <a:gd name="T14" fmla="*/ 41 w 56"/>
                  <a:gd name="T15" fmla="*/ 74 h 74"/>
                  <a:gd name="T16" fmla="*/ 56 w 56"/>
                  <a:gd name="T17" fmla="*/ 74 h 74"/>
                  <a:gd name="T18" fmla="*/ 41 w 56"/>
                  <a:gd name="T19" fmla="*/ 68 h 74"/>
                  <a:gd name="T20" fmla="*/ 56 w 56"/>
                  <a:gd name="T21" fmla="*/ 68 h 74"/>
                  <a:gd name="T22" fmla="*/ 34 w 56"/>
                  <a:gd name="T23" fmla="*/ 58 h 74"/>
                  <a:gd name="T24" fmla="*/ 29 w 56"/>
                  <a:gd name="T25" fmla="*/ 68 h 74"/>
                  <a:gd name="T26" fmla="*/ 19 w 56"/>
                  <a:gd name="T27" fmla="*/ 51 h 74"/>
                  <a:gd name="T28" fmla="*/ 34 w 56"/>
                  <a:gd name="T29" fmla="*/ 21 h 74"/>
                  <a:gd name="T30" fmla="*/ 29 w 56"/>
                  <a:gd name="T31" fmla="*/ 14 h 74"/>
                  <a:gd name="T32" fmla="*/ 34 w 56"/>
                  <a:gd name="T33" fmla="*/ 0 h 74"/>
                  <a:gd name="T34" fmla="*/ 29 w 56"/>
                  <a:gd name="T35" fmla="*/ 5 h 74"/>
                  <a:gd name="T36" fmla="*/ 12 w 56"/>
                  <a:gd name="T37" fmla="*/ 0 h 74"/>
                  <a:gd name="T38" fmla="*/ 0 w 56"/>
                  <a:gd name="T39" fmla="*/ 31 h 74"/>
                  <a:gd name="T40" fmla="*/ 0 w 56"/>
                  <a:gd name="T41" fmla="*/ 31 h 74"/>
                  <a:gd name="T42" fmla="*/ 0 w 56"/>
                  <a:gd name="T43" fmla="*/ 31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6" h="74">
                    <a:moveTo>
                      <a:pt x="0" y="31"/>
                    </a:moveTo>
                    <a:lnTo>
                      <a:pt x="0" y="51"/>
                    </a:lnTo>
                    <a:lnTo>
                      <a:pt x="12" y="58"/>
                    </a:lnTo>
                    <a:lnTo>
                      <a:pt x="12" y="68"/>
                    </a:lnTo>
                    <a:lnTo>
                      <a:pt x="29" y="68"/>
                    </a:lnTo>
                    <a:lnTo>
                      <a:pt x="34" y="74"/>
                    </a:lnTo>
                    <a:lnTo>
                      <a:pt x="34" y="68"/>
                    </a:lnTo>
                    <a:lnTo>
                      <a:pt x="41" y="74"/>
                    </a:lnTo>
                    <a:lnTo>
                      <a:pt x="56" y="74"/>
                    </a:lnTo>
                    <a:lnTo>
                      <a:pt x="41" y="68"/>
                    </a:lnTo>
                    <a:lnTo>
                      <a:pt x="56" y="68"/>
                    </a:lnTo>
                    <a:lnTo>
                      <a:pt x="34" y="58"/>
                    </a:lnTo>
                    <a:lnTo>
                      <a:pt x="29" y="68"/>
                    </a:lnTo>
                    <a:lnTo>
                      <a:pt x="19" y="51"/>
                    </a:lnTo>
                    <a:lnTo>
                      <a:pt x="34" y="21"/>
                    </a:lnTo>
                    <a:lnTo>
                      <a:pt x="29" y="14"/>
                    </a:lnTo>
                    <a:lnTo>
                      <a:pt x="34" y="0"/>
                    </a:lnTo>
                    <a:lnTo>
                      <a:pt x="29" y="5"/>
                    </a:lnTo>
                    <a:lnTo>
                      <a:pt x="12" y="0"/>
                    </a:lnTo>
                    <a:lnTo>
                      <a:pt x="0" y="31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11" name="Freeform 245"/>
              <p:cNvSpPr>
                <a:spLocks/>
              </p:cNvSpPr>
              <p:nvPr/>
            </p:nvSpPr>
            <p:spPr bwMode="auto">
              <a:xfrm>
                <a:off x="7075488" y="4724400"/>
                <a:ext cx="66675" cy="74613"/>
              </a:xfrm>
              <a:custGeom>
                <a:avLst/>
                <a:gdLst>
                  <a:gd name="T0" fmla="*/ 0 w 37"/>
                  <a:gd name="T1" fmla="*/ 43 h 43"/>
                  <a:gd name="T2" fmla="*/ 37 w 37"/>
                  <a:gd name="T3" fmla="*/ 13 h 43"/>
                  <a:gd name="T4" fmla="*/ 37 w 37"/>
                  <a:gd name="T5" fmla="*/ 0 h 43"/>
                  <a:gd name="T6" fmla="*/ 0 w 37"/>
                  <a:gd name="T7" fmla="*/ 43 h 43"/>
                  <a:gd name="T8" fmla="*/ 0 w 37"/>
                  <a:gd name="T9" fmla="*/ 43 h 43"/>
                  <a:gd name="T10" fmla="*/ 0 w 37"/>
                  <a:gd name="T11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43">
                    <a:moveTo>
                      <a:pt x="0" y="43"/>
                    </a:moveTo>
                    <a:lnTo>
                      <a:pt x="37" y="13"/>
                    </a:lnTo>
                    <a:lnTo>
                      <a:pt x="37" y="0"/>
                    </a:lnTo>
                    <a:lnTo>
                      <a:pt x="0" y="43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12" name="Freeform 246"/>
              <p:cNvSpPr>
                <a:spLocks/>
              </p:cNvSpPr>
              <p:nvPr/>
            </p:nvSpPr>
            <p:spPr bwMode="auto">
              <a:xfrm>
                <a:off x="7151688" y="4667250"/>
                <a:ext cx="38100" cy="47625"/>
              </a:xfrm>
              <a:custGeom>
                <a:avLst/>
                <a:gdLst>
                  <a:gd name="T0" fmla="*/ 0 w 22"/>
                  <a:gd name="T1" fmla="*/ 0 h 27"/>
                  <a:gd name="T2" fmla="*/ 22 w 22"/>
                  <a:gd name="T3" fmla="*/ 27 h 27"/>
                  <a:gd name="T4" fmla="*/ 22 w 22"/>
                  <a:gd name="T5" fmla="*/ 0 h 27"/>
                  <a:gd name="T6" fmla="*/ 0 w 22"/>
                  <a:gd name="T7" fmla="*/ 0 h 27"/>
                  <a:gd name="T8" fmla="*/ 0 w 22"/>
                  <a:gd name="T9" fmla="*/ 0 h 27"/>
                  <a:gd name="T10" fmla="*/ 0 w 22"/>
                  <a:gd name="T11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2" h="27">
                    <a:moveTo>
                      <a:pt x="0" y="0"/>
                    </a:moveTo>
                    <a:lnTo>
                      <a:pt x="22" y="27"/>
                    </a:lnTo>
                    <a:lnTo>
                      <a:pt x="2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13" name="Freeform 247"/>
              <p:cNvSpPr>
                <a:spLocks/>
              </p:cNvSpPr>
              <p:nvPr/>
            </p:nvSpPr>
            <p:spPr bwMode="auto">
              <a:xfrm>
                <a:off x="7267575" y="4694238"/>
                <a:ext cx="38100" cy="60325"/>
              </a:xfrm>
              <a:custGeom>
                <a:avLst/>
                <a:gdLst>
                  <a:gd name="T0" fmla="*/ 0 w 22"/>
                  <a:gd name="T1" fmla="*/ 0 h 35"/>
                  <a:gd name="T2" fmla="*/ 13 w 22"/>
                  <a:gd name="T3" fmla="*/ 8 h 35"/>
                  <a:gd name="T4" fmla="*/ 0 w 22"/>
                  <a:gd name="T5" fmla="*/ 17 h 35"/>
                  <a:gd name="T6" fmla="*/ 0 w 22"/>
                  <a:gd name="T7" fmla="*/ 35 h 35"/>
                  <a:gd name="T8" fmla="*/ 13 w 22"/>
                  <a:gd name="T9" fmla="*/ 35 h 35"/>
                  <a:gd name="T10" fmla="*/ 13 w 22"/>
                  <a:gd name="T11" fmla="*/ 17 h 35"/>
                  <a:gd name="T12" fmla="*/ 22 w 22"/>
                  <a:gd name="T13" fmla="*/ 17 h 35"/>
                  <a:gd name="T14" fmla="*/ 13 w 22"/>
                  <a:gd name="T15" fmla="*/ 8 h 35"/>
                  <a:gd name="T16" fmla="*/ 13 w 22"/>
                  <a:gd name="T17" fmla="*/ 0 h 35"/>
                  <a:gd name="T18" fmla="*/ 0 w 22"/>
                  <a:gd name="T19" fmla="*/ 0 h 35"/>
                  <a:gd name="T20" fmla="*/ 0 w 22"/>
                  <a:gd name="T21" fmla="*/ 0 h 35"/>
                  <a:gd name="T22" fmla="*/ 0 w 22"/>
                  <a:gd name="T23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" h="35">
                    <a:moveTo>
                      <a:pt x="0" y="0"/>
                    </a:moveTo>
                    <a:lnTo>
                      <a:pt x="13" y="8"/>
                    </a:lnTo>
                    <a:lnTo>
                      <a:pt x="0" y="17"/>
                    </a:lnTo>
                    <a:lnTo>
                      <a:pt x="0" y="35"/>
                    </a:lnTo>
                    <a:lnTo>
                      <a:pt x="13" y="35"/>
                    </a:lnTo>
                    <a:lnTo>
                      <a:pt x="13" y="17"/>
                    </a:lnTo>
                    <a:lnTo>
                      <a:pt x="22" y="17"/>
                    </a:lnTo>
                    <a:lnTo>
                      <a:pt x="13" y="8"/>
                    </a:lnTo>
                    <a:lnTo>
                      <a:pt x="13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14" name="Freeform 248"/>
              <p:cNvSpPr>
                <a:spLocks/>
              </p:cNvSpPr>
              <p:nvPr/>
            </p:nvSpPr>
            <p:spPr bwMode="auto">
              <a:xfrm>
                <a:off x="7202488" y="4708525"/>
                <a:ext cx="65087" cy="76200"/>
              </a:xfrm>
              <a:custGeom>
                <a:avLst/>
                <a:gdLst>
                  <a:gd name="T0" fmla="*/ 0 w 37"/>
                  <a:gd name="T1" fmla="*/ 20 h 44"/>
                  <a:gd name="T2" fmla="*/ 8 w 37"/>
                  <a:gd name="T3" fmla="*/ 20 h 44"/>
                  <a:gd name="T4" fmla="*/ 8 w 37"/>
                  <a:gd name="T5" fmla="*/ 29 h 44"/>
                  <a:gd name="T6" fmla="*/ 15 w 37"/>
                  <a:gd name="T7" fmla="*/ 44 h 44"/>
                  <a:gd name="T8" fmla="*/ 15 w 37"/>
                  <a:gd name="T9" fmla="*/ 29 h 44"/>
                  <a:gd name="T10" fmla="*/ 37 w 37"/>
                  <a:gd name="T11" fmla="*/ 37 h 44"/>
                  <a:gd name="T12" fmla="*/ 37 w 37"/>
                  <a:gd name="T13" fmla="*/ 29 h 44"/>
                  <a:gd name="T14" fmla="*/ 30 w 37"/>
                  <a:gd name="T15" fmla="*/ 29 h 44"/>
                  <a:gd name="T16" fmla="*/ 30 w 37"/>
                  <a:gd name="T17" fmla="*/ 7 h 44"/>
                  <a:gd name="T18" fmla="*/ 15 w 37"/>
                  <a:gd name="T19" fmla="*/ 20 h 44"/>
                  <a:gd name="T20" fmla="*/ 15 w 37"/>
                  <a:gd name="T21" fmla="*/ 7 h 44"/>
                  <a:gd name="T22" fmla="*/ 8 w 37"/>
                  <a:gd name="T23" fmla="*/ 0 h 44"/>
                  <a:gd name="T24" fmla="*/ 0 w 37"/>
                  <a:gd name="T25" fmla="*/ 0 h 44"/>
                  <a:gd name="T26" fmla="*/ 0 w 37"/>
                  <a:gd name="T27" fmla="*/ 20 h 44"/>
                  <a:gd name="T28" fmla="*/ 0 w 37"/>
                  <a:gd name="T29" fmla="*/ 20 h 44"/>
                  <a:gd name="T30" fmla="*/ 0 w 37"/>
                  <a:gd name="T31" fmla="*/ 2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7" h="44">
                    <a:moveTo>
                      <a:pt x="0" y="20"/>
                    </a:moveTo>
                    <a:lnTo>
                      <a:pt x="8" y="20"/>
                    </a:lnTo>
                    <a:lnTo>
                      <a:pt x="8" y="29"/>
                    </a:lnTo>
                    <a:lnTo>
                      <a:pt x="15" y="44"/>
                    </a:lnTo>
                    <a:lnTo>
                      <a:pt x="15" y="29"/>
                    </a:lnTo>
                    <a:lnTo>
                      <a:pt x="37" y="37"/>
                    </a:lnTo>
                    <a:lnTo>
                      <a:pt x="37" y="29"/>
                    </a:lnTo>
                    <a:lnTo>
                      <a:pt x="30" y="29"/>
                    </a:lnTo>
                    <a:lnTo>
                      <a:pt x="30" y="7"/>
                    </a:lnTo>
                    <a:lnTo>
                      <a:pt x="15" y="20"/>
                    </a:lnTo>
                    <a:lnTo>
                      <a:pt x="15" y="7"/>
                    </a:lnTo>
                    <a:lnTo>
                      <a:pt x="8" y="0"/>
                    </a:lnTo>
                    <a:lnTo>
                      <a:pt x="0" y="0"/>
                    </a:lnTo>
                    <a:lnTo>
                      <a:pt x="0" y="2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15" name="Freeform 249"/>
              <p:cNvSpPr>
                <a:spLocks/>
              </p:cNvSpPr>
              <p:nvPr/>
            </p:nvSpPr>
            <p:spPr bwMode="auto">
              <a:xfrm>
                <a:off x="7202488" y="4754563"/>
                <a:ext cx="100012" cy="117475"/>
              </a:xfrm>
              <a:custGeom>
                <a:avLst/>
                <a:gdLst>
                  <a:gd name="T0" fmla="*/ 0 w 57"/>
                  <a:gd name="T1" fmla="*/ 47 h 66"/>
                  <a:gd name="T2" fmla="*/ 7 w 57"/>
                  <a:gd name="T3" fmla="*/ 40 h 66"/>
                  <a:gd name="T4" fmla="*/ 33 w 57"/>
                  <a:gd name="T5" fmla="*/ 40 h 66"/>
                  <a:gd name="T6" fmla="*/ 28 w 57"/>
                  <a:gd name="T7" fmla="*/ 57 h 66"/>
                  <a:gd name="T8" fmla="*/ 43 w 57"/>
                  <a:gd name="T9" fmla="*/ 66 h 66"/>
                  <a:gd name="T10" fmla="*/ 48 w 57"/>
                  <a:gd name="T11" fmla="*/ 57 h 66"/>
                  <a:gd name="T12" fmla="*/ 43 w 57"/>
                  <a:gd name="T13" fmla="*/ 47 h 66"/>
                  <a:gd name="T14" fmla="*/ 48 w 57"/>
                  <a:gd name="T15" fmla="*/ 40 h 66"/>
                  <a:gd name="T16" fmla="*/ 57 w 57"/>
                  <a:gd name="T17" fmla="*/ 57 h 66"/>
                  <a:gd name="T18" fmla="*/ 57 w 57"/>
                  <a:gd name="T19" fmla="*/ 17 h 66"/>
                  <a:gd name="T20" fmla="*/ 43 w 57"/>
                  <a:gd name="T21" fmla="*/ 0 h 66"/>
                  <a:gd name="T22" fmla="*/ 43 w 57"/>
                  <a:gd name="T23" fmla="*/ 17 h 66"/>
                  <a:gd name="T24" fmla="*/ 33 w 57"/>
                  <a:gd name="T25" fmla="*/ 17 h 66"/>
                  <a:gd name="T26" fmla="*/ 28 w 57"/>
                  <a:gd name="T27" fmla="*/ 25 h 66"/>
                  <a:gd name="T28" fmla="*/ 13 w 57"/>
                  <a:gd name="T29" fmla="*/ 17 h 66"/>
                  <a:gd name="T30" fmla="*/ 0 w 57"/>
                  <a:gd name="T31" fmla="*/ 40 h 66"/>
                  <a:gd name="T32" fmla="*/ 0 w 57"/>
                  <a:gd name="T33" fmla="*/ 47 h 66"/>
                  <a:gd name="T34" fmla="*/ 0 w 57"/>
                  <a:gd name="T35" fmla="*/ 47 h 66"/>
                  <a:gd name="T36" fmla="*/ 0 w 57"/>
                  <a:gd name="T37" fmla="*/ 47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7" h="66">
                    <a:moveTo>
                      <a:pt x="0" y="47"/>
                    </a:moveTo>
                    <a:lnTo>
                      <a:pt x="7" y="40"/>
                    </a:lnTo>
                    <a:lnTo>
                      <a:pt x="33" y="40"/>
                    </a:lnTo>
                    <a:lnTo>
                      <a:pt x="28" y="57"/>
                    </a:lnTo>
                    <a:lnTo>
                      <a:pt x="43" y="66"/>
                    </a:lnTo>
                    <a:lnTo>
                      <a:pt x="48" y="57"/>
                    </a:lnTo>
                    <a:lnTo>
                      <a:pt x="43" y="47"/>
                    </a:lnTo>
                    <a:lnTo>
                      <a:pt x="48" y="40"/>
                    </a:lnTo>
                    <a:lnTo>
                      <a:pt x="57" y="57"/>
                    </a:lnTo>
                    <a:lnTo>
                      <a:pt x="57" y="17"/>
                    </a:lnTo>
                    <a:lnTo>
                      <a:pt x="43" y="0"/>
                    </a:lnTo>
                    <a:lnTo>
                      <a:pt x="43" y="17"/>
                    </a:lnTo>
                    <a:lnTo>
                      <a:pt x="33" y="17"/>
                    </a:lnTo>
                    <a:lnTo>
                      <a:pt x="28" y="25"/>
                    </a:lnTo>
                    <a:lnTo>
                      <a:pt x="13" y="17"/>
                    </a:lnTo>
                    <a:lnTo>
                      <a:pt x="0" y="40"/>
                    </a:lnTo>
                    <a:lnTo>
                      <a:pt x="0" y="47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16" name="Freeform 250"/>
              <p:cNvSpPr>
                <a:spLocks/>
              </p:cNvSpPr>
              <p:nvPr/>
            </p:nvSpPr>
            <p:spPr bwMode="auto">
              <a:xfrm>
                <a:off x="7813675" y="5113338"/>
                <a:ext cx="100013" cy="69850"/>
              </a:xfrm>
              <a:custGeom>
                <a:avLst/>
                <a:gdLst>
                  <a:gd name="T0" fmla="*/ 0 w 57"/>
                  <a:gd name="T1" fmla="*/ 19 h 40"/>
                  <a:gd name="T2" fmla="*/ 14 w 57"/>
                  <a:gd name="T3" fmla="*/ 40 h 40"/>
                  <a:gd name="T4" fmla="*/ 36 w 57"/>
                  <a:gd name="T5" fmla="*/ 40 h 40"/>
                  <a:gd name="T6" fmla="*/ 51 w 57"/>
                  <a:gd name="T7" fmla="*/ 24 h 40"/>
                  <a:gd name="T8" fmla="*/ 57 w 57"/>
                  <a:gd name="T9" fmla="*/ 10 h 40"/>
                  <a:gd name="T10" fmla="*/ 57 w 57"/>
                  <a:gd name="T11" fmla="*/ 0 h 40"/>
                  <a:gd name="T12" fmla="*/ 51 w 57"/>
                  <a:gd name="T13" fmla="*/ 0 h 40"/>
                  <a:gd name="T14" fmla="*/ 51 w 57"/>
                  <a:gd name="T15" fmla="*/ 19 h 40"/>
                  <a:gd name="T16" fmla="*/ 0 w 57"/>
                  <a:gd name="T17" fmla="*/ 19 h 40"/>
                  <a:gd name="T18" fmla="*/ 0 w 57"/>
                  <a:gd name="T19" fmla="*/ 19 h 40"/>
                  <a:gd name="T20" fmla="*/ 0 w 57"/>
                  <a:gd name="T21" fmla="*/ 19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7" h="40">
                    <a:moveTo>
                      <a:pt x="0" y="19"/>
                    </a:moveTo>
                    <a:lnTo>
                      <a:pt x="14" y="40"/>
                    </a:lnTo>
                    <a:lnTo>
                      <a:pt x="36" y="40"/>
                    </a:lnTo>
                    <a:lnTo>
                      <a:pt x="51" y="24"/>
                    </a:lnTo>
                    <a:lnTo>
                      <a:pt x="57" y="10"/>
                    </a:lnTo>
                    <a:lnTo>
                      <a:pt x="57" y="0"/>
                    </a:lnTo>
                    <a:lnTo>
                      <a:pt x="51" y="0"/>
                    </a:lnTo>
                    <a:lnTo>
                      <a:pt x="51" y="19"/>
                    </a:lnTo>
                    <a:lnTo>
                      <a:pt x="0" y="19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17" name="Freeform 251"/>
              <p:cNvSpPr>
                <a:spLocks/>
              </p:cNvSpPr>
              <p:nvPr/>
            </p:nvSpPr>
            <p:spPr bwMode="auto">
              <a:xfrm>
                <a:off x="7975600" y="5143500"/>
                <a:ext cx="42863" cy="50800"/>
              </a:xfrm>
              <a:custGeom>
                <a:avLst/>
                <a:gdLst>
                  <a:gd name="T0" fmla="*/ 0 w 23"/>
                  <a:gd name="T1" fmla="*/ 0 h 29"/>
                  <a:gd name="T2" fmla="*/ 6 w 23"/>
                  <a:gd name="T3" fmla="*/ 29 h 29"/>
                  <a:gd name="T4" fmla="*/ 23 w 23"/>
                  <a:gd name="T5" fmla="*/ 22 h 29"/>
                  <a:gd name="T6" fmla="*/ 0 w 23"/>
                  <a:gd name="T7" fmla="*/ 0 h 29"/>
                  <a:gd name="T8" fmla="*/ 0 w 23"/>
                  <a:gd name="T9" fmla="*/ 0 h 29"/>
                  <a:gd name="T10" fmla="*/ 0 w 23"/>
                  <a:gd name="T11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3" h="29">
                    <a:moveTo>
                      <a:pt x="0" y="0"/>
                    </a:moveTo>
                    <a:lnTo>
                      <a:pt x="6" y="29"/>
                    </a:lnTo>
                    <a:lnTo>
                      <a:pt x="23" y="2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18" name="Freeform 252"/>
              <p:cNvSpPr>
                <a:spLocks/>
              </p:cNvSpPr>
              <p:nvPr/>
            </p:nvSpPr>
            <p:spPr bwMode="auto">
              <a:xfrm>
                <a:off x="6065838" y="3408363"/>
                <a:ext cx="1433512" cy="1079500"/>
              </a:xfrm>
              <a:custGeom>
                <a:avLst/>
                <a:gdLst>
                  <a:gd name="T0" fmla="*/ 199 w 817"/>
                  <a:gd name="T1" fmla="*/ 126 h 618"/>
                  <a:gd name="T2" fmla="*/ 227 w 817"/>
                  <a:gd name="T3" fmla="*/ 179 h 618"/>
                  <a:gd name="T4" fmla="*/ 355 w 817"/>
                  <a:gd name="T5" fmla="*/ 225 h 618"/>
                  <a:gd name="T6" fmla="*/ 447 w 817"/>
                  <a:gd name="T7" fmla="*/ 232 h 618"/>
                  <a:gd name="T8" fmla="*/ 505 w 817"/>
                  <a:gd name="T9" fmla="*/ 201 h 618"/>
                  <a:gd name="T10" fmla="*/ 562 w 817"/>
                  <a:gd name="T11" fmla="*/ 171 h 618"/>
                  <a:gd name="T12" fmla="*/ 604 w 817"/>
                  <a:gd name="T13" fmla="*/ 132 h 618"/>
                  <a:gd name="T14" fmla="*/ 562 w 817"/>
                  <a:gd name="T15" fmla="*/ 132 h 618"/>
                  <a:gd name="T16" fmla="*/ 591 w 817"/>
                  <a:gd name="T17" fmla="*/ 89 h 618"/>
                  <a:gd name="T18" fmla="*/ 631 w 817"/>
                  <a:gd name="T19" fmla="*/ 28 h 618"/>
                  <a:gd name="T20" fmla="*/ 631 w 817"/>
                  <a:gd name="T21" fmla="*/ 8 h 618"/>
                  <a:gd name="T22" fmla="*/ 705 w 817"/>
                  <a:gd name="T23" fmla="*/ 21 h 618"/>
                  <a:gd name="T24" fmla="*/ 769 w 817"/>
                  <a:gd name="T25" fmla="*/ 104 h 618"/>
                  <a:gd name="T26" fmla="*/ 817 w 817"/>
                  <a:gd name="T27" fmla="*/ 110 h 618"/>
                  <a:gd name="T28" fmla="*/ 782 w 817"/>
                  <a:gd name="T29" fmla="*/ 179 h 618"/>
                  <a:gd name="T30" fmla="*/ 769 w 817"/>
                  <a:gd name="T31" fmla="*/ 232 h 618"/>
                  <a:gd name="T32" fmla="*/ 733 w 817"/>
                  <a:gd name="T33" fmla="*/ 247 h 618"/>
                  <a:gd name="T34" fmla="*/ 683 w 817"/>
                  <a:gd name="T35" fmla="*/ 284 h 618"/>
                  <a:gd name="T36" fmla="*/ 638 w 817"/>
                  <a:gd name="T37" fmla="*/ 307 h 618"/>
                  <a:gd name="T38" fmla="*/ 638 w 817"/>
                  <a:gd name="T39" fmla="*/ 263 h 618"/>
                  <a:gd name="T40" fmla="*/ 591 w 817"/>
                  <a:gd name="T41" fmla="*/ 307 h 618"/>
                  <a:gd name="T42" fmla="*/ 653 w 817"/>
                  <a:gd name="T43" fmla="*/ 339 h 618"/>
                  <a:gd name="T44" fmla="*/ 631 w 817"/>
                  <a:gd name="T45" fmla="*/ 346 h 618"/>
                  <a:gd name="T46" fmla="*/ 631 w 817"/>
                  <a:gd name="T47" fmla="*/ 420 h 618"/>
                  <a:gd name="T48" fmla="*/ 646 w 817"/>
                  <a:gd name="T49" fmla="*/ 452 h 618"/>
                  <a:gd name="T50" fmla="*/ 638 w 817"/>
                  <a:gd name="T51" fmla="*/ 494 h 618"/>
                  <a:gd name="T52" fmla="*/ 611 w 817"/>
                  <a:gd name="T53" fmla="*/ 532 h 618"/>
                  <a:gd name="T54" fmla="*/ 596 w 817"/>
                  <a:gd name="T55" fmla="*/ 556 h 618"/>
                  <a:gd name="T56" fmla="*/ 547 w 817"/>
                  <a:gd name="T57" fmla="*/ 586 h 618"/>
                  <a:gd name="T58" fmla="*/ 527 w 817"/>
                  <a:gd name="T59" fmla="*/ 586 h 618"/>
                  <a:gd name="T60" fmla="*/ 484 w 817"/>
                  <a:gd name="T61" fmla="*/ 595 h 618"/>
                  <a:gd name="T62" fmla="*/ 392 w 817"/>
                  <a:gd name="T63" fmla="*/ 586 h 618"/>
                  <a:gd name="T64" fmla="*/ 378 w 817"/>
                  <a:gd name="T65" fmla="*/ 586 h 618"/>
                  <a:gd name="T66" fmla="*/ 363 w 817"/>
                  <a:gd name="T67" fmla="*/ 595 h 618"/>
                  <a:gd name="T68" fmla="*/ 341 w 817"/>
                  <a:gd name="T69" fmla="*/ 573 h 618"/>
                  <a:gd name="T70" fmla="*/ 333 w 817"/>
                  <a:gd name="T71" fmla="*/ 511 h 618"/>
                  <a:gd name="T72" fmla="*/ 298 w 817"/>
                  <a:gd name="T73" fmla="*/ 474 h 618"/>
                  <a:gd name="T74" fmla="*/ 212 w 817"/>
                  <a:gd name="T75" fmla="*/ 494 h 618"/>
                  <a:gd name="T76" fmla="*/ 157 w 817"/>
                  <a:gd name="T77" fmla="*/ 494 h 618"/>
                  <a:gd name="T78" fmla="*/ 107 w 817"/>
                  <a:gd name="T79" fmla="*/ 457 h 618"/>
                  <a:gd name="T80" fmla="*/ 72 w 817"/>
                  <a:gd name="T81" fmla="*/ 420 h 618"/>
                  <a:gd name="T82" fmla="*/ 85 w 817"/>
                  <a:gd name="T83" fmla="*/ 366 h 618"/>
                  <a:gd name="T84" fmla="*/ 36 w 817"/>
                  <a:gd name="T85" fmla="*/ 353 h 618"/>
                  <a:gd name="T86" fmla="*/ 15 w 817"/>
                  <a:gd name="T87" fmla="*/ 307 h 618"/>
                  <a:gd name="T88" fmla="*/ 15 w 817"/>
                  <a:gd name="T89" fmla="*/ 270 h 618"/>
                  <a:gd name="T90" fmla="*/ 56 w 817"/>
                  <a:gd name="T91" fmla="*/ 263 h 618"/>
                  <a:gd name="T92" fmla="*/ 85 w 817"/>
                  <a:gd name="T93" fmla="*/ 188 h 618"/>
                  <a:gd name="T94" fmla="*/ 113 w 817"/>
                  <a:gd name="T95" fmla="*/ 141 h 618"/>
                  <a:gd name="T96" fmla="*/ 172 w 817"/>
                  <a:gd name="T97" fmla="*/ 104 h 6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17" h="618">
                    <a:moveTo>
                      <a:pt x="172" y="104"/>
                    </a:moveTo>
                    <a:lnTo>
                      <a:pt x="185" y="97"/>
                    </a:lnTo>
                    <a:lnTo>
                      <a:pt x="199" y="126"/>
                    </a:lnTo>
                    <a:lnTo>
                      <a:pt x="222" y="126"/>
                    </a:lnTo>
                    <a:lnTo>
                      <a:pt x="227" y="141"/>
                    </a:lnTo>
                    <a:lnTo>
                      <a:pt x="227" y="179"/>
                    </a:lnTo>
                    <a:lnTo>
                      <a:pt x="276" y="201"/>
                    </a:lnTo>
                    <a:lnTo>
                      <a:pt x="306" y="225"/>
                    </a:lnTo>
                    <a:lnTo>
                      <a:pt x="355" y="225"/>
                    </a:lnTo>
                    <a:lnTo>
                      <a:pt x="385" y="247"/>
                    </a:lnTo>
                    <a:lnTo>
                      <a:pt x="420" y="253"/>
                    </a:lnTo>
                    <a:lnTo>
                      <a:pt x="447" y="232"/>
                    </a:lnTo>
                    <a:lnTo>
                      <a:pt x="484" y="232"/>
                    </a:lnTo>
                    <a:lnTo>
                      <a:pt x="512" y="208"/>
                    </a:lnTo>
                    <a:lnTo>
                      <a:pt x="505" y="201"/>
                    </a:lnTo>
                    <a:lnTo>
                      <a:pt x="519" y="179"/>
                    </a:lnTo>
                    <a:lnTo>
                      <a:pt x="534" y="188"/>
                    </a:lnTo>
                    <a:lnTo>
                      <a:pt x="562" y="171"/>
                    </a:lnTo>
                    <a:lnTo>
                      <a:pt x="574" y="151"/>
                    </a:lnTo>
                    <a:lnTo>
                      <a:pt x="611" y="151"/>
                    </a:lnTo>
                    <a:lnTo>
                      <a:pt x="604" y="132"/>
                    </a:lnTo>
                    <a:lnTo>
                      <a:pt x="596" y="126"/>
                    </a:lnTo>
                    <a:lnTo>
                      <a:pt x="574" y="132"/>
                    </a:lnTo>
                    <a:lnTo>
                      <a:pt x="562" y="132"/>
                    </a:lnTo>
                    <a:lnTo>
                      <a:pt x="562" y="97"/>
                    </a:lnTo>
                    <a:lnTo>
                      <a:pt x="569" y="80"/>
                    </a:lnTo>
                    <a:lnTo>
                      <a:pt x="591" y="89"/>
                    </a:lnTo>
                    <a:lnTo>
                      <a:pt x="611" y="80"/>
                    </a:lnTo>
                    <a:lnTo>
                      <a:pt x="619" y="42"/>
                    </a:lnTo>
                    <a:lnTo>
                      <a:pt x="631" y="28"/>
                    </a:lnTo>
                    <a:lnTo>
                      <a:pt x="631" y="21"/>
                    </a:lnTo>
                    <a:lnTo>
                      <a:pt x="619" y="21"/>
                    </a:lnTo>
                    <a:lnTo>
                      <a:pt x="631" y="8"/>
                    </a:lnTo>
                    <a:lnTo>
                      <a:pt x="661" y="0"/>
                    </a:lnTo>
                    <a:lnTo>
                      <a:pt x="691" y="8"/>
                    </a:lnTo>
                    <a:lnTo>
                      <a:pt x="705" y="21"/>
                    </a:lnTo>
                    <a:lnTo>
                      <a:pt x="725" y="89"/>
                    </a:lnTo>
                    <a:lnTo>
                      <a:pt x="740" y="89"/>
                    </a:lnTo>
                    <a:lnTo>
                      <a:pt x="769" y="104"/>
                    </a:lnTo>
                    <a:lnTo>
                      <a:pt x="769" y="126"/>
                    </a:lnTo>
                    <a:lnTo>
                      <a:pt x="782" y="126"/>
                    </a:lnTo>
                    <a:lnTo>
                      <a:pt x="817" y="110"/>
                    </a:lnTo>
                    <a:lnTo>
                      <a:pt x="817" y="132"/>
                    </a:lnTo>
                    <a:lnTo>
                      <a:pt x="787" y="188"/>
                    </a:lnTo>
                    <a:lnTo>
                      <a:pt x="782" y="179"/>
                    </a:lnTo>
                    <a:lnTo>
                      <a:pt x="769" y="188"/>
                    </a:lnTo>
                    <a:lnTo>
                      <a:pt x="775" y="216"/>
                    </a:lnTo>
                    <a:lnTo>
                      <a:pt x="769" y="232"/>
                    </a:lnTo>
                    <a:lnTo>
                      <a:pt x="755" y="232"/>
                    </a:lnTo>
                    <a:lnTo>
                      <a:pt x="740" y="247"/>
                    </a:lnTo>
                    <a:lnTo>
                      <a:pt x="733" y="247"/>
                    </a:lnTo>
                    <a:lnTo>
                      <a:pt x="725" y="253"/>
                    </a:lnTo>
                    <a:lnTo>
                      <a:pt x="718" y="253"/>
                    </a:lnTo>
                    <a:lnTo>
                      <a:pt x="683" y="284"/>
                    </a:lnTo>
                    <a:lnTo>
                      <a:pt x="683" y="292"/>
                    </a:lnTo>
                    <a:lnTo>
                      <a:pt x="661" y="292"/>
                    </a:lnTo>
                    <a:lnTo>
                      <a:pt x="638" y="307"/>
                    </a:lnTo>
                    <a:lnTo>
                      <a:pt x="638" y="292"/>
                    </a:lnTo>
                    <a:lnTo>
                      <a:pt x="646" y="270"/>
                    </a:lnTo>
                    <a:lnTo>
                      <a:pt x="638" y="263"/>
                    </a:lnTo>
                    <a:lnTo>
                      <a:pt x="604" y="300"/>
                    </a:lnTo>
                    <a:lnTo>
                      <a:pt x="596" y="300"/>
                    </a:lnTo>
                    <a:lnTo>
                      <a:pt x="591" y="307"/>
                    </a:lnTo>
                    <a:lnTo>
                      <a:pt x="611" y="339"/>
                    </a:lnTo>
                    <a:lnTo>
                      <a:pt x="631" y="331"/>
                    </a:lnTo>
                    <a:lnTo>
                      <a:pt x="653" y="339"/>
                    </a:lnTo>
                    <a:lnTo>
                      <a:pt x="653" y="346"/>
                    </a:lnTo>
                    <a:lnTo>
                      <a:pt x="646" y="339"/>
                    </a:lnTo>
                    <a:lnTo>
                      <a:pt x="631" y="346"/>
                    </a:lnTo>
                    <a:lnTo>
                      <a:pt x="611" y="373"/>
                    </a:lnTo>
                    <a:lnTo>
                      <a:pt x="619" y="381"/>
                    </a:lnTo>
                    <a:lnTo>
                      <a:pt x="631" y="420"/>
                    </a:lnTo>
                    <a:lnTo>
                      <a:pt x="646" y="428"/>
                    </a:lnTo>
                    <a:lnTo>
                      <a:pt x="638" y="428"/>
                    </a:lnTo>
                    <a:lnTo>
                      <a:pt x="646" y="452"/>
                    </a:lnTo>
                    <a:lnTo>
                      <a:pt x="619" y="457"/>
                    </a:lnTo>
                    <a:lnTo>
                      <a:pt x="646" y="457"/>
                    </a:lnTo>
                    <a:lnTo>
                      <a:pt x="638" y="494"/>
                    </a:lnTo>
                    <a:lnTo>
                      <a:pt x="619" y="511"/>
                    </a:lnTo>
                    <a:lnTo>
                      <a:pt x="611" y="511"/>
                    </a:lnTo>
                    <a:lnTo>
                      <a:pt x="611" y="532"/>
                    </a:lnTo>
                    <a:lnTo>
                      <a:pt x="604" y="549"/>
                    </a:lnTo>
                    <a:lnTo>
                      <a:pt x="596" y="549"/>
                    </a:lnTo>
                    <a:lnTo>
                      <a:pt x="596" y="556"/>
                    </a:lnTo>
                    <a:lnTo>
                      <a:pt x="569" y="579"/>
                    </a:lnTo>
                    <a:lnTo>
                      <a:pt x="547" y="579"/>
                    </a:lnTo>
                    <a:lnTo>
                      <a:pt x="547" y="586"/>
                    </a:lnTo>
                    <a:lnTo>
                      <a:pt x="534" y="579"/>
                    </a:lnTo>
                    <a:lnTo>
                      <a:pt x="534" y="586"/>
                    </a:lnTo>
                    <a:lnTo>
                      <a:pt x="527" y="586"/>
                    </a:lnTo>
                    <a:lnTo>
                      <a:pt x="490" y="601"/>
                    </a:lnTo>
                    <a:lnTo>
                      <a:pt x="484" y="618"/>
                    </a:lnTo>
                    <a:lnTo>
                      <a:pt x="484" y="595"/>
                    </a:lnTo>
                    <a:lnTo>
                      <a:pt x="442" y="595"/>
                    </a:lnTo>
                    <a:lnTo>
                      <a:pt x="442" y="579"/>
                    </a:lnTo>
                    <a:lnTo>
                      <a:pt x="392" y="586"/>
                    </a:lnTo>
                    <a:lnTo>
                      <a:pt x="385" y="579"/>
                    </a:lnTo>
                    <a:lnTo>
                      <a:pt x="385" y="586"/>
                    </a:lnTo>
                    <a:lnTo>
                      <a:pt x="378" y="586"/>
                    </a:lnTo>
                    <a:lnTo>
                      <a:pt x="378" y="601"/>
                    </a:lnTo>
                    <a:lnTo>
                      <a:pt x="363" y="601"/>
                    </a:lnTo>
                    <a:lnTo>
                      <a:pt x="363" y="595"/>
                    </a:lnTo>
                    <a:lnTo>
                      <a:pt x="355" y="595"/>
                    </a:lnTo>
                    <a:lnTo>
                      <a:pt x="341" y="586"/>
                    </a:lnTo>
                    <a:lnTo>
                      <a:pt x="341" y="573"/>
                    </a:lnTo>
                    <a:lnTo>
                      <a:pt x="333" y="556"/>
                    </a:lnTo>
                    <a:lnTo>
                      <a:pt x="320" y="556"/>
                    </a:lnTo>
                    <a:lnTo>
                      <a:pt x="333" y="511"/>
                    </a:lnTo>
                    <a:lnTo>
                      <a:pt x="320" y="494"/>
                    </a:lnTo>
                    <a:lnTo>
                      <a:pt x="315" y="494"/>
                    </a:lnTo>
                    <a:lnTo>
                      <a:pt x="298" y="474"/>
                    </a:lnTo>
                    <a:lnTo>
                      <a:pt x="276" y="474"/>
                    </a:lnTo>
                    <a:lnTo>
                      <a:pt x="234" y="494"/>
                    </a:lnTo>
                    <a:lnTo>
                      <a:pt x="212" y="494"/>
                    </a:lnTo>
                    <a:lnTo>
                      <a:pt x="199" y="505"/>
                    </a:lnTo>
                    <a:lnTo>
                      <a:pt x="192" y="494"/>
                    </a:lnTo>
                    <a:lnTo>
                      <a:pt x="157" y="494"/>
                    </a:lnTo>
                    <a:lnTo>
                      <a:pt x="135" y="474"/>
                    </a:lnTo>
                    <a:lnTo>
                      <a:pt x="127" y="474"/>
                    </a:lnTo>
                    <a:lnTo>
                      <a:pt x="107" y="457"/>
                    </a:lnTo>
                    <a:lnTo>
                      <a:pt x="62" y="452"/>
                    </a:lnTo>
                    <a:lnTo>
                      <a:pt x="56" y="420"/>
                    </a:lnTo>
                    <a:lnTo>
                      <a:pt x="72" y="420"/>
                    </a:lnTo>
                    <a:lnTo>
                      <a:pt x="62" y="405"/>
                    </a:lnTo>
                    <a:lnTo>
                      <a:pt x="85" y="381"/>
                    </a:lnTo>
                    <a:lnTo>
                      <a:pt x="85" y="366"/>
                    </a:lnTo>
                    <a:lnTo>
                      <a:pt x="72" y="353"/>
                    </a:lnTo>
                    <a:lnTo>
                      <a:pt x="50" y="366"/>
                    </a:lnTo>
                    <a:lnTo>
                      <a:pt x="36" y="353"/>
                    </a:lnTo>
                    <a:lnTo>
                      <a:pt x="8" y="339"/>
                    </a:lnTo>
                    <a:lnTo>
                      <a:pt x="15" y="339"/>
                    </a:lnTo>
                    <a:lnTo>
                      <a:pt x="15" y="307"/>
                    </a:lnTo>
                    <a:lnTo>
                      <a:pt x="0" y="307"/>
                    </a:lnTo>
                    <a:lnTo>
                      <a:pt x="0" y="284"/>
                    </a:lnTo>
                    <a:lnTo>
                      <a:pt x="15" y="270"/>
                    </a:lnTo>
                    <a:lnTo>
                      <a:pt x="36" y="270"/>
                    </a:lnTo>
                    <a:lnTo>
                      <a:pt x="43" y="263"/>
                    </a:lnTo>
                    <a:lnTo>
                      <a:pt x="56" y="263"/>
                    </a:lnTo>
                    <a:lnTo>
                      <a:pt x="85" y="247"/>
                    </a:lnTo>
                    <a:lnTo>
                      <a:pt x="93" y="225"/>
                    </a:lnTo>
                    <a:lnTo>
                      <a:pt x="85" y="188"/>
                    </a:lnTo>
                    <a:lnTo>
                      <a:pt x="85" y="179"/>
                    </a:lnTo>
                    <a:lnTo>
                      <a:pt x="107" y="179"/>
                    </a:lnTo>
                    <a:lnTo>
                      <a:pt x="113" y="141"/>
                    </a:lnTo>
                    <a:lnTo>
                      <a:pt x="150" y="141"/>
                    </a:lnTo>
                    <a:lnTo>
                      <a:pt x="157" y="110"/>
                    </a:lnTo>
                    <a:lnTo>
                      <a:pt x="172" y="104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19" name="Freeform 253"/>
              <p:cNvSpPr>
                <a:spLocks/>
              </p:cNvSpPr>
              <p:nvPr/>
            </p:nvSpPr>
            <p:spPr bwMode="auto">
              <a:xfrm>
                <a:off x="4954588" y="1778000"/>
                <a:ext cx="3854450" cy="2079625"/>
              </a:xfrm>
              <a:custGeom>
                <a:avLst/>
                <a:gdLst>
                  <a:gd name="T0" fmla="*/ 1079 w 2195"/>
                  <a:gd name="T1" fmla="*/ 235 h 1190"/>
                  <a:gd name="T2" fmla="*/ 1067 w 2195"/>
                  <a:gd name="T3" fmla="*/ 82 h 1190"/>
                  <a:gd name="T4" fmla="*/ 995 w 2195"/>
                  <a:gd name="T5" fmla="*/ 82 h 1190"/>
                  <a:gd name="T6" fmla="*/ 725 w 2195"/>
                  <a:gd name="T7" fmla="*/ 301 h 1190"/>
                  <a:gd name="T8" fmla="*/ 642 w 2195"/>
                  <a:gd name="T9" fmla="*/ 264 h 1190"/>
                  <a:gd name="T10" fmla="*/ 642 w 2195"/>
                  <a:gd name="T11" fmla="*/ 457 h 1190"/>
                  <a:gd name="T12" fmla="*/ 610 w 2195"/>
                  <a:gd name="T13" fmla="*/ 450 h 1190"/>
                  <a:gd name="T14" fmla="*/ 598 w 2195"/>
                  <a:gd name="T15" fmla="*/ 247 h 1190"/>
                  <a:gd name="T16" fmla="*/ 434 w 2195"/>
                  <a:gd name="T17" fmla="*/ 383 h 1190"/>
                  <a:gd name="T18" fmla="*/ 377 w 2195"/>
                  <a:gd name="T19" fmla="*/ 482 h 1190"/>
                  <a:gd name="T20" fmla="*/ 241 w 2195"/>
                  <a:gd name="T21" fmla="*/ 511 h 1190"/>
                  <a:gd name="T22" fmla="*/ 241 w 2195"/>
                  <a:gd name="T23" fmla="*/ 541 h 1190"/>
                  <a:gd name="T24" fmla="*/ 129 w 2195"/>
                  <a:gd name="T25" fmla="*/ 601 h 1190"/>
                  <a:gd name="T26" fmla="*/ 65 w 2195"/>
                  <a:gd name="T27" fmla="*/ 519 h 1190"/>
                  <a:gd name="T28" fmla="*/ 85 w 2195"/>
                  <a:gd name="T29" fmla="*/ 428 h 1190"/>
                  <a:gd name="T30" fmla="*/ 43 w 2195"/>
                  <a:gd name="T31" fmla="*/ 495 h 1190"/>
                  <a:gd name="T32" fmla="*/ 57 w 2195"/>
                  <a:gd name="T33" fmla="*/ 662 h 1190"/>
                  <a:gd name="T34" fmla="*/ 13 w 2195"/>
                  <a:gd name="T35" fmla="*/ 776 h 1190"/>
                  <a:gd name="T36" fmla="*/ 50 w 2195"/>
                  <a:gd name="T37" fmla="*/ 875 h 1190"/>
                  <a:gd name="T38" fmla="*/ 57 w 2195"/>
                  <a:gd name="T39" fmla="*/ 943 h 1190"/>
                  <a:gd name="T40" fmla="*/ 116 w 2195"/>
                  <a:gd name="T41" fmla="*/ 976 h 1190"/>
                  <a:gd name="T42" fmla="*/ 164 w 2195"/>
                  <a:gd name="T43" fmla="*/ 1047 h 1190"/>
                  <a:gd name="T44" fmla="*/ 157 w 2195"/>
                  <a:gd name="T45" fmla="*/ 1091 h 1190"/>
                  <a:gd name="T46" fmla="*/ 228 w 2195"/>
                  <a:gd name="T47" fmla="*/ 1159 h 1190"/>
                  <a:gd name="T48" fmla="*/ 270 w 2195"/>
                  <a:gd name="T49" fmla="*/ 1143 h 1190"/>
                  <a:gd name="T50" fmla="*/ 291 w 2195"/>
                  <a:gd name="T51" fmla="*/ 1085 h 1190"/>
                  <a:gd name="T52" fmla="*/ 291 w 2195"/>
                  <a:gd name="T53" fmla="*/ 1017 h 1190"/>
                  <a:gd name="T54" fmla="*/ 355 w 2195"/>
                  <a:gd name="T55" fmla="*/ 976 h 1190"/>
                  <a:gd name="T56" fmla="*/ 471 w 2195"/>
                  <a:gd name="T57" fmla="*/ 976 h 1190"/>
                  <a:gd name="T58" fmla="*/ 476 w 2195"/>
                  <a:gd name="T59" fmla="*/ 919 h 1190"/>
                  <a:gd name="T60" fmla="*/ 603 w 2195"/>
                  <a:gd name="T61" fmla="*/ 909 h 1190"/>
                  <a:gd name="T62" fmla="*/ 682 w 2195"/>
                  <a:gd name="T63" fmla="*/ 934 h 1190"/>
                  <a:gd name="T64" fmla="*/ 804 w 2195"/>
                  <a:gd name="T65" fmla="*/ 1023 h 1190"/>
                  <a:gd name="T66" fmla="*/ 953 w 2195"/>
                  <a:gd name="T67" fmla="*/ 1017 h 1190"/>
                  <a:gd name="T68" fmla="*/ 1052 w 2195"/>
                  <a:gd name="T69" fmla="*/ 993 h 1190"/>
                  <a:gd name="T70" fmla="*/ 1243 w 2195"/>
                  <a:gd name="T71" fmla="*/ 1017 h 1190"/>
                  <a:gd name="T72" fmla="*/ 1293 w 2195"/>
                  <a:gd name="T73" fmla="*/ 934 h 1190"/>
                  <a:gd name="T74" fmla="*/ 1401 w 2195"/>
                  <a:gd name="T75" fmla="*/ 1060 h 1190"/>
                  <a:gd name="T76" fmla="*/ 1401 w 2195"/>
                  <a:gd name="T77" fmla="*/ 1122 h 1190"/>
                  <a:gd name="T78" fmla="*/ 1449 w 2195"/>
                  <a:gd name="T79" fmla="*/ 1151 h 1190"/>
                  <a:gd name="T80" fmla="*/ 1484 w 2195"/>
                  <a:gd name="T81" fmla="*/ 934 h 1190"/>
                  <a:gd name="T82" fmla="*/ 1556 w 2195"/>
                  <a:gd name="T83" fmla="*/ 785 h 1190"/>
                  <a:gd name="T84" fmla="*/ 1672 w 2195"/>
                  <a:gd name="T85" fmla="*/ 776 h 1190"/>
                  <a:gd name="T86" fmla="*/ 1749 w 2195"/>
                  <a:gd name="T87" fmla="*/ 709 h 1190"/>
                  <a:gd name="T88" fmla="*/ 1841 w 2195"/>
                  <a:gd name="T89" fmla="*/ 692 h 1190"/>
                  <a:gd name="T90" fmla="*/ 1749 w 2195"/>
                  <a:gd name="T91" fmla="*/ 993 h 1190"/>
                  <a:gd name="T92" fmla="*/ 1828 w 2195"/>
                  <a:gd name="T93" fmla="*/ 865 h 1190"/>
                  <a:gd name="T94" fmla="*/ 1848 w 2195"/>
                  <a:gd name="T95" fmla="*/ 759 h 1190"/>
                  <a:gd name="T96" fmla="*/ 1933 w 2195"/>
                  <a:gd name="T97" fmla="*/ 744 h 1190"/>
                  <a:gd name="T98" fmla="*/ 2025 w 2195"/>
                  <a:gd name="T99" fmla="*/ 601 h 1190"/>
                  <a:gd name="T100" fmla="*/ 2082 w 2195"/>
                  <a:gd name="T101" fmla="*/ 578 h 1190"/>
                  <a:gd name="T102" fmla="*/ 2195 w 2195"/>
                  <a:gd name="T103" fmla="*/ 556 h 1190"/>
                  <a:gd name="T104" fmla="*/ 1920 w 2195"/>
                  <a:gd name="T105" fmla="*/ 457 h 1190"/>
                  <a:gd name="T106" fmla="*/ 1883 w 2195"/>
                  <a:gd name="T107" fmla="*/ 428 h 1190"/>
                  <a:gd name="T108" fmla="*/ 1685 w 2195"/>
                  <a:gd name="T109" fmla="*/ 374 h 1190"/>
                  <a:gd name="T110" fmla="*/ 1508 w 2195"/>
                  <a:gd name="T111" fmla="*/ 309 h 1190"/>
                  <a:gd name="T112" fmla="*/ 1385 w 2195"/>
                  <a:gd name="T113" fmla="*/ 368 h 1190"/>
                  <a:gd name="T114" fmla="*/ 1287 w 2195"/>
                  <a:gd name="T115" fmla="*/ 255 h 1190"/>
                  <a:gd name="T116" fmla="*/ 1117 w 2195"/>
                  <a:gd name="T117" fmla="*/ 218 h 1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195" h="1190">
                    <a:moveTo>
                      <a:pt x="1117" y="218"/>
                    </a:moveTo>
                    <a:lnTo>
                      <a:pt x="1109" y="225"/>
                    </a:lnTo>
                    <a:lnTo>
                      <a:pt x="1117" y="247"/>
                    </a:lnTo>
                    <a:lnTo>
                      <a:pt x="1079" y="264"/>
                    </a:lnTo>
                    <a:lnTo>
                      <a:pt x="1074" y="264"/>
                    </a:lnTo>
                    <a:lnTo>
                      <a:pt x="1079" y="235"/>
                    </a:lnTo>
                    <a:lnTo>
                      <a:pt x="1166" y="151"/>
                    </a:lnTo>
                    <a:lnTo>
                      <a:pt x="1166" y="97"/>
                    </a:lnTo>
                    <a:lnTo>
                      <a:pt x="1137" y="58"/>
                    </a:lnTo>
                    <a:lnTo>
                      <a:pt x="1096" y="58"/>
                    </a:lnTo>
                    <a:lnTo>
                      <a:pt x="1096" y="82"/>
                    </a:lnTo>
                    <a:lnTo>
                      <a:pt x="1067" y="82"/>
                    </a:lnTo>
                    <a:lnTo>
                      <a:pt x="1079" y="45"/>
                    </a:lnTo>
                    <a:lnTo>
                      <a:pt x="1039" y="28"/>
                    </a:lnTo>
                    <a:lnTo>
                      <a:pt x="1067" y="13"/>
                    </a:lnTo>
                    <a:lnTo>
                      <a:pt x="1039" y="0"/>
                    </a:lnTo>
                    <a:lnTo>
                      <a:pt x="995" y="45"/>
                    </a:lnTo>
                    <a:lnTo>
                      <a:pt x="995" y="82"/>
                    </a:lnTo>
                    <a:lnTo>
                      <a:pt x="896" y="97"/>
                    </a:lnTo>
                    <a:lnTo>
                      <a:pt x="826" y="143"/>
                    </a:lnTo>
                    <a:lnTo>
                      <a:pt x="804" y="178"/>
                    </a:lnTo>
                    <a:lnTo>
                      <a:pt x="811" y="225"/>
                    </a:lnTo>
                    <a:lnTo>
                      <a:pt x="719" y="247"/>
                    </a:lnTo>
                    <a:lnTo>
                      <a:pt x="725" y="301"/>
                    </a:lnTo>
                    <a:lnTo>
                      <a:pt x="747" y="329"/>
                    </a:lnTo>
                    <a:lnTo>
                      <a:pt x="734" y="337"/>
                    </a:lnTo>
                    <a:lnTo>
                      <a:pt x="704" y="301"/>
                    </a:lnTo>
                    <a:lnTo>
                      <a:pt x="682" y="294"/>
                    </a:lnTo>
                    <a:lnTo>
                      <a:pt x="675" y="301"/>
                    </a:lnTo>
                    <a:lnTo>
                      <a:pt x="642" y="264"/>
                    </a:lnTo>
                    <a:lnTo>
                      <a:pt x="647" y="301"/>
                    </a:lnTo>
                    <a:lnTo>
                      <a:pt x="625" y="344"/>
                    </a:lnTo>
                    <a:lnTo>
                      <a:pt x="642" y="383"/>
                    </a:lnTo>
                    <a:lnTo>
                      <a:pt x="632" y="420"/>
                    </a:lnTo>
                    <a:lnTo>
                      <a:pt x="632" y="450"/>
                    </a:lnTo>
                    <a:lnTo>
                      <a:pt x="642" y="457"/>
                    </a:lnTo>
                    <a:lnTo>
                      <a:pt x="647" y="504"/>
                    </a:lnTo>
                    <a:lnTo>
                      <a:pt x="598" y="549"/>
                    </a:lnTo>
                    <a:lnTo>
                      <a:pt x="590" y="541"/>
                    </a:lnTo>
                    <a:lnTo>
                      <a:pt x="625" y="495"/>
                    </a:lnTo>
                    <a:lnTo>
                      <a:pt x="632" y="465"/>
                    </a:lnTo>
                    <a:lnTo>
                      <a:pt x="610" y="450"/>
                    </a:lnTo>
                    <a:lnTo>
                      <a:pt x="610" y="353"/>
                    </a:lnTo>
                    <a:lnTo>
                      <a:pt x="603" y="337"/>
                    </a:lnTo>
                    <a:lnTo>
                      <a:pt x="610" y="279"/>
                    </a:lnTo>
                    <a:lnTo>
                      <a:pt x="598" y="272"/>
                    </a:lnTo>
                    <a:lnTo>
                      <a:pt x="603" y="264"/>
                    </a:lnTo>
                    <a:lnTo>
                      <a:pt x="598" y="247"/>
                    </a:lnTo>
                    <a:lnTo>
                      <a:pt x="583" y="255"/>
                    </a:lnTo>
                    <a:lnTo>
                      <a:pt x="539" y="374"/>
                    </a:lnTo>
                    <a:lnTo>
                      <a:pt x="539" y="420"/>
                    </a:lnTo>
                    <a:lnTo>
                      <a:pt x="561" y="457"/>
                    </a:lnTo>
                    <a:lnTo>
                      <a:pt x="561" y="474"/>
                    </a:lnTo>
                    <a:lnTo>
                      <a:pt x="434" y="383"/>
                    </a:lnTo>
                    <a:lnTo>
                      <a:pt x="429" y="400"/>
                    </a:lnTo>
                    <a:lnTo>
                      <a:pt x="462" y="450"/>
                    </a:lnTo>
                    <a:lnTo>
                      <a:pt x="441" y="457"/>
                    </a:lnTo>
                    <a:lnTo>
                      <a:pt x="434" y="450"/>
                    </a:lnTo>
                    <a:lnTo>
                      <a:pt x="384" y="465"/>
                    </a:lnTo>
                    <a:lnTo>
                      <a:pt x="377" y="482"/>
                    </a:lnTo>
                    <a:lnTo>
                      <a:pt x="370" y="465"/>
                    </a:lnTo>
                    <a:lnTo>
                      <a:pt x="370" y="450"/>
                    </a:lnTo>
                    <a:lnTo>
                      <a:pt x="285" y="504"/>
                    </a:lnTo>
                    <a:lnTo>
                      <a:pt x="285" y="519"/>
                    </a:lnTo>
                    <a:lnTo>
                      <a:pt x="263" y="532"/>
                    </a:lnTo>
                    <a:lnTo>
                      <a:pt x="241" y="511"/>
                    </a:lnTo>
                    <a:lnTo>
                      <a:pt x="263" y="495"/>
                    </a:lnTo>
                    <a:lnTo>
                      <a:pt x="255" y="465"/>
                    </a:lnTo>
                    <a:lnTo>
                      <a:pt x="223" y="457"/>
                    </a:lnTo>
                    <a:lnTo>
                      <a:pt x="228" y="474"/>
                    </a:lnTo>
                    <a:lnTo>
                      <a:pt x="228" y="519"/>
                    </a:lnTo>
                    <a:lnTo>
                      <a:pt x="241" y="541"/>
                    </a:lnTo>
                    <a:lnTo>
                      <a:pt x="228" y="556"/>
                    </a:lnTo>
                    <a:lnTo>
                      <a:pt x="206" y="549"/>
                    </a:lnTo>
                    <a:lnTo>
                      <a:pt x="171" y="578"/>
                    </a:lnTo>
                    <a:lnTo>
                      <a:pt x="186" y="618"/>
                    </a:lnTo>
                    <a:lnTo>
                      <a:pt x="136" y="595"/>
                    </a:lnTo>
                    <a:lnTo>
                      <a:pt x="129" y="601"/>
                    </a:lnTo>
                    <a:lnTo>
                      <a:pt x="142" y="633"/>
                    </a:lnTo>
                    <a:lnTo>
                      <a:pt x="129" y="633"/>
                    </a:lnTo>
                    <a:lnTo>
                      <a:pt x="100" y="618"/>
                    </a:lnTo>
                    <a:lnTo>
                      <a:pt x="100" y="556"/>
                    </a:lnTo>
                    <a:lnTo>
                      <a:pt x="79" y="541"/>
                    </a:lnTo>
                    <a:lnTo>
                      <a:pt x="65" y="519"/>
                    </a:lnTo>
                    <a:lnTo>
                      <a:pt x="85" y="532"/>
                    </a:lnTo>
                    <a:lnTo>
                      <a:pt x="157" y="556"/>
                    </a:lnTo>
                    <a:lnTo>
                      <a:pt x="199" y="532"/>
                    </a:lnTo>
                    <a:lnTo>
                      <a:pt x="186" y="504"/>
                    </a:lnTo>
                    <a:lnTo>
                      <a:pt x="136" y="450"/>
                    </a:lnTo>
                    <a:lnTo>
                      <a:pt x="85" y="428"/>
                    </a:lnTo>
                    <a:lnTo>
                      <a:pt x="85" y="420"/>
                    </a:lnTo>
                    <a:lnTo>
                      <a:pt x="65" y="411"/>
                    </a:lnTo>
                    <a:lnTo>
                      <a:pt x="50" y="420"/>
                    </a:lnTo>
                    <a:lnTo>
                      <a:pt x="20" y="450"/>
                    </a:lnTo>
                    <a:lnTo>
                      <a:pt x="20" y="474"/>
                    </a:lnTo>
                    <a:lnTo>
                      <a:pt x="43" y="495"/>
                    </a:lnTo>
                    <a:lnTo>
                      <a:pt x="35" y="519"/>
                    </a:lnTo>
                    <a:lnTo>
                      <a:pt x="43" y="569"/>
                    </a:lnTo>
                    <a:lnTo>
                      <a:pt x="35" y="595"/>
                    </a:lnTo>
                    <a:lnTo>
                      <a:pt x="50" y="625"/>
                    </a:lnTo>
                    <a:lnTo>
                      <a:pt x="43" y="640"/>
                    </a:lnTo>
                    <a:lnTo>
                      <a:pt x="57" y="662"/>
                    </a:lnTo>
                    <a:lnTo>
                      <a:pt x="57" y="669"/>
                    </a:lnTo>
                    <a:lnTo>
                      <a:pt x="35" y="716"/>
                    </a:lnTo>
                    <a:lnTo>
                      <a:pt x="10" y="736"/>
                    </a:lnTo>
                    <a:lnTo>
                      <a:pt x="13" y="736"/>
                    </a:lnTo>
                    <a:lnTo>
                      <a:pt x="35" y="754"/>
                    </a:lnTo>
                    <a:lnTo>
                      <a:pt x="13" y="776"/>
                    </a:lnTo>
                    <a:lnTo>
                      <a:pt x="10" y="785"/>
                    </a:lnTo>
                    <a:lnTo>
                      <a:pt x="0" y="785"/>
                    </a:lnTo>
                    <a:lnTo>
                      <a:pt x="10" y="812"/>
                    </a:lnTo>
                    <a:lnTo>
                      <a:pt x="13" y="859"/>
                    </a:lnTo>
                    <a:lnTo>
                      <a:pt x="43" y="865"/>
                    </a:lnTo>
                    <a:lnTo>
                      <a:pt x="50" y="875"/>
                    </a:lnTo>
                    <a:lnTo>
                      <a:pt x="50" y="897"/>
                    </a:lnTo>
                    <a:lnTo>
                      <a:pt x="65" y="919"/>
                    </a:lnTo>
                    <a:lnTo>
                      <a:pt x="79" y="919"/>
                    </a:lnTo>
                    <a:lnTo>
                      <a:pt x="65" y="943"/>
                    </a:lnTo>
                    <a:lnTo>
                      <a:pt x="57" y="934"/>
                    </a:lnTo>
                    <a:lnTo>
                      <a:pt x="57" y="943"/>
                    </a:lnTo>
                    <a:lnTo>
                      <a:pt x="65" y="956"/>
                    </a:lnTo>
                    <a:lnTo>
                      <a:pt x="92" y="956"/>
                    </a:lnTo>
                    <a:lnTo>
                      <a:pt x="100" y="963"/>
                    </a:lnTo>
                    <a:lnTo>
                      <a:pt x="92" y="963"/>
                    </a:lnTo>
                    <a:lnTo>
                      <a:pt x="100" y="976"/>
                    </a:lnTo>
                    <a:lnTo>
                      <a:pt x="116" y="976"/>
                    </a:lnTo>
                    <a:lnTo>
                      <a:pt x="121" y="993"/>
                    </a:lnTo>
                    <a:lnTo>
                      <a:pt x="129" y="1001"/>
                    </a:lnTo>
                    <a:lnTo>
                      <a:pt x="136" y="993"/>
                    </a:lnTo>
                    <a:lnTo>
                      <a:pt x="177" y="1023"/>
                    </a:lnTo>
                    <a:lnTo>
                      <a:pt x="171" y="1060"/>
                    </a:lnTo>
                    <a:lnTo>
                      <a:pt x="164" y="1047"/>
                    </a:lnTo>
                    <a:lnTo>
                      <a:pt x="157" y="1060"/>
                    </a:lnTo>
                    <a:lnTo>
                      <a:pt x="157" y="1077"/>
                    </a:lnTo>
                    <a:lnTo>
                      <a:pt x="164" y="1067"/>
                    </a:lnTo>
                    <a:lnTo>
                      <a:pt x="171" y="1077"/>
                    </a:lnTo>
                    <a:lnTo>
                      <a:pt x="142" y="1085"/>
                    </a:lnTo>
                    <a:lnTo>
                      <a:pt x="157" y="1091"/>
                    </a:lnTo>
                    <a:lnTo>
                      <a:pt x="136" y="1114"/>
                    </a:lnTo>
                    <a:lnTo>
                      <a:pt x="129" y="1114"/>
                    </a:lnTo>
                    <a:lnTo>
                      <a:pt x="136" y="1114"/>
                    </a:lnTo>
                    <a:lnTo>
                      <a:pt x="171" y="1151"/>
                    </a:lnTo>
                    <a:lnTo>
                      <a:pt x="213" y="1151"/>
                    </a:lnTo>
                    <a:lnTo>
                      <a:pt x="228" y="1159"/>
                    </a:lnTo>
                    <a:lnTo>
                      <a:pt x="248" y="1159"/>
                    </a:lnTo>
                    <a:lnTo>
                      <a:pt x="270" y="1190"/>
                    </a:lnTo>
                    <a:lnTo>
                      <a:pt x="285" y="1190"/>
                    </a:lnTo>
                    <a:lnTo>
                      <a:pt x="291" y="1181"/>
                    </a:lnTo>
                    <a:lnTo>
                      <a:pt x="270" y="1159"/>
                    </a:lnTo>
                    <a:lnTo>
                      <a:pt x="270" y="1143"/>
                    </a:lnTo>
                    <a:lnTo>
                      <a:pt x="263" y="1122"/>
                    </a:lnTo>
                    <a:lnTo>
                      <a:pt x="285" y="1091"/>
                    </a:lnTo>
                    <a:lnTo>
                      <a:pt x="291" y="1107"/>
                    </a:lnTo>
                    <a:lnTo>
                      <a:pt x="298" y="1091"/>
                    </a:lnTo>
                    <a:lnTo>
                      <a:pt x="298" y="1085"/>
                    </a:lnTo>
                    <a:lnTo>
                      <a:pt x="291" y="1085"/>
                    </a:lnTo>
                    <a:lnTo>
                      <a:pt x="298" y="1077"/>
                    </a:lnTo>
                    <a:lnTo>
                      <a:pt x="291" y="1060"/>
                    </a:lnTo>
                    <a:lnTo>
                      <a:pt x="270" y="1060"/>
                    </a:lnTo>
                    <a:lnTo>
                      <a:pt x="263" y="1038"/>
                    </a:lnTo>
                    <a:lnTo>
                      <a:pt x="270" y="993"/>
                    </a:lnTo>
                    <a:lnTo>
                      <a:pt x="291" y="1017"/>
                    </a:lnTo>
                    <a:lnTo>
                      <a:pt x="298" y="1017"/>
                    </a:lnTo>
                    <a:lnTo>
                      <a:pt x="291" y="993"/>
                    </a:lnTo>
                    <a:lnTo>
                      <a:pt x="312" y="963"/>
                    </a:lnTo>
                    <a:lnTo>
                      <a:pt x="333" y="976"/>
                    </a:lnTo>
                    <a:lnTo>
                      <a:pt x="342" y="963"/>
                    </a:lnTo>
                    <a:lnTo>
                      <a:pt x="355" y="976"/>
                    </a:lnTo>
                    <a:lnTo>
                      <a:pt x="384" y="993"/>
                    </a:lnTo>
                    <a:lnTo>
                      <a:pt x="399" y="985"/>
                    </a:lnTo>
                    <a:lnTo>
                      <a:pt x="419" y="985"/>
                    </a:lnTo>
                    <a:lnTo>
                      <a:pt x="429" y="993"/>
                    </a:lnTo>
                    <a:lnTo>
                      <a:pt x="462" y="993"/>
                    </a:lnTo>
                    <a:lnTo>
                      <a:pt x="471" y="976"/>
                    </a:lnTo>
                    <a:lnTo>
                      <a:pt x="441" y="963"/>
                    </a:lnTo>
                    <a:lnTo>
                      <a:pt x="462" y="956"/>
                    </a:lnTo>
                    <a:lnTo>
                      <a:pt x="456" y="949"/>
                    </a:lnTo>
                    <a:lnTo>
                      <a:pt x="462" y="943"/>
                    </a:lnTo>
                    <a:lnTo>
                      <a:pt x="462" y="909"/>
                    </a:lnTo>
                    <a:lnTo>
                      <a:pt x="476" y="919"/>
                    </a:lnTo>
                    <a:lnTo>
                      <a:pt x="556" y="897"/>
                    </a:lnTo>
                    <a:lnTo>
                      <a:pt x="556" y="880"/>
                    </a:lnTo>
                    <a:lnTo>
                      <a:pt x="590" y="880"/>
                    </a:lnTo>
                    <a:lnTo>
                      <a:pt x="598" y="904"/>
                    </a:lnTo>
                    <a:lnTo>
                      <a:pt x="598" y="909"/>
                    </a:lnTo>
                    <a:lnTo>
                      <a:pt x="603" y="909"/>
                    </a:lnTo>
                    <a:lnTo>
                      <a:pt x="625" y="919"/>
                    </a:lnTo>
                    <a:lnTo>
                      <a:pt x="625" y="934"/>
                    </a:lnTo>
                    <a:lnTo>
                      <a:pt x="642" y="934"/>
                    </a:lnTo>
                    <a:lnTo>
                      <a:pt x="653" y="909"/>
                    </a:lnTo>
                    <a:lnTo>
                      <a:pt x="675" y="904"/>
                    </a:lnTo>
                    <a:lnTo>
                      <a:pt x="682" y="934"/>
                    </a:lnTo>
                    <a:lnTo>
                      <a:pt x="719" y="993"/>
                    </a:lnTo>
                    <a:lnTo>
                      <a:pt x="725" y="976"/>
                    </a:lnTo>
                    <a:lnTo>
                      <a:pt x="734" y="993"/>
                    </a:lnTo>
                    <a:lnTo>
                      <a:pt x="761" y="985"/>
                    </a:lnTo>
                    <a:lnTo>
                      <a:pt x="782" y="1017"/>
                    </a:lnTo>
                    <a:lnTo>
                      <a:pt x="804" y="1023"/>
                    </a:lnTo>
                    <a:lnTo>
                      <a:pt x="804" y="1017"/>
                    </a:lnTo>
                    <a:lnTo>
                      <a:pt x="817" y="1032"/>
                    </a:lnTo>
                    <a:lnTo>
                      <a:pt x="866" y="993"/>
                    </a:lnTo>
                    <a:lnTo>
                      <a:pt x="903" y="1001"/>
                    </a:lnTo>
                    <a:lnTo>
                      <a:pt x="918" y="1017"/>
                    </a:lnTo>
                    <a:lnTo>
                      <a:pt x="953" y="1017"/>
                    </a:lnTo>
                    <a:lnTo>
                      <a:pt x="953" y="976"/>
                    </a:lnTo>
                    <a:lnTo>
                      <a:pt x="973" y="963"/>
                    </a:lnTo>
                    <a:lnTo>
                      <a:pt x="1010" y="976"/>
                    </a:lnTo>
                    <a:lnTo>
                      <a:pt x="1024" y="1001"/>
                    </a:lnTo>
                    <a:lnTo>
                      <a:pt x="1030" y="1001"/>
                    </a:lnTo>
                    <a:lnTo>
                      <a:pt x="1052" y="993"/>
                    </a:lnTo>
                    <a:lnTo>
                      <a:pt x="1121" y="1032"/>
                    </a:lnTo>
                    <a:lnTo>
                      <a:pt x="1159" y="1023"/>
                    </a:lnTo>
                    <a:lnTo>
                      <a:pt x="1179" y="1001"/>
                    </a:lnTo>
                    <a:lnTo>
                      <a:pt x="1201" y="1017"/>
                    </a:lnTo>
                    <a:lnTo>
                      <a:pt x="1223" y="1023"/>
                    </a:lnTo>
                    <a:lnTo>
                      <a:pt x="1243" y="1017"/>
                    </a:lnTo>
                    <a:lnTo>
                      <a:pt x="1250" y="976"/>
                    </a:lnTo>
                    <a:lnTo>
                      <a:pt x="1265" y="963"/>
                    </a:lnTo>
                    <a:lnTo>
                      <a:pt x="1265" y="956"/>
                    </a:lnTo>
                    <a:lnTo>
                      <a:pt x="1250" y="956"/>
                    </a:lnTo>
                    <a:lnTo>
                      <a:pt x="1265" y="943"/>
                    </a:lnTo>
                    <a:lnTo>
                      <a:pt x="1293" y="934"/>
                    </a:lnTo>
                    <a:lnTo>
                      <a:pt x="1322" y="943"/>
                    </a:lnTo>
                    <a:lnTo>
                      <a:pt x="1337" y="956"/>
                    </a:lnTo>
                    <a:lnTo>
                      <a:pt x="1355" y="1023"/>
                    </a:lnTo>
                    <a:lnTo>
                      <a:pt x="1372" y="1023"/>
                    </a:lnTo>
                    <a:lnTo>
                      <a:pt x="1401" y="1038"/>
                    </a:lnTo>
                    <a:lnTo>
                      <a:pt x="1401" y="1060"/>
                    </a:lnTo>
                    <a:lnTo>
                      <a:pt x="1414" y="1060"/>
                    </a:lnTo>
                    <a:lnTo>
                      <a:pt x="1449" y="1047"/>
                    </a:lnTo>
                    <a:lnTo>
                      <a:pt x="1449" y="1067"/>
                    </a:lnTo>
                    <a:lnTo>
                      <a:pt x="1421" y="1122"/>
                    </a:lnTo>
                    <a:lnTo>
                      <a:pt x="1414" y="1114"/>
                    </a:lnTo>
                    <a:lnTo>
                      <a:pt x="1401" y="1122"/>
                    </a:lnTo>
                    <a:lnTo>
                      <a:pt x="1401" y="1168"/>
                    </a:lnTo>
                    <a:lnTo>
                      <a:pt x="1406" y="1151"/>
                    </a:lnTo>
                    <a:lnTo>
                      <a:pt x="1414" y="1151"/>
                    </a:lnTo>
                    <a:lnTo>
                      <a:pt x="1414" y="1159"/>
                    </a:lnTo>
                    <a:lnTo>
                      <a:pt x="1421" y="1168"/>
                    </a:lnTo>
                    <a:lnTo>
                      <a:pt x="1449" y="1151"/>
                    </a:lnTo>
                    <a:lnTo>
                      <a:pt x="1530" y="1047"/>
                    </a:lnTo>
                    <a:lnTo>
                      <a:pt x="1535" y="943"/>
                    </a:lnTo>
                    <a:lnTo>
                      <a:pt x="1513" y="909"/>
                    </a:lnTo>
                    <a:lnTo>
                      <a:pt x="1508" y="909"/>
                    </a:lnTo>
                    <a:lnTo>
                      <a:pt x="1498" y="934"/>
                    </a:lnTo>
                    <a:lnTo>
                      <a:pt x="1484" y="934"/>
                    </a:lnTo>
                    <a:lnTo>
                      <a:pt x="1493" y="909"/>
                    </a:lnTo>
                    <a:lnTo>
                      <a:pt x="1484" y="909"/>
                    </a:lnTo>
                    <a:lnTo>
                      <a:pt x="1471" y="904"/>
                    </a:lnTo>
                    <a:lnTo>
                      <a:pt x="1457" y="904"/>
                    </a:lnTo>
                    <a:lnTo>
                      <a:pt x="1457" y="897"/>
                    </a:lnTo>
                    <a:lnTo>
                      <a:pt x="1556" y="785"/>
                    </a:lnTo>
                    <a:lnTo>
                      <a:pt x="1592" y="776"/>
                    </a:lnTo>
                    <a:lnTo>
                      <a:pt x="1600" y="785"/>
                    </a:lnTo>
                    <a:lnTo>
                      <a:pt x="1615" y="776"/>
                    </a:lnTo>
                    <a:lnTo>
                      <a:pt x="1633" y="785"/>
                    </a:lnTo>
                    <a:lnTo>
                      <a:pt x="1642" y="759"/>
                    </a:lnTo>
                    <a:lnTo>
                      <a:pt x="1672" y="776"/>
                    </a:lnTo>
                    <a:lnTo>
                      <a:pt x="1679" y="776"/>
                    </a:lnTo>
                    <a:lnTo>
                      <a:pt x="1672" y="785"/>
                    </a:lnTo>
                    <a:lnTo>
                      <a:pt x="1672" y="790"/>
                    </a:lnTo>
                    <a:lnTo>
                      <a:pt x="1721" y="785"/>
                    </a:lnTo>
                    <a:lnTo>
                      <a:pt x="1712" y="776"/>
                    </a:lnTo>
                    <a:lnTo>
                      <a:pt x="1749" y="709"/>
                    </a:lnTo>
                    <a:lnTo>
                      <a:pt x="1793" y="699"/>
                    </a:lnTo>
                    <a:lnTo>
                      <a:pt x="1793" y="736"/>
                    </a:lnTo>
                    <a:lnTo>
                      <a:pt x="1834" y="709"/>
                    </a:lnTo>
                    <a:lnTo>
                      <a:pt x="1834" y="675"/>
                    </a:lnTo>
                    <a:lnTo>
                      <a:pt x="1848" y="675"/>
                    </a:lnTo>
                    <a:lnTo>
                      <a:pt x="1841" y="692"/>
                    </a:lnTo>
                    <a:lnTo>
                      <a:pt x="1834" y="736"/>
                    </a:lnTo>
                    <a:lnTo>
                      <a:pt x="1821" y="744"/>
                    </a:lnTo>
                    <a:lnTo>
                      <a:pt x="1764" y="812"/>
                    </a:lnTo>
                    <a:lnTo>
                      <a:pt x="1749" y="822"/>
                    </a:lnTo>
                    <a:lnTo>
                      <a:pt x="1727" y="880"/>
                    </a:lnTo>
                    <a:lnTo>
                      <a:pt x="1749" y="993"/>
                    </a:lnTo>
                    <a:lnTo>
                      <a:pt x="1793" y="943"/>
                    </a:lnTo>
                    <a:lnTo>
                      <a:pt x="1793" y="909"/>
                    </a:lnTo>
                    <a:lnTo>
                      <a:pt x="1798" y="909"/>
                    </a:lnTo>
                    <a:lnTo>
                      <a:pt x="1821" y="904"/>
                    </a:lnTo>
                    <a:lnTo>
                      <a:pt x="1821" y="875"/>
                    </a:lnTo>
                    <a:lnTo>
                      <a:pt x="1828" y="865"/>
                    </a:lnTo>
                    <a:lnTo>
                      <a:pt x="1834" y="865"/>
                    </a:lnTo>
                    <a:lnTo>
                      <a:pt x="1834" y="828"/>
                    </a:lnTo>
                    <a:lnTo>
                      <a:pt x="1821" y="812"/>
                    </a:lnTo>
                    <a:lnTo>
                      <a:pt x="1834" y="785"/>
                    </a:lnTo>
                    <a:lnTo>
                      <a:pt x="1834" y="759"/>
                    </a:lnTo>
                    <a:lnTo>
                      <a:pt x="1848" y="759"/>
                    </a:lnTo>
                    <a:lnTo>
                      <a:pt x="1876" y="744"/>
                    </a:lnTo>
                    <a:lnTo>
                      <a:pt x="1876" y="759"/>
                    </a:lnTo>
                    <a:lnTo>
                      <a:pt x="1883" y="754"/>
                    </a:lnTo>
                    <a:lnTo>
                      <a:pt x="1912" y="744"/>
                    </a:lnTo>
                    <a:lnTo>
                      <a:pt x="1927" y="759"/>
                    </a:lnTo>
                    <a:lnTo>
                      <a:pt x="1933" y="744"/>
                    </a:lnTo>
                    <a:lnTo>
                      <a:pt x="2020" y="675"/>
                    </a:lnTo>
                    <a:lnTo>
                      <a:pt x="2047" y="692"/>
                    </a:lnTo>
                    <a:lnTo>
                      <a:pt x="2056" y="675"/>
                    </a:lnTo>
                    <a:lnTo>
                      <a:pt x="2042" y="625"/>
                    </a:lnTo>
                    <a:lnTo>
                      <a:pt x="2025" y="625"/>
                    </a:lnTo>
                    <a:lnTo>
                      <a:pt x="2025" y="601"/>
                    </a:lnTo>
                    <a:lnTo>
                      <a:pt x="2042" y="601"/>
                    </a:lnTo>
                    <a:lnTo>
                      <a:pt x="2056" y="595"/>
                    </a:lnTo>
                    <a:lnTo>
                      <a:pt x="2069" y="578"/>
                    </a:lnTo>
                    <a:lnTo>
                      <a:pt x="2062" y="556"/>
                    </a:lnTo>
                    <a:lnTo>
                      <a:pt x="2069" y="549"/>
                    </a:lnTo>
                    <a:lnTo>
                      <a:pt x="2082" y="578"/>
                    </a:lnTo>
                    <a:lnTo>
                      <a:pt x="2096" y="578"/>
                    </a:lnTo>
                    <a:lnTo>
                      <a:pt x="2151" y="625"/>
                    </a:lnTo>
                    <a:lnTo>
                      <a:pt x="2168" y="595"/>
                    </a:lnTo>
                    <a:lnTo>
                      <a:pt x="2168" y="578"/>
                    </a:lnTo>
                    <a:lnTo>
                      <a:pt x="2180" y="578"/>
                    </a:lnTo>
                    <a:lnTo>
                      <a:pt x="2195" y="556"/>
                    </a:lnTo>
                    <a:lnTo>
                      <a:pt x="2173" y="532"/>
                    </a:lnTo>
                    <a:lnTo>
                      <a:pt x="2131" y="519"/>
                    </a:lnTo>
                    <a:lnTo>
                      <a:pt x="2007" y="411"/>
                    </a:lnTo>
                    <a:lnTo>
                      <a:pt x="1933" y="400"/>
                    </a:lnTo>
                    <a:lnTo>
                      <a:pt x="1933" y="450"/>
                    </a:lnTo>
                    <a:lnTo>
                      <a:pt x="1920" y="457"/>
                    </a:lnTo>
                    <a:lnTo>
                      <a:pt x="1903" y="435"/>
                    </a:lnTo>
                    <a:lnTo>
                      <a:pt x="1903" y="420"/>
                    </a:lnTo>
                    <a:lnTo>
                      <a:pt x="1912" y="420"/>
                    </a:lnTo>
                    <a:lnTo>
                      <a:pt x="1920" y="411"/>
                    </a:lnTo>
                    <a:lnTo>
                      <a:pt x="1903" y="411"/>
                    </a:lnTo>
                    <a:lnTo>
                      <a:pt x="1883" y="428"/>
                    </a:lnTo>
                    <a:lnTo>
                      <a:pt x="1798" y="420"/>
                    </a:lnTo>
                    <a:lnTo>
                      <a:pt x="1784" y="411"/>
                    </a:lnTo>
                    <a:lnTo>
                      <a:pt x="1793" y="391"/>
                    </a:lnTo>
                    <a:lnTo>
                      <a:pt x="1776" y="368"/>
                    </a:lnTo>
                    <a:lnTo>
                      <a:pt x="1742" y="353"/>
                    </a:lnTo>
                    <a:lnTo>
                      <a:pt x="1685" y="374"/>
                    </a:lnTo>
                    <a:lnTo>
                      <a:pt x="1679" y="344"/>
                    </a:lnTo>
                    <a:lnTo>
                      <a:pt x="1664" y="344"/>
                    </a:lnTo>
                    <a:lnTo>
                      <a:pt x="1657" y="337"/>
                    </a:lnTo>
                    <a:lnTo>
                      <a:pt x="1657" y="309"/>
                    </a:lnTo>
                    <a:lnTo>
                      <a:pt x="1530" y="272"/>
                    </a:lnTo>
                    <a:lnTo>
                      <a:pt x="1508" y="309"/>
                    </a:lnTo>
                    <a:lnTo>
                      <a:pt x="1530" y="337"/>
                    </a:lnTo>
                    <a:lnTo>
                      <a:pt x="1463" y="337"/>
                    </a:lnTo>
                    <a:lnTo>
                      <a:pt x="1449" y="344"/>
                    </a:lnTo>
                    <a:lnTo>
                      <a:pt x="1421" y="326"/>
                    </a:lnTo>
                    <a:lnTo>
                      <a:pt x="1406" y="374"/>
                    </a:lnTo>
                    <a:lnTo>
                      <a:pt x="1385" y="368"/>
                    </a:lnTo>
                    <a:lnTo>
                      <a:pt x="1372" y="329"/>
                    </a:lnTo>
                    <a:lnTo>
                      <a:pt x="1379" y="279"/>
                    </a:lnTo>
                    <a:lnTo>
                      <a:pt x="1364" y="255"/>
                    </a:lnTo>
                    <a:lnTo>
                      <a:pt x="1315" y="235"/>
                    </a:lnTo>
                    <a:lnTo>
                      <a:pt x="1293" y="235"/>
                    </a:lnTo>
                    <a:lnTo>
                      <a:pt x="1287" y="255"/>
                    </a:lnTo>
                    <a:lnTo>
                      <a:pt x="1293" y="272"/>
                    </a:lnTo>
                    <a:lnTo>
                      <a:pt x="1228" y="264"/>
                    </a:lnTo>
                    <a:lnTo>
                      <a:pt x="1236" y="235"/>
                    </a:lnTo>
                    <a:lnTo>
                      <a:pt x="1193" y="225"/>
                    </a:lnTo>
                    <a:lnTo>
                      <a:pt x="1166" y="247"/>
                    </a:lnTo>
                    <a:lnTo>
                      <a:pt x="1117" y="218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20" name="Freeform 254"/>
              <p:cNvSpPr>
                <a:spLocks/>
              </p:cNvSpPr>
              <p:nvPr/>
            </p:nvSpPr>
            <p:spPr bwMode="auto">
              <a:xfrm>
                <a:off x="6257925" y="4322763"/>
                <a:ext cx="419100" cy="285750"/>
              </a:xfrm>
              <a:custGeom>
                <a:avLst/>
                <a:gdLst>
                  <a:gd name="T0" fmla="*/ 146 w 238"/>
                  <a:gd name="T1" fmla="*/ 163 h 163"/>
                  <a:gd name="T2" fmla="*/ 158 w 238"/>
                  <a:gd name="T3" fmla="*/ 163 h 163"/>
                  <a:gd name="T4" fmla="*/ 166 w 238"/>
                  <a:gd name="T5" fmla="*/ 150 h 163"/>
                  <a:gd name="T6" fmla="*/ 166 w 238"/>
                  <a:gd name="T7" fmla="*/ 126 h 163"/>
                  <a:gd name="T8" fmla="*/ 158 w 238"/>
                  <a:gd name="T9" fmla="*/ 119 h 163"/>
                  <a:gd name="T10" fmla="*/ 174 w 238"/>
                  <a:gd name="T11" fmla="*/ 119 h 163"/>
                  <a:gd name="T12" fmla="*/ 181 w 238"/>
                  <a:gd name="T13" fmla="*/ 96 h 163"/>
                  <a:gd name="T14" fmla="*/ 181 w 238"/>
                  <a:gd name="T15" fmla="*/ 89 h 163"/>
                  <a:gd name="T16" fmla="*/ 201 w 238"/>
                  <a:gd name="T17" fmla="*/ 89 h 163"/>
                  <a:gd name="T18" fmla="*/ 201 w 238"/>
                  <a:gd name="T19" fmla="*/ 96 h 163"/>
                  <a:gd name="T20" fmla="*/ 216 w 238"/>
                  <a:gd name="T21" fmla="*/ 96 h 163"/>
                  <a:gd name="T22" fmla="*/ 238 w 238"/>
                  <a:gd name="T23" fmla="*/ 89 h 163"/>
                  <a:gd name="T24" fmla="*/ 216 w 238"/>
                  <a:gd name="T25" fmla="*/ 82 h 163"/>
                  <a:gd name="T26" fmla="*/ 194 w 238"/>
                  <a:gd name="T27" fmla="*/ 82 h 163"/>
                  <a:gd name="T28" fmla="*/ 210 w 238"/>
                  <a:gd name="T29" fmla="*/ 60 h 163"/>
                  <a:gd name="T30" fmla="*/ 201 w 238"/>
                  <a:gd name="T31" fmla="*/ 60 h 163"/>
                  <a:gd name="T32" fmla="*/ 174 w 238"/>
                  <a:gd name="T33" fmla="*/ 89 h 163"/>
                  <a:gd name="T34" fmla="*/ 166 w 238"/>
                  <a:gd name="T35" fmla="*/ 82 h 163"/>
                  <a:gd name="T36" fmla="*/ 153 w 238"/>
                  <a:gd name="T37" fmla="*/ 82 h 163"/>
                  <a:gd name="T38" fmla="*/ 153 w 238"/>
                  <a:gd name="T39" fmla="*/ 76 h 163"/>
                  <a:gd name="T40" fmla="*/ 146 w 238"/>
                  <a:gd name="T41" fmla="*/ 76 h 163"/>
                  <a:gd name="T42" fmla="*/ 146 w 238"/>
                  <a:gd name="T43" fmla="*/ 52 h 163"/>
                  <a:gd name="T44" fmla="*/ 122 w 238"/>
                  <a:gd name="T45" fmla="*/ 35 h 163"/>
                  <a:gd name="T46" fmla="*/ 81 w 238"/>
                  <a:gd name="T47" fmla="*/ 35 h 163"/>
                  <a:gd name="T48" fmla="*/ 50 w 238"/>
                  <a:gd name="T49" fmla="*/ 7 h 163"/>
                  <a:gd name="T50" fmla="*/ 37 w 238"/>
                  <a:gd name="T51" fmla="*/ 0 h 163"/>
                  <a:gd name="T52" fmla="*/ 0 w 238"/>
                  <a:gd name="T53" fmla="*/ 7 h 163"/>
                  <a:gd name="T54" fmla="*/ 0 w 238"/>
                  <a:gd name="T55" fmla="*/ 82 h 163"/>
                  <a:gd name="T56" fmla="*/ 8 w 238"/>
                  <a:gd name="T57" fmla="*/ 82 h 163"/>
                  <a:gd name="T58" fmla="*/ 8 w 238"/>
                  <a:gd name="T59" fmla="*/ 76 h 163"/>
                  <a:gd name="T60" fmla="*/ 29 w 238"/>
                  <a:gd name="T61" fmla="*/ 60 h 163"/>
                  <a:gd name="T62" fmla="*/ 37 w 238"/>
                  <a:gd name="T63" fmla="*/ 60 h 163"/>
                  <a:gd name="T64" fmla="*/ 29 w 238"/>
                  <a:gd name="T65" fmla="*/ 52 h 163"/>
                  <a:gd name="T66" fmla="*/ 37 w 238"/>
                  <a:gd name="T67" fmla="*/ 52 h 163"/>
                  <a:gd name="T68" fmla="*/ 50 w 238"/>
                  <a:gd name="T69" fmla="*/ 60 h 163"/>
                  <a:gd name="T70" fmla="*/ 50 w 238"/>
                  <a:gd name="T71" fmla="*/ 82 h 163"/>
                  <a:gd name="T72" fmla="*/ 81 w 238"/>
                  <a:gd name="T73" fmla="*/ 82 h 163"/>
                  <a:gd name="T74" fmla="*/ 89 w 238"/>
                  <a:gd name="T75" fmla="*/ 114 h 163"/>
                  <a:gd name="T76" fmla="*/ 131 w 238"/>
                  <a:gd name="T77" fmla="*/ 131 h 163"/>
                  <a:gd name="T78" fmla="*/ 153 w 238"/>
                  <a:gd name="T79" fmla="*/ 150 h 163"/>
                  <a:gd name="T80" fmla="*/ 146 w 238"/>
                  <a:gd name="T81" fmla="*/ 163 h 163"/>
                  <a:gd name="T82" fmla="*/ 146 w 238"/>
                  <a:gd name="T83" fmla="*/ 163 h 163"/>
                  <a:gd name="T84" fmla="*/ 146 w 238"/>
                  <a:gd name="T85" fmla="*/ 163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38" h="163">
                    <a:moveTo>
                      <a:pt x="146" y="163"/>
                    </a:moveTo>
                    <a:lnTo>
                      <a:pt x="158" y="163"/>
                    </a:lnTo>
                    <a:lnTo>
                      <a:pt x="166" y="150"/>
                    </a:lnTo>
                    <a:lnTo>
                      <a:pt x="166" y="126"/>
                    </a:lnTo>
                    <a:lnTo>
                      <a:pt x="158" y="119"/>
                    </a:lnTo>
                    <a:lnTo>
                      <a:pt x="174" y="119"/>
                    </a:lnTo>
                    <a:lnTo>
                      <a:pt x="181" y="96"/>
                    </a:lnTo>
                    <a:lnTo>
                      <a:pt x="181" y="89"/>
                    </a:lnTo>
                    <a:lnTo>
                      <a:pt x="201" y="89"/>
                    </a:lnTo>
                    <a:lnTo>
                      <a:pt x="201" y="96"/>
                    </a:lnTo>
                    <a:lnTo>
                      <a:pt x="216" y="96"/>
                    </a:lnTo>
                    <a:lnTo>
                      <a:pt x="238" y="89"/>
                    </a:lnTo>
                    <a:lnTo>
                      <a:pt x="216" y="82"/>
                    </a:lnTo>
                    <a:lnTo>
                      <a:pt x="194" y="82"/>
                    </a:lnTo>
                    <a:lnTo>
                      <a:pt x="210" y="60"/>
                    </a:lnTo>
                    <a:lnTo>
                      <a:pt x="201" y="60"/>
                    </a:lnTo>
                    <a:lnTo>
                      <a:pt x="174" y="89"/>
                    </a:lnTo>
                    <a:lnTo>
                      <a:pt x="166" y="82"/>
                    </a:lnTo>
                    <a:lnTo>
                      <a:pt x="153" y="82"/>
                    </a:lnTo>
                    <a:lnTo>
                      <a:pt x="153" y="76"/>
                    </a:lnTo>
                    <a:lnTo>
                      <a:pt x="146" y="76"/>
                    </a:lnTo>
                    <a:lnTo>
                      <a:pt x="146" y="52"/>
                    </a:lnTo>
                    <a:lnTo>
                      <a:pt x="122" y="35"/>
                    </a:lnTo>
                    <a:lnTo>
                      <a:pt x="81" y="35"/>
                    </a:lnTo>
                    <a:lnTo>
                      <a:pt x="50" y="7"/>
                    </a:lnTo>
                    <a:lnTo>
                      <a:pt x="37" y="0"/>
                    </a:lnTo>
                    <a:lnTo>
                      <a:pt x="0" y="7"/>
                    </a:lnTo>
                    <a:lnTo>
                      <a:pt x="0" y="82"/>
                    </a:lnTo>
                    <a:lnTo>
                      <a:pt x="8" y="82"/>
                    </a:lnTo>
                    <a:lnTo>
                      <a:pt x="8" y="76"/>
                    </a:lnTo>
                    <a:lnTo>
                      <a:pt x="29" y="60"/>
                    </a:lnTo>
                    <a:lnTo>
                      <a:pt x="37" y="60"/>
                    </a:lnTo>
                    <a:lnTo>
                      <a:pt x="29" y="52"/>
                    </a:lnTo>
                    <a:lnTo>
                      <a:pt x="37" y="52"/>
                    </a:lnTo>
                    <a:lnTo>
                      <a:pt x="50" y="60"/>
                    </a:lnTo>
                    <a:lnTo>
                      <a:pt x="50" y="82"/>
                    </a:lnTo>
                    <a:lnTo>
                      <a:pt x="81" y="82"/>
                    </a:lnTo>
                    <a:lnTo>
                      <a:pt x="89" y="114"/>
                    </a:lnTo>
                    <a:lnTo>
                      <a:pt x="131" y="131"/>
                    </a:lnTo>
                    <a:lnTo>
                      <a:pt x="153" y="150"/>
                    </a:lnTo>
                    <a:lnTo>
                      <a:pt x="146" y="163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21" name="Freeform 255"/>
              <p:cNvSpPr>
                <a:spLocks/>
              </p:cNvSpPr>
              <p:nvPr/>
            </p:nvSpPr>
            <p:spPr bwMode="auto">
              <a:xfrm>
                <a:off x="5416550" y="3316288"/>
                <a:ext cx="973138" cy="552450"/>
              </a:xfrm>
              <a:custGeom>
                <a:avLst/>
                <a:gdLst>
                  <a:gd name="T0" fmla="*/ 528 w 554"/>
                  <a:gd name="T1" fmla="*/ 166 h 319"/>
                  <a:gd name="T2" fmla="*/ 484 w 554"/>
                  <a:gd name="T3" fmla="*/ 197 h 319"/>
                  <a:gd name="T4" fmla="*/ 457 w 554"/>
                  <a:gd name="T5" fmla="*/ 235 h 319"/>
                  <a:gd name="T6" fmla="*/ 457 w 554"/>
                  <a:gd name="T7" fmla="*/ 289 h 319"/>
                  <a:gd name="T8" fmla="*/ 385 w 554"/>
                  <a:gd name="T9" fmla="*/ 281 h 319"/>
                  <a:gd name="T10" fmla="*/ 362 w 554"/>
                  <a:gd name="T11" fmla="*/ 281 h 319"/>
                  <a:gd name="T12" fmla="*/ 335 w 554"/>
                  <a:gd name="T13" fmla="*/ 281 h 319"/>
                  <a:gd name="T14" fmla="*/ 293 w 554"/>
                  <a:gd name="T15" fmla="*/ 311 h 319"/>
                  <a:gd name="T16" fmla="*/ 276 w 554"/>
                  <a:gd name="T17" fmla="*/ 304 h 319"/>
                  <a:gd name="T18" fmla="*/ 271 w 554"/>
                  <a:gd name="T19" fmla="*/ 281 h 319"/>
                  <a:gd name="T20" fmla="*/ 208 w 554"/>
                  <a:gd name="T21" fmla="*/ 264 h 319"/>
                  <a:gd name="T22" fmla="*/ 166 w 554"/>
                  <a:gd name="T23" fmla="*/ 229 h 319"/>
                  <a:gd name="T24" fmla="*/ 129 w 554"/>
                  <a:gd name="T25" fmla="*/ 311 h 319"/>
                  <a:gd name="T26" fmla="*/ 107 w 554"/>
                  <a:gd name="T27" fmla="*/ 289 h 319"/>
                  <a:gd name="T28" fmla="*/ 79 w 554"/>
                  <a:gd name="T29" fmla="*/ 281 h 319"/>
                  <a:gd name="T30" fmla="*/ 64 w 554"/>
                  <a:gd name="T31" fmla="*/ 257 h 319"/>
                  <a:gd name="T32" fmla="*/ 70 w 554"/>
                  <a:gd name="T33" fmla="*/ 257 h 319"/>
                  <a:gd name="T34" fmla="*/ 70 w 554"/>
                  <a:gd name="T35" fmla="*/ 235 h 319"/>
                  <a:gd name="T36" fmla="*/ 92 w 554"/>
                  <a:gd name="T37" fmla="*/ 205 h 319"/>
                  <a:gd name="T38" fmla="*/ 35 w 554"/>
                  <a:gd name="T39" fmla="*/ 205 h 319"/>
                  <a:gd name="T40" fmla="*/ 35 w 554"/>
                  <a:gd name="T41" fmla="*/ 197 h 319"/>
                  <a:gd name="T42" fmla="*/ 8 w 554"/>
                  <a:gd name="T43" fmla="*/ 182 h 319"/>
                  <a:gd name="T44" fmla="*/ 8 w 554"/>
                  <a:gd name="T45" fmla="*/ 113 h 319"/>
                  <a:gd name="T46" fmla="*/ 35 w 554"/>
                  <a:gd name="T47" fmla="*/ 136 h 319"/>
                  <a:gd name="T48" fmla="*/ 49 w 554"/>
                  <a:gd name="T49" fmla="*/ 82 h 319"/>
                  <a:gd name="T50" fmla="*/ 79 w 554"/>
                  <a:gd name="T51" fmla="*/ 82 h 319"/>
                  <a:gd name="T52" fmla="*/ 121 w 554"/>
                  <a:gd name="T53" fmla="*/ 113 h 319"/>
                  <a:gd name="T54" fmla="*/ 156 w 554"/>
                  <a:gd name="T55" fmla="*/ 106 h 319"/>
                  <a:gd name="T56" fmla="*/ 201 w 554"/>
                  <a:gd name="T57" fmla="*/ 113 h 319"/>
                  <a:gd name="T58" fmla="*/ 178 w 554"/>
                  <a:gd name="T59" fmla="*/ 82 h 319"/>
                  <a:gd name="T60" fmla="*/ 193 w 554"/>
                  <a:gd name="T61" fmla="*/ 71 h 319"/>
                  <a:gd name="T62" fmla="*/ 201 w 554"/>
                  <a:gd name="T63" fmla="*/ 30 h 319"/>
                  <a:gd name="T64" fmla="*/ 293 w 554"/>
                  <a:gd name="T65" fmla="*/ 15 h 319"/>
                  <a:gd name="T66" fmla="*/ 328 w 554"/>
                  <a:gd name="T67" fmla="*/ 0 h 319"/>
                  <a:gd name="T68" fmla="*/ 335 w 554"/>
                  <a:gd name="T69" fmla="*/ 30 h 319"/>
                  <a:gd name="T70" fmla="*/ 362 w 554"/>
                  <a:gd name="T71" fmla="*/ 39 h 319"/>
                  <a:gd name="T72" fmla="*/ 379 w 554"/>
                  <a:gd name="T73" fmla="*/ 54 h 319"/>
                  <a:gd name="T74" fmla="*/ 414 w 554"/>
                  <a:gd name="T75" fmla="*/ 24 h 319"/>
                  <a:gd name="T76" fmla="*/ 457 w 554"/>
                  <a:gd name="T77" fmla="*/ 113 h 319"/>
                  <a:gd name="T78" fmla="*/ 471 w 554"/>
                  <a:gd name="T79" fmla="*/ 113 h 319"/>
                  <a:gd name="T80" fmla="*/ 519 w 554"/>
                  <a:gd name="T81" fmla="*/ 136 h 319"/>
                  <a:gd name="T82" fmla="*/ 541 w 554"/>
                  <a:gd name="T83" fmla="*/ 136 h 319"/>
                  <a:gd name="T84" fmla="*/ 541 w 554"/>
                  <a:gd name="T85" fmla="*/ 160 h 319"/>
                  <a:gd name="T86" fmla="*/ 541 w 554"/>
                  <a:gd name="T87" fmla="*/ 160 h 3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554" h="319">
                    <a:moveTo>
                      <a:pt x="541" y="160"/>
                    </a:moveTo>
                    <a:lnTo>
                      <a:pt x="528" y="166"/>
                    </a:lnTo>
                    <a:lnTo>
                      <a:pt x="519" y="197"/>
                    </a:lnTo>
                    <a:lnTo>
                      <a:pt x="484" y="197"/>
                    </a:lnTo>
                    <a:lnTo>
                      <a:pt x="477" y="235"/>
                    </a:lnTo>
                    <a:lnTo>
                      <a:pt x="457" y="235"/>
                    </a:lnTo>
                    <a:lnTo>
                      <a:pt x="464" y="281"/>
                    </a:lnTo>
                    <a:lnTo>
                      <a:pt x="457" y="289"/>
                    </a:lnTo>
                    <a:lnTo>
                      <a:pt x="434" y="281"/>
                    </a:lnTo>
                    <a:lnTo>
                      <a:pt x="385" y="281"/>
                    </a:lnTo>
                    <a:lnTo>
                      <a:pt x="369" y="274"/>
                    </a:lnTo>
                    <a:lnTo>
                      <a:pt x="362" y="281"/>
                    </a:lnTo>
                    <a:lnTo>
                      <a:pt x="362" y="289"/>
                    </a:lnTo>
                    <a:lnTo>
                      <a:pt x="335" y="281"/>
                    </a:lnTo>
                    <a:lnTo>
                      <a:pt x="298" y="319"/>
                    </a:lnTo>
                    <a:lnTo>
                      <a:pt x="293" y="311"/>
                    </a:lnTo>
                    <a:lnTo>
                      <a:pt x="276" y="311"/>
                    </a:lnTo>
                    <a:lnTo>
                      <a:pt x="276" y="304"/>
                    </a:lnTo>
                    <a:lnTo>
                      <a:pt x="271" y="304"/>
                    </a:lnTo>
                    <a:lnTo>
                      <a:pt x="271" y="281"/>
                    </a:lnTo>
                    <a:lnTo>
                      <a:pt x="250" y="264"/>
                    </a:lnTo>
                    <a:lnTo>
                      <a:pt x="208" y="264"/>
                    </a:lnTo>
                    <a:lnTo>
                      <a:pt x="178" y="235"/>
                    </a:lnTo>
                    <a:lnTo>
                      <a:pt x="166" y="229"/>
                    </a:lnTo>
                    <a:lnTo>
                      <a:pt x="129" y="235"/>
                    </a:lnTo>
                    <a:lnTo>
                      <a:pt x="129" y="311"/>
                    </a:lnTo>
                    <a:lnTo>
                      <a:pt x="121" y="311"/>
                    </a:lnTo>
                    <a:lnTo>
                      <a:pt x="107" y="289"/>
                    </a:lnTo>
                    <a:lnTo>
                      <a:pt x="79" y="304"/>
                    </a:lnTo>
                    <a:lnTo>
                      <a:pt x="79" y="281"/>
                    </a:lnTo>
                    <a:lnTo>
                      <a:pt x="70" y="281"/>
                    </a:lnTo>
                    <a:lnTo>
                      <a:pt x="64" y="257"/>
                    </a:lnTo>
                    <a:lnTo>
                      <a:pt x="49" y="257"/>
                    </a:lnTo>
                    <a:lnTo>
                      <a:pt x="70" y="257"/>
                    </a:lnTo>
                    <a:lnTo>
                      <a:pt x="64" y="244"/>
                    </a:lnTo>
                    <a:lnTo>
                      <a:pt x="70" y="235"/>
                    </a:lnTo>
                    <a:lnTo>
                      <a:pt x="107" y="235"/>
                    </a:lnTo>
                    <a:lnTo>
                      <a:pt x="92" y="205"/>
                    </a:lnTo>
                    <a:lnTo>
                      <a:pt x="64" y="188"/>
                    </a:lnTo>
                    <a:lnTo>
                      <a:pt x="35" y="205"/>
                    </a:lnTo>
                    <a:lnTo>
                      <a:pt x="28" y="205"/>
                    </a:lnTo>
                    <a:lnTo>
                      <a:pt x="35" y="197"/>
                    </a:lnTo>
                    <a:lnTo>
                      <a:pt x="28" y="182"/>
                    </a:lnTo>
                    <a:lnTo>
                      <a:pt x="8" y="182"/>
                    </a:lnTo>
                    <a:lnTo>
                      <a:pt x="0" y="160"/>
                    </a:lnTo>
                    <a:lnTo>
                      <a:pt x="8" y="113"/>
                    </a:lnTo>
                    <a:lnTo>
                      <a:pt x="28" y="136"/>
                    </a:lnTo>
                    <a:lnTo>
                      <a:pt x="35" y="136"/>
                    </a:lnTo>
                    <a:lnTo>
                      <a:pt x="28" y="113"/>
                    </a:lnTo>
                    <a:lnTo>
                      <a:pt x="49" y="82"/>
                    </a:lnTo>
                    <a:lnTo>
                      <a:pt x="70" y="96"/>
                    </a:lnTo>
                    <a:lnTo>
                      <a:pt x="79" y="82"/>
                    </a:lnTo>
                    <a:lnTo>
                      <a:pt x="92" y="96"/>
                    </a:lnTo>
                    <a:lnTo>
                      <a:pt x="121" y="113"/>
                    </a:lnTo>
                    <a:lnTo>
                      <a:pt x="136" y="106"/>
                    </a:lnTo>
                    <a:lnTo>
                      <a:pt x="156" y="106"/>
                    </a:lnTo>
                    <a:lnTo>
                      <a:pt x="166" y="113"/>
                    </a:lnTo>
                    <a:lnTo>
                      <a:pt x="201" y="113"/>
                    </a:lnTo>
                    <a:lnTo>
                      <a:pt x="208" y="96"/>
                    </a:lnTo>
                    <a:lnTo>
                      <a:pt x="178" y="82"/>
                    </a:lnTo>
                    <a:lnTo>
                      <a:pt x="201" y="77"/>
                    </a:lnTo>
                    <a:lnTo>
                      <a:pt x="193" y="71"/>
                    </a:lnTo>
                    <a:lnTo>
                      <a:pt x="201" y="62"/>
                    </a:lnTo>
                    <a:lnTo>
                      <a:pt x="201" y="30"/>
                    </a:lnTo>
                    <a:lnTo>
                      <a:pt x="214" y="39"/>
                    </a:lnTo>
                    <a:lnTo>
                      <a:pt x="293" y="15"/>
                    </a:lnTo>
                    <a:lnTo>
                      <a:pt x="293" y="0"/>
                    </a:lnTo>
                    <a:lnTo>
                      <a:pt x="328" y="0"/>
                    </a:lnTo>
                    <a:lnTo>
                      <a:pt x="335" y="24"/>
                    </a:lnTo>
                    <a:lnTo>
                      <a:pt x="335" y="30"/>
                    </a:lnTo>
                    <a:lnTo>
                      <a:pt x="340" y="30"/>
                    </a:lnTo>
                    <a:lnTo>
                      <a:pt x="362" y="39"/>
                    </a:lnTo>
                    <a:lnTo>
                      <a:pt x="362" y="54"/>
                    </a:lnTo>
                    <a:lnTo>
                      <a:pt x="379" y="54"/>
                    </a:lnTo>
                    <a:lnTo>
                      <a:pt x="392" y="30"/>
                    </a:lnTo>
                    <a:lnTo>
                      <a:pt x="414" y="24"/>
                    </a:lnTo>
                    <a:lnTo>
                      <a:pt x="420" y="54"/>
                    </a:lnTo>
                    <a:lnTo>
                      <a:pt x="457" y="113"/>
                    </a:lnTo>
                    <a:lnTo>
                      <a:pt x="464" y="96"/>
                    </a:lnTo>
                    <a:lnTo>
                      <a:pt x="471" y="113"/>
                    </a:lnTo>
                    <a:lnTo>
                      <a:pt x="498" y="106"/>
                    </a:lnTo>
                    <a:lnTo>
                      <a:pt x="519" y="136"/>
                    </a:lnTo>
                    <a:lnTo>
                      <a:pt x="541" y="143"/>
                    </a:lnTo>
                    <a:lnTo>
                      <a:pt x="541" y="136"/>
                    </a:lnTo>
                    <a:lnTo>
                      <a:pt x="554" y="151"/>
                    </a:lnTo>
                    <a:lnTo>
                      <a:pt x="541" y="160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22" name="Freeform 256"/>
              <p:cNvSpPr>
                <a:spLocks/>
              </p:cNvSpPr>
              <p:nvPr/>
            </p:nvSpPr>
            <p:spPr bwMode="auto">
              <a:xfrm>
                <a:off x="6767513" y="3305175"/>
                <a:ext cx="152400" cy="190500"/>
              </a:xfrm>
              <a:custGeom>
                <a:avLst/>
                <a:gdLst>
                  <a:gd name="T0" fmla="*/ 0 w 87"/>
                  <a:gd name="T1" fmla="*/ 101 h 109"/>
                  <a:gd name="T2" fmla="*/ 7 w 87"/>
                  <a:gd name="T3" fmla="*/ 109 h 109"/>
                  <a:gd name="T4" fmla="*/ 37 w 87"/>
                  <a:gd name="T5" fmla="*/ 101 h 109"/>
                  <a:gd name="T6" fmla="*/ 37 w 87"/>
                  <a:gd name="T7" fmla="*/ 87 h 109"/>
                  <a:gd name="T8" fmla="*/ 65 w 87"/>
                  <a:gd name="T9" fmla="*/ 74 h 109"/>
                  <a:gd name="T10" fmla="*/ 79 w 87"/>
                  <a:gd name="T11" fmla="*/ 45 h 109"/>
                  <a:gd name="T12" fmla="*/ 87 w 87"/>
                  <a:gd name="T13" fmla="*/ 0 h 109"/>
                  <a:gd name="T14" fmla="*/ 79 w 87"/>
                  <a:gd name="T15" fmla="*/ 0 h 109"/>
                  <a:gd name="T16" fmla="*/ 65 w 87"/>
                  <a:gd name="T17" fmla="*/ 45 h 109"/>
                  <a:gd name="T18" fmla="*/ 28 w 87"/>
                  <a:gd name="T19" fmla="*/ 87 h 109"/>
                  <a:gd name="T20" fmla="*/ 0 w 87"/>
                  <a:gd name="T21" fmla="*/ 101 h 109"/>
                  <a:gd name="T22" fmla="*/ 0 w 87"/>
                  <a:gd name="T23" fmla="*/ 101 h 109"/>
                  <a:gd name="T24" fmla="*/ 0 w 87"/>
                  <a:gd name="T25" fmla="*/ 101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7" h="109">
                    <a:moveTo>
                      <a:pt x="0" y="101"/>
                    </a:moveTo>
                    <a:lnTo>
                      <a:pt x="7" y="109"/>
                    </a:lnTo>
                    <a:lnTo>
                      <a:pt x="37" y="101"/>
                    </a:lnTo>
                    <a:lnTo>
                      <a:pt x="37" y="87"/>
                    </a:lnTo>
                    <a:lnTo>
                      <a:pt x="65" y="74"/>
                    </a:lnTo>
                    <a:lnTo>
                      <a:pt x="79" y="45"/>
                    </a:lnTo>
                    <a:lnTo>
                      <a:pt x="87" y="0"/>
                    </a:lnTo>
                    <a:lnTo>
                      <a:pt x="79" y="0"/>
                    </a:lnTo>
                    <a:lnTo>
                      <a:pt x="65" y="45"/>
                    </a:lnTo>
                    <a:lnTo>
                      <a:pt x="28" y="87"/>
                    </a:lnTo>
                    <a:lnTo>
                      <a:pt x="0" y="101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23" name="Freeform 257"/>
              <p:cNvSpPr>
                <a:spLocks/>
              </p:cNvSpPr>
              <p:nvPr/>
            </p:nvSpPr>
            <p:spPr bwMode="auto">
              <a:xfrm>
                <a:off x="6389688" y="3457575"/>
                <a:ext cx="754062" cy="400050"/>
              </a:xfrm>
              <a:custGeom>
                <a:avLst/>
                <a:gdLst>
                  <a:gd name="T0" fmla="*/ 287 w 429"/>
                  <a:gd name="T1" fmla="*/ 61 h 229"/>
                  <a:gd name="T2" fmla="*/ 235 w 429"/>
                  <a:gd name="T3" fmla="*/ 30 h 229"/>
                  <a:gd name="T4" fmla="*/ 217 w 429"/>
                  <a:gd name="T5" fmla="*/ 39 h 229"/>
                  <a:gd name="T6" fmla="*/ 208 w 429"/>
                  <a:gd name="T7" fmla="*/ 39 h 229"/>
                  <a:gd name="T8" fmla="*/ 195 w 429"/>
                  <a:gd name="T9" fmla="*/ 14 h 229"/>
                  <a:gd name="T10" fmla="*/ 158 w 429"/>
                  <a:gd name="T11" fmla="*/ 0 h 229"/>
                  <a:gd name="T12" fmla="*/ 136 w 429"/>
                  <a:gd name="T13" fmla="*/ 14 h 229"/>
                  <a:gd name="T14" fmla="*/ 136 w 429"/>
                  <a:gd name="T15" fmla="*/ 52 h 229"/>
                  <a:gd name="T16" fmla="*/ 103 w 429"/>
                  <a:gd name="T17" fmla="*/ 52 h 229"/>
                  <a:gd name="T18" fmla="*/ 86 w 429"/>
                  <a:gd name="T19" fmla="*/ 39 h 229"/>
                  <a:gd name="T20" fmla="*/ 51 w 429"/>
                  <a:gd name="T21" fmla="*/ 30 h 229"/>
                  <a:gd name="T22" fmla="*/ 0 w 429"/>
                  <a:gd name="T23" fmla="*/ 69 h 229"/>
                  <a:gd name="T24" fmla="*/ 16 w 429"/>
                  <a:gd name="T25" fmla="*/ 98 h 229"/>
                  <a:gd name="T26" fmla="*/ 37 w 429"/>
                  <a:gd name="T27" fmla="*/ 98 h 229"/>
                  <a:gd name="T28" fmla="*/ 44 w 429"/>
                  <a:gd name="T29" fmla="*/ 114 h 229"/>
                  <a:gd name="T30" fmla="*/ 44 w 429"/>
                  <a:gd name="T31" fmla="*/ 153 h 229"/>
                  <a:gd name="T32" fmla="*/ 93 w 429"/>
                  <a:gd name="T33" fmla="*/ 175 h 229"/>
                  <a:gd name="T34" fmla="*/ 123 w 429"/>
                  <a:gd name="T35" fmla="*/ 198 h 229"/>
                  <a:gd name="T36" fmla="*/ 173 w 429"/>
                  <a:gd name="T37" fmla="*/ 198 h 229"/>
                  <a:gd name="T38" fmla="*/ 200 w 429"/>
                  <a:gd name="T39" fmla="*/ 220 h 229"/>
                  <a:gd name="T40" fmla="*/ 235 w 429"/>
                  <a:gd name="T41" fmla="*/ 229 h 229"/>
                  <a:gd name="T42" fmla="*/ 264 w 429"/>
                  <a:gd name="T43" fmla="*/ 205 h 229"/>
                  <a:gd name="T44" fmla="*/ 300 w 429"/>
                  <a:gd name="T45" fmla="*/ 205 h 229"/>
                  <a:gd name="T46" fmla="*/ 329 w 429"/>
                  <a:gd name="T47" fmla="*/ 182 h 229"/>
                  <a:gd name="T48" fmla="*/ 322 w 429"/>
                  <a:gd name="T49" fmla="*/ 175 h 229"/>
                  <a:gd name="T50" fmla="*/ 337 w 429"/>
                  <a:gd name="T51" fmla="*/ 153 h 229"/>
                  <a:gd name="T52" fmla="*/ 351 w 429"/>
                  <a:gd name="T53" fmla="*/ 160 h 229"/>
                  <a:gd name="T54" fmla="*/ 379 w 429"/>
                  <a:gd name="T55" fmla="*/ 146 h 229"/>
                  <a:gd name="T56" fmla="*/ 393 w 429"/>
                  <a:gd name="T57" fmla="*/ 123 h 229"/>
                  <a:gd name="T58" fmla="*/ 429 w 429"/>
                  <a:gd name="T59" fmla="*/ 123 h 229"/>
                  <a:gd name="T60" fmla="*/ 414 w 429"/>
                  <a:gd name="T61" fmla="*/ 98 h 229"/>
                  <a:gd name="T62" fmla="*/ 393 w 429"/>
                  <a:gd name="T63" fmla="*/ 106 h 229"/>
                  <a:gd name="T64" fmla="*/ 379 w 429"/>
                  <a:gd name="T65" fmla="*/ 106 h 229"/>
                  <a:gd name="T66" fmla="*/ 379 w 429"/>
                  <a:gd name="T67" fmla="*/ 69 h 229"/>
                  <a:gd name="T68" fmla="*/ 384 w 429"/>
                  <a:gd name="T69" fmla="*/ 52 h 229"/>
                  <a:gd name="T70" fmla="*/ 364 w 429"/>
                  <a:gd name="T71" fmla="*/ 39 h 229"/>
                  <a:gd name="T72" fmla="*/ 344 w 429"/>
                  <a:gd name="T73" fmla="*/ 61 h 229"/>
                  <a:gd name="T74" fmla="*/ 307 w 429"/>
                  <a:gd name="T75" fmla="*/ 69 h 229"/>
                  <a:gd name="T76" fmla="*/ 287 w 429"/>
                  <a:gd name="T77" fmla="*/ 61 h 229"/>
                  <a:gd name="T78" fmla="*/ 287 w 429"/>
                  <a:gd name="T79" fmla="*/ 61 h 229"/>
                  <a:gd name="T80" fmla="*/ 287 w 429"/>
                  <a:gd name="T81" fmla="*/ 61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429" h="229">
                    <a:moveTo>
                      <a:pt x="287" y="61"/>
                    </a:moveTo>
                    <a:lnTo>
                      <a:pt x="235" y="30"/>
                    </a:lnTo>
                    <a:lnTo>
                      <a:pt x="217" y="39"/>
                    </a:lnTo>
                    <a:lnTo>
                      <a:pt x="208" y="39"/>
                    </a:lnTo>
                    <a:lnTo>
                      <a:pt x="195" y="14"/>
                    </a:lnTo>
                    <a:lnTo>
                      <a:pt x="158" y="0"/>
                    </a:lnTo>
                    <a:lnTo>
                      <a:pt x="136" y="14"/>
                    </a:lnTo>
                    <a:lnTo>
                      <a:pt x="136" y="52"/>
                    </a:lnTo>
                    <a:lnTo>
                      <a:pt x="103" y="52"/>
                    </a:lnTo>
                    <a:lnTo>
                      <a:pt x="86" y="39"/>
                    </a:lnTo>
                    <a:lnTo>
                      <a:pt x="51" y="30"/>
                    </a:lnTo>
                    <a:lnTo>
                      <a:pt x="0" y="69"/>
                    </a:lnTo>
                    <a:lnTo>
                      <a:pt x="16" y="98"/>
                    </a:lnTo>
                    <a:lnTo>
                      <a:pt x="37" y="98"/>
                    </a:lnTo>
                    <a:lnTo>
                      <a:pt x="44" y="114"/>
                    </a:lnTo>
                    <a:lnTo>
                      <a:pt x="44" y="153"/>
                    </a:lnTo>
                    <a:lnTo>
                      <a:pt x="93" y="175"/>
                    </a:lnTo>
                    <a:lnTo>
                      <a:pt x="123" y="198"/>
                    </a:lnTo>
                    <a:lnTo>
                      <a:pt x="173" y="198"/>
                    </a:lnTo>
                    <a:lnTo>
                      <a:pt x="200" y="220"/>
                    </a:lnTo>
                    <a:lnTo>
                      <a:pt x="235" y="229"/>
                    </a:lnTo>
                    <a:lnTo>
                      <a:pt x="264" y="205"/>
                    </a:lnTo>
                    <a:lnTo>
                      <a:pt x="300" y="205"/>
                    </a:lnTo>
                    <a:lnTo>
                      <a:pt x="329" y="182"/>
                    </a:lnTo>
                    <a:lnTo>
                      <a:pt x="322" y="175"/>
                    </a:lnTo>
                    <a:lnTo>
                      <a:pt x="337" y="153"/>
                    </a:lnTo>
                    <a:lnTo>
                      <a:pt x="351" y="160"/>
                    </a:lnTo>
                    <a:lnTo>
                      <a:pt x="379" y="146"/>
                    </a:lnTo>
                    <a:lnTo>
                      <a:pt x="393" y="123"/>
                    </a:lnTo>
                    <a:lnTo>
                      <a:pt x="429" y="123"/>
                    </a:lnTo>
                    <a:lnTo>
                      <a:pt x="414" y="98"/>
                    </a:lnTo>
                    <a:lnTo>
                      <a:pt x="393" y="106"/>
                    </a:lnTo>
                    <a:lnTo>
                      <a:pt x="379" y="106"/>
                    </a:lnTo>
                    <a:lnTo>
                      <a:pt x="379" y="69"/>
                    </a:lnTo>
                    <a:lnTo>
                      <a:pt x="384" y="52"/>
                    </a:lnTo>
                    <a:lnTo>
                      <a:pt x="364" y="39"/>
                    </a:lnTo>
                    <a:lnTo>
                      <a:pt x="344" y="61"/>
                    </a:lnTo>
                    <a:lnTo>
                      <a:pt x="307" y="69"/>
                    </a:lnTo>
                    <a:lnTo>
                      <a:pt x="287" y="61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24" name="Freeform 258"/>
              <p:cNvSpPr>
                <a:spLocks/>
              </p:cNvSpPr>
              <p:nvPr/>
            </p:nvSpPr>
            <p:spPr bwMode="auto">
              <a:xfrm>
                <a:off x="6389688" y="4322763"/>
                <a:ext cx="128587" cy="136525"/>
              </a:xfrm>
              <a:custGeom>
                <a:avLst/>
                <a:gdLst>
                  <a:gd name="T0" fmla="*/ 73 w 73"/>
                  <a:gd name="T1" fmla="*/ 72 h 77"/>
                  <a:gd name="T2" fmla="*/ 59 w 73"/>
                  <a:gd name="T3" fmla="*/ 47 h 77"/>
                  <a:gd name="T4" fmla="*/ 59 w 73"/>
                  <a:gd name="T5" fmla="*/ 32 h 77"/>
                  <a:gd name="T6" fmla="*/ 51 w 73"/>
                  <a:gd name="T7" fmla="*/ 47 h 77"/>
                  <a:gd name="T8" fmla="*/ 44 w 73"/>
                  <a:gd name="T9" fmla="*/ 47 h 77"/>
                  <a:gd name="T10" fmla="*/ 44 w 73"/>
                  <a:gd name="T11" fmla="*/ 32 h 77"/>
                  <a:gd name="T12" fmla="*/ 59 w 73"/>
                  <a:gd name="T13" fmla="*/ 15 h 77"/>
                  <a:gd name="T14" fmla="*/ 29 w 73"/>
                  <a:gd name="T15" fmla="*/ 15 h 77"/>
                  <a:gd name="T16" fmla="*/ 29 w 73"/>
                  <a:gd name="T17" fmla="*/ 0 h 77"/>
                  <a:gd name="T18" fmla="*/ 9 w 73"/>
                  <a:gd name="T19" fmla="*/ 0 h 77"/>
                  <a:gd name="T20" fmla="*/ 9 w 73"/>
                  <a:gd name="T21" fmla="*/ 7 h 77"/>
                  <a:gd name="T22" fmla="*/ 0 w 73"/>
                  <a:gd name="T23" fmla="*/ 25 h 77"/>
                  <a:gd name="T24" fmla="*/ 9 w 73"/>
                  <a:gd name="T25" fmla="*/ 25 h 77"/>
                  <a:gd name="T26" fmla="*/ 16 w 73"/>
                  <a:gd name="T27" fmla="*/ 72 h 77"/>
                  <a:gd name="T28" fmla="*/ 37 w 73"/>
                  <a:gd name="T29" fmla="*/ 72 h 77"/>
                  <a:gd name="T30" fmla="*/ 51 w 73"/>
                  <a:gd name="T31" fmla="*/ 55 h 77"/>
                  <a:gd name="T32" fmla="*/ 59 w 73"/>
                  <a:gd name="T33" fmla="*/ 77 h 77"/>
                  <a:gd name="T34" fmla="*/ 73 w 73"/>
                  <a:gd name="T35" fmla="*/ 72 h 77"/>
                  <a:gd name="T36" fmla="*/ 73 w 73"/>
                  <a:gd name="T37" fmla="*/ 72 h 77"/>
                  <a:gd name="T38" fmla="*/ 73 w 73"/>
                  <a:gd name="T39" fmla="*/ 72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3" h="77">
                    <a:moveTo>
                      <a:pt x="73" y="72"/>
                    </a:moveTo>
                    <a:lnTo>
                      <a:pt x="59" y="47"/>
                    </a:lnTo>
                    <a:lnTo>
                      <a:pt x="59" y="32"/>
                    </a:lnTo>
                    <a:lnTo>
                      <a:pt x="51" y="47"/>
                    </a:lnTo>
                    <a:lnTo>
                      <a:pt x="44" y="47"/>
                    </a:lnTo>
                    <a:lnTo>
                      <a:pt x="44" y="32"/>
                    </a:lnTo>
                    <a:lnTo>
                      <a:pt x="59" y="15"/>
                    </a:lnTo>
                    <a:lnTo>
                      <a:pt x="29" y="15"/>
                    </a:lnTo>
                    <a:lnTo>
                      <a:pt x="29" y="0"/>
                    </a:lnTo>
                    <a:lnTo>
                      <a:pt x="9" y="0"/>
                    </a:lnTo>
                    <a:lnTo>
                      <a:pt x="9" y="7"/>
                    </a:lnTo>
                    <a:lnTo>
                      <a:pt x="0" y="25"/>
                    </a:lnTo>
                    <a:lnTo>
                      <a:pt x="9" y="25"/>
                    </a:lnTo>
                    <a:lnTo>
                      <a:pt x="16" y="72"/>
                    </a:lnTo>
                    <a:lnTo>
                      <a:pt x="37" y="72"/>
                    </a:lnTo>
                    <a:lnTo>
                      <a:pt x="51" y="55"/>
                    </a:lnTo>
                    <a:lnTo>
                      <a:pt x="59" y="77"/>
                    </a:lnTo>
                    <a:lnTo>
                      <a:pt x="73" y="72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25" name="Freeform 259"/>
              <p:cNvSpPr>
                <a:spLocks/>
              </p:cNvSpPr>
              <p:nvPr/>
            </p:nvSpPr>
            <p:spPr bwMode="auto">
              <a:xfrm>
                <a:off x="6494463" y="4270375"/>
                <a:ext cx="207962" cy="498475"/>
              </a:xfrm>
              <a:custGeom>
                <a:avLst/>
                <a:gdLst>
                  <a:gd name="T0" fmla="*/ 91 w 119"/>
                  <a:gd name="T1" fmla="*/ 285 h 285"/>
                  <a:gd name="T2" fmla="*/ 106 w 119"/>
                  <a:gd name="T3" fmla="*/ 249 h 285"/>
                  <a:gd name="T4" fmla="*/ 91 w 119"/>
                  <a:gd name="T5" fmla="*/ 203 h 285"/>
                  <a:gd name="T6" fmla="*/ 91 w 119"/>
                  <a:gd name="T7" fmla="*/ 183 h 285"/>
                  <a:gd name="T8" fmla="*/ 77 w 119"/>
                  <a:gd name="T9" fmla="*/ 158 h 285"/>
                  <a:gd name="T10" fmla="*/ 77 w 119"/>
                  <a:gd name="T11" fmla="*/ 136 h 285"/>
                  <a:gd name="T12" fmla="*/ 111 w 119"/>
                  <a:gd name="T13" fmla="*/ 122 h 285"/>
                  <a:gd name="T14" fmla="*/ 119 w 119"/>
                  <a:gd name="T15" fmla="*/ 101 h 285"/>
                  <a:gd name="T16" fmla="*/ 111 w 119"/>
                  <a:gd name="T17" fmla="*/ 101 h 285"/>
                  <a:gd name="T18" fmla="*/ 97 w 119"/>
                  <a:gd name="T19" fmla="*/ 92 h 285"/>
                  <a:gd name="T20" fmla="*/ 97 w 119"/>
                  <a:gd name="T21" fmla="*/ 77 h 285"/>
                  <a:gd name="T22" fmla="*/ 91 w 119"/>
                  <a:gd name="T23" fmla="*/ 62 h 285"/>
                  <a:gd name="T24" fmla="*/ 77 w 119"/>
                  <a:gd name="T25" fmla="*/ 62 h 285"/>
                  <a:gd name="T26" fmla="*/ 91 w 119"/>
                  <a:gd name="T27" fmla="*/ 17 h 285"/>
                  <a:gd name="T28" fmla="*/ 77 w 119"/>
                  <a:gd name="T29" fmla="*/ 0 h 285"/>
                  <a:gd name="T30" fmla="*/ 71 w 119"/>
                  <a:gd name="T31" fmla="*/ 0 h 285"/>
                  <a:gd name="T32" fmla="*/ 71 w 119"/>
                  <a:gd name="T33" fmla="*/ 17 h 285"/>
                  <a:gd name="T34" fmla="*/ 55 w 119"/>
                  <a:gd name="T35" fmla="*/ 17 h 285"/>
                  <a:gd name="T36" fmla="*/ 14 w 119"/>
                  <a:gd name="T37" fmla="*/ 92 h 285"/>
                  <a:gd name="T38" fmla="*/ 14 w 119"/>
                  <a:gd name="T39" fmla="*/ 101 h 285"/>
                  <a:gd name="T40" fmla="*/ 0 w 119"/>
                  <a:gd name="T41" fmla="*/ 106 h 285"/>
                  <a:gd name="T42" fmla="*/ 22 w 119"/>
                  <a:gd name="T43" fmla="*/ 129 h 285"/>
                  <a:gd name="T44" fmla="*/ 34 w 119"/>
                  <a:gd name="T45" fmla="*/ 173 h 285"/>
                  <a:gd name="T46" fmla="*/ 27 w 119"/>
                  <a:gd name="T47" fmla="*/ 183 h 285"/>
                  <a:gd name="T48" fmla="*/ 44 w 119"/>
                  <a:gd name="T49" fmla="*/ 195 h 285"/>
                  <a:gd name="T50" fmla="*/ 64 w 119"/>
                  <a:gd name="T51" fmla="*/ 173 h 285"/>
                  <a:gd name="T52" fmla="*/ 71 w 119"/>
                  <a:gd name="T53" fmla="*/ 183 h 285"/>
                  <a:gd name="T54" fmla="*/ 91 w 119"/>
                  <a:gd name="T55" fmla="*/ 242 h 285"/>
                  <a:gd name="T56" fmla="*/ 91 w 119"/>
                  <a:gd name="T57" fmla="*/ 285 h 285"/>
                  <a:gd name="T58" fmla="*/ 91 w 119"/>
                  <a:gd name="T59" fmla="*/ 285 h 285"/>
                  <a:gd name="T60" fmla="*/ 91 w 119"/>
                  <a:gd name="T61" fmla="*/ 285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19" h="285">
                    <a:moveTo>
                      <a:pt x="91" y="285"/>
                    </a:moveTo>
                    <a:lnTo>
                      <a:pt x="106" y="249"/>
                    </a:lnTo>
                    <a:lnTo>
                      <a:pt x="91" y="203"/>
                    </a:lnTo>
                    <a:lnTo>
                      <a:pt x="91" y="183"/>
                    </a:lnTo>
                    <a:lnTo>
                      <a:pt x="77" y="158"/>
                    </a:lnTo>
                    <a:lnTo>
                      <a:pt x="77" y="136"/>
                    </a:lnTo>
                    <a:lnTo>
                      <a:pt x="111" y="122"/>
                    </a:lnTo>
                    <a:lnTo>
                      <a:pt x="119" y="101"/>
                    </a:lnTo>
                    <a:lnTo>
                      <a:pt x="111" y="101"/>
                    </a:lnTo>
                    <a:lnTo>
                      <a:pt x="97" y="92"/>
                    </a:lnTo>
                    <a:lnTo>
                      <a:pt x="97" y="77"/>
                    </a:lnTo>
                    <a:lnTo>
                      <a:pt x="91" y="62"/>
                    </a:lnTo>
                    <a:lnTo>
                      <a:pt x="77" y="62"/>
                    </a:lnTo>
                    <a:lnTo>
                      <a:pt x="91" y="17"/>
                    </a:lnTo>
                    <a:lnTo>
                      <a:pt x="77" y="0"/>
                    </a:lnTo>
                    <a:lnTo>
                      <a:pt x="71" y="0"/>
                    </a:lnTo>
                    <a:lnTo>
                      <a:pt x="71" y="17"/>
                    </a:lnTo>
                    <a:lnTo>
                      <a:pt x="55" y="17"/>
                    </a:lnTo>
                    <a:lnTo>
                      <a:pt x="14" y="92"/>
                    </a:lnTo>
                    <a:lnTo>
                      <a:pt x="14" y="101"/>
                    </a:lnTo>
                    <a:lnTo>
                      <a:pt x="0" y="106"/>
                    </a:lnTo>
                    <a:lnTo>
                      <a:pt x="22" y="129"/>
                    </a:lnTo>
                    <a:lnTo>
                      <a:pt x="34" y="173"/>
                    </a:lnTo>
                    <a:lnTo>
                      <a:pt x="27" y="183"/>
                    </a:lnTo>
                    <a:lnTo>
                      <a:pt x="44" y="195"/>
                    </a:lnTo>
                    <a:lnTo>
                      <a:pt x="64" y="173"/>
                    </a:lnTo>
                    <a:lnTo>
                      <a:pt x="71" y="183"/>
                    </a:lnTo>
                    <a:lnTo>
                      <a:pt x="91" y="242"/>
                    </a:lnTo>
                    <a:lnTo>
                      <a:pt x="91" y="285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26" name="Freeform 260"/>
              <p:cNvSpPr>
                <a:spLocks/>
              </p:cNvSpPr>
              <p:nvPr/>
            </p:nvSpPr>
            <p:spPr bwMode="auto">
              <a:xfrm>
                <a:off x="6691313" y="4429125"/>
                <a:ext cx="163512" cy="223838"/>
              </a:xfrm>
              <a:custGeom>
                <a:avLst/>
                <a:gdLst>
                  <a:gd name="T0" fmla="*/ 94 w 94"/>
                  <a:gd name="T1" fmla="*/ 120 h 128"/>
                  <a:gd name="T2" fmla="*/ 94 w 94"/>
                  <a:gd name="T3" fmla="*/ 105 h 128"/>
                  <a:gd name="T4" fmla="*/ 81 w 94"/>
                  <a:gd name="T5" fmla="*/ 83 h 128"/>
                  <a:gd name="T6" fmla="*/ 81 w 94"/>
                  <a:gd name="T7" fmla="*/ 76 h 128"/>
                  <a:gd name="T8" fmla="*/ 46 w 94"/>
                  <a:gd name="T9" fmla="*/ 46 h 128"/>
                  <a:gd name="T10" fmla="*/ 66 w 94"/>
                  <a:gd name="T11" fmla="*/ 39 h 128"/>
                  <a:gd name="T12" fmla="*/ 52 w 94"/>
                  <a:gd name="T13" fmla="*/ 32 h 128"/>
                  <a:gd name="T14" fmla="*/ 37 w 94"/>
                  <a:gd name="T15" fmla="*/ 16 h 128"/>
                  <a:gd name="T16" fmla="*/ 29 w 94"/>
                  <a:gd name="T17" fmla="*/ 0 h 128"/>
                  <a:gd name="T18" fmla="*/ 24 w 94"/>
                  <a:gd name="T19" fmla="*/ 0 h 128"/>
                  <a:gd name="T20" fmla="*/ 24 w 94"/>
                  <a:gd name="T21" fmla="*/ 16 h 128"/>
                  <a:gd name="T22" fmla="*/ 9 w 94"/>
                  <a:gd name="T23" fmla="*/ 16 h 128"/>
                  <a:gd name="T24" fmla="*/ 9 w 94"/>
                  <a:gd name="T25" fmla="*/ 9 h 128"/>
                  <a:gd name="T26" fmla="*/ 0 w 94"/>
                  <a:gd name="T27" fmla="*/ 32 h 128"/>
                  <a:gd name="T28" fmla="*/ 0 w 94"/>
                  <a:gd name="T29" fmla="*/ 39 h 128"/>
                  <a:gd name="T30" fmla="*/ 9 w 94"/>
                  <a:gd name="T31" fmla="*/ 46 h 128"/>
                  <a:gd name="T32" fmla="*/ 9 w 94"/>
                  <a:gd name="T33" fmla="*/ 76 h 128"/>
                  <a:gd name="T34" fmla="*/ 46 w 94"/>
                  <a:gd name="T35" fmla="*/ 63 h 128"/>
                  <a:gd name="T36" fmla="*/ 52 w 94"/>
                  <a:gd name="T37" fmla="*/ 76 h 128"/>
                  <a:gd name="T38" fmla="*/ 66 w 94"/>
                  <a:gd name="T39" fmla="*/ 91 h 128"/>
                  <a:gd name="T40" fmla="*/ 71 w 94"/>
                  <a:gd name="T41" fmla="*/ 105 h 128"/>
                  <a:gd name="T42" fmla="*/ 71 w 94"/>
                  <a:gd name="T43" fmla="*/ 120 h 128"/>
                  <a:gd name="T44" fmla="*/ 81 w 94"/>
                  <a:gd name="T45" fmla="*/ 128 h 128"/>
                  <a:gd name="T46" fmla="*/ 81 w 94"/>
                  <a:gd name="T47" fmla="*/ 120 h 128"/>
                  <a:gd name="T48" fmla="*/ 94 w 94"/>
                  <a:gd name="T49" fmla="*/ 120 h 128"/>
                  <a:gd name="T50" fmla="*/ 94 w 94"/>
                  <a:gd name="T51" fmla="*/ 120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94" h="128">
                    <a:moveTo>
                      <a:pt x="94" y="120"/>
                    </a:moveTo>
                    <a:lnTo>
                      <a:pt x="94" y="105"/>
                    </a:lnTo>
                    <a:lnTo>
                      <a:pt x="81" y="83"/>
                    </a:lnTo>
                    <a:lnTo>
                      <a:pt x="81" y="76"/>
                    </a:lnTo>
                    <a:lnTo>
                      <a:pt x="46" y="46"/>
                    </a:lnTo>
                    <a:lnTo>
                      <a:pt x="66" y="39"/>
                    </a:lnTo>
                    <a:lnTo>
                      <a:pt x="52" y="32"/>
                    </a:lnTo>
                    <a:lnTo>
                      <a:pt x="37" y="16"/>
                    </a:lnTo>
                    <a:lnTo>
                      <a:pt x="29" y="0"/>
                    </a:lnTo>
                    <a:lnTo>
                      <a:pt x="24" y="0"/>
                    </a:lnTo>
                    <a:lnTo>
                      <a:pt x="24" y="16"/>
                    </a:lnTo>
                    <a:lnTo>
                      <a:pt x="9" y="16"/>
                    </a:lnTo>
                    <a:lnTo>
                      <a:pt x="9" y="9"/>
                    </a:lnTo>
                    <a:lnTo>
                      <a:pt x="0" y="32"/>
                    </a:lnTo>
                    <a:lnTo>
                      <a:pt x="0" y="39"/>
                    </a:lnTo>
                    <a:lnTo>
                      <a:pt x="9" y="46"/>
                    </a:lnTo>
                    <a:lnTo>
                      <a:pt x="9" y="76"/>
                    </a:lnTo>
                    <a:lnTo>
                      <a:pt x="46" y="63"/>
                    </a:lnTo>
                    <a:lnTo>
                      <a:pt x="52" y="76"/>
                    </a:lnTo>
                    <a:lnTo>
                      <a:pt x="66" y="91"/>
                    </a:lnTo>
                    <a:lnTo>
                      <a:pt x="71" y="105"/>
                    </a:lnTo>
                    <a:lnTo>
                      <a:pt x="71" y="120"/>
                    </a:lnTo>
                    <a:lnTo>
                      <a:pt x="81" y="128"/>
                    </a:lnTo>
                    <a:lnTo>
                      <a:pt x="81" y="120"/>
                    </a:lnTo>
                    <a:lnTo>
                      <a:pt x="94" y="12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27" name="Freeform 261"/>
              <p:cNvSpPr>
                <a:spLocks/>
              </p:cNvSpPr>
              <p:nvPr/>
            </p:nvSpPr>
            <p:spPr bwMode="auto">
              <a:xfrm>
                <a:off x="5930900" y="4003675"/>
                <a:ext cx="685800" cy="795338"/>
              </a:xfrm>
              <a:custGeom>
                <a:avLst/>
                <a:gdLst>
                  <a:gd name="T0" fmla="*/ 312 w 391"/>
                  <a:gd name="T1" fmla="*/ 156 h 455"/>
                  <a:gd name="T2" fmla="*/ 277 w 391"/>
                  <a:gd name="T3" fmla="*/ 171 h 455"/>
                  <a:gd name="T4" fmla="*/ 270 w 391"/>
                  <a:gd name="T5" fmla="*/ 156 h 455"/>
                  <a:gd name="T6" fmla="*/ 261 w 391"/>
                  <a:gd name="T7" fmla="*/ 186 h 455"/>
                  <a:gd name="T8" fmla="*/ 178 w 391"/>
                  <a:gd name="T9" fmla="*/ 156 h 455"/>
                  <a:gd name="T10" fmla="*/ 171 w 391"/>
                  <a:gd name="T11" fmla="*/ 117 h 455"/>
                  <a:gd name="T12" fmla="*/ 134 w 391"/>
                  <a:gd name="T13" fmla="*/ 80 h 455"/>
                  <a:gd name="T14" fmla="*/ 141 w 391"/>
                  <a:gd name="T15" fmla="*/ 67 h 455"/>
                  <a:gd name="T16" fmla="*/ 164 w 391"/>
                  <a:gd name="T17" fmla="*/ 27 h 455"/>
                  <a:gd name="T18" fmla="*/ 129 w 391"/>
                  <a:gd name="T19" fmla="*/ 27 h 455"/>
                  <a:gd name="T20" fmla="*/ 92 w 391"/>
                  <a:gd name="T21" fmla="*/ 0 h 455"/>
                  <a:gd name="T22" fmla="*/ 71 w 391"/>
                  <a:gd name="T23" fmla="*/ 20 h 455"/>
                  <a:gd name="T24" fmla="*/ 86 w 391"/>
                  <a:gd name="T25" fmla="*/ 27 h 455"/>
                  <a:gd name="T26" fmla="*/ 77 w 391"/>
                  <a:gd name="T27" fmla="*/ 43 h 455"/>
                  <a:gd name="T28" fmla="*/ 77 w 391"/>
                  <a:gd name="T29" fmla="*/ 74 h 455"/>
                  <a:gd name="T30" fmla="*/ 92 w 391"/>
                  <a:gd name="T31" fmla="*/ 89 h 455"/>
                  <a:gd name="T32" fmla="*/ 92 w 391"/>
                  <a:gd name="T33" fmla="*/ 104 h 455"/>
                  <a:gd name="T34" fmla="*/ 35 w 391"/>
                  <a:gd name="T35" fmla="*/ 166 h 455"/>
                  <a:gd name="T36" fmla="*/ 14 w 391"/>
                  <a:gd name="T37" fmla="*/ 166 h 455"/>
                  <a:gd name="T38" fmla="*/ 29 w 391"/>
                  <a:gd name="T39" fmla="*/ 186 h 455"/>
                  <a:gd name="T40" fmla="*/ 35 w 391"/>
                  <a:gd name="T41" fmla="*/ 193 h 455"/>
                  <a:gd name="T42" fmla="*/ 7 w 391"/>
                  <a:gd name="T43" fmla="*/ 217 h 455"/>
                  <a:gd name="T44" fmla="*/ 14 w 391"/>
                  <a:gd name="T45" fmla="*/ 240 h 455"/>
                  <a:gd name="T46" fmla="*/ 29 w 391"/>
                  <a:gd name="T47" fmla="*/ 247 h 455"/>
                  <a:gd name="T48" fmla="*/ 35 w 391"/>
                  <a:gd name="T49" fmla="*/ 277 h 455"/>
                  <a:gd name="T50" fmla="*/ 57 w 391"/>
                  <a:gd name="T51" fmla="*/ 284 h 455"/>
                  <a:gd name="T52" fmla="*/ 129 w 391"/>
                  <a:gd name="T53" fmla="*/ 455 h 455"/>
                  <a:gd name="T54" fmla="*/ 151 w 391"/>
                  <a:gd name="T55" fmla="*/ 403 h 455"/>
                  <a:gd name="T56" fmla="*/ 164 w 391"/>
                  <a:gd name="T57" fmla="*/ 349 h 455"/>
                  <a:gd name="T58" fmla="*/ 178 w 391"/>
                  <a:gd name="T59" fmla="*/ 336 h 455"/>
                  <a:gd name="T60" fmla="*/ 186 w 391"/>
                  <a:gd name="T61" fmla="*/ 328 h 455"/>
                  <a:gd name="T62" fmla="*/ 248 w 391"/>
                  <a:gd name="T63" fmla="*/ 284 h 455"/>
                  <a:gd name="T64" fmla="*/ 270 w 391"/>
                  <a:gd name="T65" fmla="*/ 247 h 455"/>
                  <a:gd name="T66" fmla="*/ 277 w 391"/>
                  <a:gd name="T67" fmla="*/ 255 h 455"/>
                  <a:gd name="T68" fmla="*/ 261 w 391"/>
                  <a:gd name="T69" fmla="*/ 210 h 455"/>
                  <a:gd name="T70" fmla="*/ 270 w 391"/>
                  <a:gd name="T71" fmla="*/ 186 h 455"/>
                  <a:gd name="T72" fmla="*/ 290 w 391"/>
                  <a:gd name="T73" fmla="*/ 200 h 455"/>
                  <a:gd name="T74" fmla="*/ 305 w 391"/>
                  <a:gd name="T75" fmla="*/ 217 h 455"/>
                  <a:gd name="T76" fmla="*/ 312 w 391"/>
                  <a:gd name="T77" fmla="*/ 232 h 455"/>
                  <a:gd name="T78" fmla="*/ 320 w 391"/>
                  <a:gd name="T79" fmla="*/ 232 h 455"/>
                  <a:gd name="T80" fmla="*/ 334 w 391"/>
                  <a:gd name="T81" fmla="*/ 247 h 455"/>
                  <a:gd name="T82" fmla="*/ 375 w 391"/>
                  <a:gd name="T83" fmla="*/ 171 h 455"/>
                  <a:gd name="T84" fmla="*/ 391 w 391"/>
                  <a:gd name="T85" fmla="*/ 156 h 455"/>
                  <a:gd name="T86" fmla="*/ 354 w 391"/>
                  <a:gd name="T87" fmla="*/ 136 h 455"/>
                  <a:gd name="T88" fmla="*/ 354 w 391"/>
                  <a:gd name="T89" fmla="*/ 136 h 4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91" h="455">
                    <a:moveTo>
                      <a:pt x="354" y="136"/>
                    </a:moveTo>
                    <a:lnTo>
                      <a:pt x="312" y="156"/>
                    </a:lnTo>
                    <a:lnTo>
                      <a:pt x="320" y="171"/>
                    </a:lnTo>
                    <a:lnTo>
                      <a:pt x="277" y="171"/>
                    </a:lnTo>
                    <a:lnTo>
                      <a:pt x="277" y="166"/>
                    </a:lnTo>
                    <a:lnTo>
                      <a:pt x="270" y="156"/>
                    </a:lnTo>
                    <a:lnTo>
                      <a:pt x="261" y="156"/>
                    </a:lnTo>
                    <a:lnTo>
                      <a:pt x="261" y="186"/>
                    </a:lnTo>
                    <a:lnTo>
                      <a:pt x="256" y="186"/>
                    </a:lnTo>
                    <a:lnTo>
                      <a:pt x="178" y="156"/>
                    </a:lnTo>
                    <a:lnTo>
                      <a:pt x="164" y="139"/>
                    </a:lnTo>
                    <a:lnTo>
                      <a:pt x="171" y="117"/>
                    </a:lnTo>
                    <a:lnTo>
                      <a:pt x="141" y="112"/>
                    </a:lnTo>
                    <a:lnTo>
                      <a:pt x="134" y="80"/>
                    </a:lnTo>
                    <a:lnTo>
                      <a:pt x="151" y="80"/>
                    </a:lnTo>
                    <a:lnTo>
                      <a:pt x="141" y="67"/>
                    </a:lnTo>
                    <a:lnTo>
                      <a:pt x="164" y="43"/>
                    </a:lnTo>
                    <a:lnTo>
                      <a:pt x="164" y="27"/>
                    </a:lnTo>
                    <a:lnTo>
                      <a:pt x="151" y="15"/>
                    </a:lnTo>
                    <a:lnTo>
                      <a:pt x="129" y="27"/>
                    </a:lnTo>
                    <a:lnTo>
                      <a:pt x="99" y="6"/>
                    </a:lnTo>
                    <a:lnTo>
                      <a:pt x="92" y="0"/>
                    </a:lnTo>
                    <a:lnTo>
                      <a:pt x="71" y="0"/>
                    </a:lnTo>
                    <a:lnTo>
                      <a:pt x="71" y="20"/>
                    </a:lnTo>
                    <a:lnTo>
                      <a:pt x="77" y="20"/>
                    </a:lnTo>
                    <a:lnTo>
                      <a:pt x="86" y="27"/>
                    </a:lnTo>
                    <a:lnTo>
                      <a:pt x="86" y="35"/>
                    </a:lnTo>
                    <a:lnTo>
                      <a:pt x="77" y="43"/>
                    </a:lnTo>
                    <a:lnTo>
                      <a:pt x="86" y="52"/>
                    </a:lnTo>
                    <a:lnTo>
                      <a:pt x="77" y="74"/>
                    </a:lnTo>
                    <a:lnTo>
                      <a:pt x="92" y="80"/>
                    </a:lnTo>
                    <a:lnTo>
                      <a:pt x="92" y="89"/>
                    </a:lnTo>
                    <a:lnTo>
                      <a:pt x="86" y="89"/>
                    </a:lnTo>
                    <a:lnTo>
                      <a:pt x="92" y="104"/>
                    </a:lnTo>
                    <a:lnTo>
                      <a:pt x="49" y="156"/>
                    </a:lnTo>
                    <a:lnTo>
                      <a:pt x="35" y="166"/>
                    </a:lnTo>
                    <a:lnTo>
                      <a:pt x="29" y="156"/>
                    </a:lnTo>
                    <a:lnTo>
                      <a:pt x="14" y="166"/>
                    </a:lnTo>
                    <a:lnTo>
                      <a:pt x="14" y="186"/>
                    </a:lnTo>
                    <a:lnTo>
                      <a:pt x="29" y="186"/>
                    </a:lnTo>
                    <a:lnTo>
                      <a:pt x="29" y="193"/>
                    </a:lnTo>
                    <a:lnTo>
                      <a:pt x="35" y="193"/>
                    </a:lnTo>
                    <a:lnTo>
                      <a:pt x="35" y="217"/>
                    </a:lnTo>
                    <a:lnTo>
                      <a:pt x="7" y="217"/>
                    </a:lnTo>
                    <a:lnTo>
                      <a:pt x="0" y="232"/>
                    </a:lnTo>
                    <a:lnTo>
                      <a:pt x="14" y="240"/>
                    </a:lnTo>
                    <a:lnTo>
                      <a:pt x="29" y="240"/>
                    </a:lnTo>
                    <a:lnTo>
                      <a:pt x="29" y="247"/>
                    </a:lnTo>
                    <a:lnTo>
                      <a:pt x="7" y="247"/>
                    </a:lnTo>
                    <a:lnTo>
                      <a:pt x="35" y="277"/>
                    </a:lnTo>
                    <a:lnTo>
                      <a:pt x="57" y="247"/>
                    </a:lnTo>
                    <a:lnTo>
                      <a:pt x="57" y="284"/>
                    </a:lnTo>
                    <a:lnTo>
                      <a:pt x="114" y="447"/>
                    </a:lnTo>
                    <a:lnTo>
                      <a:pt x="129" y="455"/>
                    </a:lnTo>
                    <a:lnTo>
                      <a:pt x="151" y="432"/>
                    </a:lnTo>
                    <a:lnTo>
                      <a:pt x="151" y="403"/>
                    </a:lnTo>
                    <a:lnTo>
                      <a:pt x="164" y="378"/>
                    </a:lnTo>
                    <a:lnTo>
                      <a:pt x="164" y="349"/>
                    </a:lnTo>
                    <a:lnTo>
                      <a:pt x="171" y="349"/>
                    </a:lnTo>
                    <a:lnTo>
                      <a:pt x="178" y="336"/>
                    </a:lnTo>
                    <a:lnTo>
                      <a:pt x="186" y="336"/>
                    </a:lnTo>
                    <a:lnTo>
                      <a:pt x="186" y="328"/>
                    </a:lnTo>
                    <a:lnTo>
                      <a:pt x="226" y="291"/>
                    </a:lnTo>
                    <a:lnTo>
                      <a:pt x="248" y="284"/>
                    </a:lnTo>
                    <a:lnTo>
                      <a:pt x="256" y="255"/>
                    </a:lnTo>
                    <a:lnTo>
                      <a:pt x="270" y="247"/>
                    </a:lnTo>
                    <a:lnTo>
                      <a:pt x="270" y="255"/>
                    </a:lnTo>
                    <a:lnTo>
                      <a:pt x="277" y="255"/>
                    </a:lnTo>
                    <a:lnTo>
                      <a:pt x="270" y="210"/>
                    </a:lnTo>
                    <a:lnTo>
                      <a:pt x="261" y="210"/>
                    </a:lnTo>
                    <a:lnTo>
                      <a:pt x="270" y="193"/>
                    </a:lnTo>
                    <a:lnTo>
                      <a:pt x="270" y="186"/>
                    </a:lnTo>
                    <a:lnTo>
                      <a:pt x="290" y="186"/>
                    </a:lnTo>
                    <a:lnTo>
                      <a:pt x="290" y="200"/>
                    </a:lnTo>
                    <a:lnTo>
                      <a:pt x="320" y="200"/>
                    </a:lnTo>
                    <a:lnTo>
                      <a:pt x="305" y="217"/>
                    </a:lnTo>
                    <a:lnTo>
                      <a:pt x="305" y="232"/>
                    </a:lnTo>
                    <a:lnTo>
                      <a:pt x="312" y="232"/>
                    </a:lnTo>
                    <a:lnTo>
                      <a:pt x="320" y="217"/>
                    </a:lnTo>
                    <a:lnTo>
                      <a:pt x="320" y="232"/>
                    </a:lnTo>
                    <a:lnTo>
                      <a:pt x="334" y="255"/>
                    </a:lnTo>
                    <a:lnTo>
                      <a:pt x="334" y="247"/>
                    </a:lnTo>
                    <a:lnTo>
                      <a:pt x="364" y="186"/>
                    </a:lnTo>
                    <a:lnTo>
                      <a:pt x="375" y="171"/>
                    </a:lnTo>
                    <a:lnTo>
                      <a:pt x="391" y="171"/>
                    </a:lnTo>
                    <a:lnTo>
                      <a:pt x="391" y="156"/>
                    </a:lnTo>
                    <a:lnTo>
                      <a:pt x="375" y="136"/>
                    </a:lnTo>
                    <a:lnTo>
                      <a:pt x="354" y="136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28" name="Freeform 262"/>
              <p:cNvSpPr>
                <a:spLocks/>
              </p:cNvSpPr>
              <p:nvPr/>
            </p:nvSpPr>
            <p:spPr bwMode="auto">
              <a:xfrm>
                <a:off x="7302500" y="3941763"/>
                <a:ext cx="71438" cy="131762"/>
              </a:xfrm>
              <a:custGeom>
                <a:avLst/>
                <a:gdLst>
                  <a:gd name="T0" fmla="*/ 0 w 40"/>
                  <a:gd name="T1" fmla="*/ 24 h 76"/>
                  <a:gd name="T2" fmla="*/ 27 w 40"/>
                  <a:gd name="T3" fmla="*/ 0 h 76"/>
                  <a:gd name="T4" fmla="*/ 40 w 40"/>
                  <a:gd name="T5" fmla="*/ 48 h 76"/>
                  <a:gd name="T6" fmla="*/ 35 w 40"/>
                  <a:gd name="T7" fmla="*/ 68 h 76"/>
                  <a:gd name="T8" fmla="*/ 0 w 40"/>
                  <a:gd name="T9" fmla="*/ 76 h 76"/>
                  <a:gd name="T10" fmla="*/ 0 w 40"/>
                  <a:gd name="T11" fmla="*/ 24 h 76"/>
                  <a:gd name="T12" fmla="*/ 0 w 40"/>
                  <a:gd name="T13" fmla="*/ 24 h 76"/>
                  <a:gd name="T14" fmla="*/ 0 w 40"/>
                  <a:gd name="T15" fmla="*/ 24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0" h="76">
                    <a:moveTo>
                      <a:pt x="0" y="24"/>
                    </a:moveTo>
                    <a:lnTo>
                      <a:pt x="27" y="0"/>
                    </a:lnTo>
                    <a:lnTo>
                      <a:pt x="40" y="48"/>
                    </a:lnTo>
                    <a:lnTo>
                      <a:pt x="35" y="68"/>
                    </a:lnTo>
                    <a:lnTo>
                      <a:pt x="0" y="76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29" name="Freeform 263"/>
              <p:cNvSpPr>
                <a:spLocks/>
              </p:cNvSpPr>
              <p:nvPr/>
            </p:nvSpPr>
            <p:spPr bwMode="auto">
              <a:xfrm>
                <a:off x="7267575" y="3816350"/>
                <a:ext cx="144463" cy="163513"/>
              </a:xfrm>
              <a:custGeom>
                <a:avLst/>
                <a:gdLst>
                  <a:gd name="T0" fmla="*/ 82 w 82"/>
                  <a:gd name="T1" fmla="*/ 0 h 94"/>
                  <a:gd name="T2" fmla="*/ 68 w 82"/>
                  <a:gd name="T3" fmla="*/ 0 h 94"/>
                  <a:gd name="T4" fmla="*/ 55 w 82"/>
                  <a:gd name="T5" fmla="*/ 17 h 94"/>
                  <a:gd name="T6" fmla="*/ 48 w 82"/>
                  <a:gd name="T7" fmla="*/ 17 h 94"/>
                  <a:gd name="T8" fmla="*/ 38 w 82"/>
                  <a:gd name="T9" fmla="*/ 24 h 94"/>
                  <a:gd name="T10" fmla="*/ 33 w 82"/>
                  <a:gd name="T11" fmla="*/ 24 h 94"/>
                  <a:gd name="T12" fmla="*/ 0 w 82"/>
                  <a:gd name="T13" fmla="*/ 52 h 94"/>
                  <a:gd name="T14" fmla="*/ 0 w 82"/>
                  <a:gd name="T15" fmla="*/ 59 h 94"/>
                  <a:gd name="T16" fmla="*/ 8 w 82"/>
                  <a:gd name="T17" fmla="*/ 59 h 94"/>
                  <a:gd name="T18" fmla="*/ 0 w 82"/>
                  <a:gd name="T19" fmla="*/ 88 h 94"/>
                  <a:gd name="T20" fmla="*/ 8 w 82"/>
                  <a:gd name="T21" fmla="*/ 94 h 94"/>
                  <a:gd name="T22" fmla="*/ 20 w 82"/>
                  <a:gd name="T23" fmla="*/ 94 h 94"/>
                  <a:gd name="T24" fmla="*/ 48 w 82"/>
                  <a:gd name="T25" fmla="*/ 74 h 94"/>
                  <a:gd name="T26" fmla="*/ 33 w 82"/>
                  <a:gd name="T27" fmla="*/ 66 h 94"/>
                  <a:gd name="T28" fmla="*/ 33 w 82"/>
                  <a:gd name="T29" fmla="*/ 59 h 94"/>
                  <a:gd name="T30" fmla="*/ 60 w 82"/>
                  <a:gd name="T31" fmla="*/ 37 h 94"/>
                  <a:gd name="T32" fmla="*/ 60 w 82"/>
                  <a:gd name="T33" fmla="*/ 24 h 94"/>
                  <a:gd name="T34" fmla="*/ 82 w 82"/>
                  <a:gd name="T35" fmla="*/ 0 h 94"/>
                  <a:gd name="T36" fmla="*/ 82 w 82"/>
                  <a:gd name="T37" fmla="*/ 0 h 94"/>
                  <a:gd name="T38" fmla="*/ 82 w 82"/>
                  <a:gd name="T3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82" h="94">
                    <a:moveTo>
                      <a:pt x="82" y="0"/>
                    </a:moveTo>
                    <a:lnTo>
                      <a:pt x="68" y="0"/>
                    </a:lnTo>
                    <a:lnTo>
                      <a:pt x="55" y="17"/>
                    </a:lnTo>
                    <a:lnTo>
                      <a:pt x="48" y="17"/>
                    </a:lnTo>
                    <a:lnTo>
                      <a:pt x="38" y="24"/>
                    </a:lnTo>
                    <a:lnTo>
                      <a:pt x="33" y="24"/>
                    </a:lnTo>
                    <a:lnTo>
                      <a:pt x="0" y="52"/>
                    </a:lnTo>
                    <a:lnTo>
                      <a:pt x="0" y="59"/>
                    </a:lnTo>
                    <a:lnTo>
                      <a:pt x="8" y="59"/>
                    </a:lnTo>
                    <a:lnTo>
                      <a:pt x="0" y="88"/>
                    </a:lnTo>
                    <a:lnTo>
                      <a:pt x="8" y="94"/>
                    </a:lnTo>
                    <a:lnTo>
                      <a:pt x="20" y="94"/>
                    </a:lnTo>
                    <a:lnTo>
                      <a:pt x="48" y="74"/>
                    </a:lnTo>
                    <a:lnTo>
                      <a:pt x="33" y="66"/>
                    </a:lnTo>
                    <a:lnTo>
                      <a:pt x="33" y="59"/>
                    </a:lnTo>
                    <a:lnTo>
                      <a:pt x="60" y="37"/>
                    </a:lnTo>
                    <a:lnTo>
                      <a:pt x="60" y="24"/>
                    </a:lnTo>
                    <a:lnTo>
                      <a:pt x="82" y="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30" name="Freeform 264"/>
              <p:cNvSpPr>
                <a:spLocks/>
              </p:cNvSpPr>
              <p:nvPr/>
            </p:nvSpPr>
            <p:spPr bwMode="auto">
              <a:xfrm>
                <a:off x="7373938" y="4089400"/>
                <a:ext cx="63500" cy="107950"/>
              </a:xfrm>
              <a:custGeom>
                <a:avLst/>
                <a:gdLst>
                  <a:gd name="T0" fmla="*/ 0 w 37"/>
                  <a:gd name="T1" fmla="*/ 16 h 62"/>
                  <a:gd name="T2" fmla="*/ 0 w 37"/>
                  <a:gd name="T3" fmla="*/ 23 h 62"/>
                  <a:gd name="T4" fmla="*/ 10 w 37"/>
                  <a:gd name="T5" fmla="*/ 23 h 62"/>
                  <a:gd name="T6" fmla="*/ 10 w 37"/>
                  <a:gd name="T7" fmla="*/ 53 h 62"/>
                  <a:gd name="T8" fmla="*/ 24 w 37"/>
                  <a:gd name="T9" fmla="*/ 62 h 62"/>
                  <a:gd name="T10" fmla="*/ 30 w 37"/>
                  <a:gd name="T11" fmla="*/ 53 h 62"/>
                  <a:gd name="T12" fmla="*/ 37 w 37"/>
                  <a:gd name="T13" fmla="*/ 23 h 62"/>
                  <a:gd name="T14" fmla="*/ 10 w 37"/>
                  <a:gd name="T15" fmla="*/ 0 h 62"/>
                  <a:gd name="T16" fmla="*/ 0 w 37"/>
                  <a:gd name="T17" fmla="*/ 16 h 62"/>
                  <a:gd name="T18" fmla="*/ 0 w 37"/>
                  <a:gd name="T19" fmla="*/ 16 h 62"/>
                  <a:gd name="T20" fmla="*/ 0 w 37"/>
                  <a:gd name="T21" fmla="*/ 16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7" h="62">
                    <a:moveTo>
                      <a:pt x="0" y="16"/>
                    </a:moveTo>
                    <a:lnTo>
                      <a:pt x="0" y="23"/>
                    </a:lnTo>
                    <a:lnTo>
                      <a:pt x="10" y="23"/>
                    </a:lnTo>
                    <a:lnTo>
                      <a:pt x="10" y="53"/>
                    </a:lnTo>
                    <a:lnTo>
                      <a:pt x="24" y="62"/>
                    </a:lnTo>
                    <a:lnTo>
                      <a:pt x="30" y="53"/>
                    </a:lnTo>
                    <a:lnTo>
                      <a:pt x="37" y="23"/>
                    </a:lnTo>
                    <a:lnTo>
                      <a:pt x="10" y="0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31" name="Freeform 265"/>
              <p:cNvSpPr>
                <a:spLocks/>
              </p:cNvSpPr>
              <p:nvPr/>
            </p:nvSpPr>
            <p:spPr bwMode="auto">
              <a:xfrm>
                <a:off x="7437438" y="4086225"/>
                <a:ext cx="61912" cy="49213"/>
              </a:xfrm>
              <a:custGeom>
                <a:avLst/>
                <a:gdLst>
                  <a:gd name="T0" fmla="*/ 0 w 35"/>
                  <a:gd name="T1" fmla="*/ 18 h 28"/>
                  <a:gd name="T2" fmla="*/ 0 w 35"/>
                  <a:gd name="T3" fmla="*/ 28 h 28"/>
                  <a:gd name="T4" fmla="*/ 7 w 35"/>
                  <a:gd name="T5" fmla="*/ 28 h 28"/>
                  <a:gd name="T6" fmla="*/ 15 w 35"/>
                  <a:gd name="T7" fmla="*/ 18 h 28"/>
                  <a:gd name="T8" fmla="*/ 28 w 35"/>
                  <a:gd name="T9" fmla="*/ 18 h 28"/>
                  <a:gd name="T10" fmla="*/ 35 w 35"/>
                  <a:gd name="T11" fmla="*/ 0 h 28"/>
                  <a:gd name="T12" fmla="*/ 15 w 35"/>
                  <a:gd name="T13" fmla="*/ 0 h 28"/>
                  <a:gd name="T14" fmla="*/ 0 w 35"/>
                  <a:gd name="T15" fmla="*/ 18 h 28"/>
                  <a:gd name="T16" fmla="*/ 0 w 35"/>
                  <a:gd name="T17" fmla="*/ 18 h 28"/>
                  <a:gd name="T18" fmla="*/ 0 w 35"/>
                  <a:gd name="T19" fmla="*/ 1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5" h="28">
                    <a:moveTo>
                      <a:pt x="0" y="18"/>
                    </a:moveTo>
                    <a:lnTo>
                      <a:pt x="0" y="28"/>
                    </a:lnTo>
                    <a:lnTo>
                      <a:pt x="7" y="28"/>
                    </a:lnTo>
                    <a:lnTo>
                      <a:pt x="15" y="18"/>
                    </a:lnTo>
                    <a:lnTo>
                      <a:pt x="28" y="18"/>
                    </a:lnTo>
                    <a:lnTo>
                      <a:pt x="35" y="0"/>
                    </a:lnTo>
                    <a:lnTo>
                      <a:pt x="15" y="0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32" name="Freeform 266"/>
              <p:cNvSpPr>
                <a:spLocks/>
              </p:cNvSpPr>
              <p:nvPr/>
            </p:nvSpPr>
            <p:spPr bwMode="auto">
              <a:xfrm>
                <a:off x="7412038" y="3851275"/>
                <a:ext cx="249237" cy="260350"/>
              </a:xfrm>
              <a:custGeom>
                <a:avLst/>
                <a:gdLst>
                  <a:gd name="T0" fmla="*/ 0 w 142"/>
                  <a:gd name="T1" fmla="*/ 130 h 150"/>
                  <a:gd name="T2" fmla="*/ 0 w 142"/>
                  <a:gd name="T3" fmla="*/ 137 h 150"/>
                  <a:gd name="T4" fmla="*/ 13 w 142"/>
                  <a:gd name="T5" fmla="*/ 137 h 150"/>
                  <a:gd name="T6" fmla="*/ 50 w 142"/>
                  <a:gd name="T7" fmla="*/ 120 h 150"/>
                  <a:gd name="T8" fmla="*/ 58 w 142"/>
                  <a:gd name="T9" fmla="*/ 130 h 150"/>
                  <a:gd name="T10" fmla="*/ 58 w 142"/>
                  <a:gd name="T11" fmla="*/ 137 h 150"/>
                  <a:gd name="T12" fmla="*/ 64 w 142"/>
                  <a:gd name="T13" fmla="*/ 150 h 150"/>
                  <a:gd name="T14" fmla="*/ 72 w 142"/>
                  <a:gd name="T15" fmla="*/ 130 h 150"/>
                  <a:gd name="T16" fmla="*/ 72 w 142"/>
                  <a:gd name="T17" fmla="*/ 120 h 150"/>
                  <a:gd name="T18" fmla="*/ 85 w 142"/>
                  <a:gd name="T19" fmla="*/ 130 h 150"/>
                  <a:gd name="T20" fmla="*/ 94 w 142"/>
                  <a:gd name="T21" fmla="*/ 130 h 150"/>
                  <a:gd name="T22" fmla="*/ 99 w 142"/>
                  <a:gd name="T23" fmla="*/ 120 h 150"/>
                  <a:gd name="T24" fmla="*/ 109 w 142"/>
                  <a:gd name="T25" fmla="*/ 130 h 150"/>
                  <a:gd name="T26" fmla="*/ 109 w 142"/>
                  <a:gd name="T27" fmla="*/ 120 h 150"/>
                  <a:gd name="T28" fmla="*/ 114 w 142"/>
                  <a:gd name="T29" fmla="*/ 113 h 150"/>
                  <a:gd name="T30" fmla="*/ 114 w 142"/>
                  <a:gd name="T31" fmla="*/ 120 h 150"/>
                  <a:gd name="T32" fmla="*/ 131 w 142"/>
                  <a:gd name="T33" fmla="*/ 120 h 150"/>
                  <a:gd name="T34" fmla="*/ 136 w 142"/>
                  <a:gd name="T35" fmla="*/ 113 h 150"/>
                  <a:gd name="T36" fmla="*/ 136 w 142"/>
                  <a:gd name="T37" fmla="*/ 69 h 150"/>
                  <a:gd name="T38" fmla="*/ 142 w 142"/>
                  <a:gd name="T39" fmla="*/ 69 h 150"/>
                  <a:gd name="T40" fmla="*/ 142 w 142"/>
                  <a:gd name="T41" fmla="*/ 10 h 150"/>
                  <a:gd name="T42" fmla="*/ 136 w 142"/>
                  <a:gd name="T43" fmla="*/ 0 h 150"/>
                  <a:gd name="T44" fmla="*/ 136 w 142"/>
                  <a:gd name="T45" fmla="*/ 10 h 150"/>
                  <a:gd name="T46" fmla="*/ 131 w 142"/>
                  <a:gd name="T47" fmla="*/ 10 h 150"/>
                  <a:gd name="T48" fmla="*/ 99 w 142"/>
                  <a:gd name="T49" fmla="*/ 78 h 150"/>
                  <a:gd name="T50" fmla="*/ 85 w 142"/>
                  <a:gd name="T51" fmla="*/ 93 h 150"/>
                  <a:gd name="T52" fmla="*/ 85 w 142"/>
                  <a:gd name="T53" fmla="*/ 78 h 150"/>
                  <a:gd name="T54" fmla="*/ 72 w 142"/>
                  <a:gd name="T55" fmla="*/ 86 h 150"/>
                  <a:gd name="T56" fmla="*/ 64 w 142"/>
                  <a:gd name="T57" fmla="*/ 113 h 150"/>
                  <a:gd name="T58" fmla="*/ 22 w 142"/>
                  <a:gd name="T59" fmla="*/ 113 h 150"/>
                  <a:gd name="T60" fmla="*/ 0 w 142"/>
                  <a:gd name="T61" fmla="*/ 130 h 150"/>
                  <a:gd name="T62" fmla="*/ 0 w 142"/>
                  <a:gd name="T63" fmla="*/ 130 h 150"/>
                  <a:gd name="T64" fmla="*/ 0 w 142"/>
                  <a:gd name="T65" fmla="*/ 13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42" h="150">
                    <a:moveTo>
                      <a:pt x="0" y="130"/>
                    </a:moveTo>
                    <a:lnTo>
                      <a:pt x="0" y="137"/>
                    </a:lnTo>
                    <a:lnTo>
                      <a:pt x="13" y="137"/>
                    </a:lnTo>
                    <a:lnTo>
                      <a:pt x="50" y="120"/>
                    </a:lnTo>
                    <a:lnTo>
                      <a:pt x="58" y="130"/>
                    </a:lnTo>
                    <a:lnTo>
                      <a:pt x="58" y="137"/>
                    </a:lnTo>
                    <a:lnTo>
                      <a:pt x="64" y="150"/>
                    </a:lnTo>
                    <a:lnTo>
                      <a:pt x="72" y="130"/>
                    </a:lnTo>
                    <a:lnTo>
                      <a:pt x="72" y="120"/>
                    </a:lnTo>
                    <a:lnTo>
                      <a:pt x="85" y="130"/>
                    </a:lnTo>
                    <a:lnTo>
                      <a:pt x="94" y="130"/>
                    </a:lnTo>
                    <a:lnTo>
                      <a:pt x="99" y="120"/>
                    </a:lnTo>
                    <a:lnTo>
                      <a:pt x="109" y="130"/>
                    </a:lnTo>
                    <a:lnTo>
                      <a:pt x="109" y="120"/>
                    </a:lnTo>
                    <a:lnTo>
                      <a:pt x="114" y="113"/>
                    </a:lnTo>
                    <a:lnTo>
                      <a:pt x="114" y="120"/>
                    </a:lnTo>
                    <a:lnTo>
                      <a:pt x="131" y="120"/>
                    </a:lnTo>
                    <a:lnTo>
                      <a:pt x="136" y="113"/>
                    </a:lnTo>
                    <a:lnTo>
                      <a:pt x="136" y="69"/>
                    </a:lnTo>
                    <a:lnTo>
                      <a:pt x="142" y="69"/>
                    </a:lnTo>
                    <a:lnTo>
                      <a:pt x="142" y="10"/>
                    </a:lnTo>
                    <a:lnTo>
                      <a:pt x="136" y="0"/>
                    </a:lnTo>
                    <a:lnTo>
                      <a:pt x="136" y="10"/>
                    </a:lnTo>
                    <a:lnTo>
                      <a:pt x="131" y="10"/>
                    </a:lnTo>
                    <a:lnTo>
                      <a:pt x="99" y="78"/>
                    </a:lnTo>
                    <a:lnTo>
                      <a:pt x="85" y="93"/>
                    </a:lnTo>
                    <a:lnTo>
                      <a:pt x="85" y="78"/>
                    </a:lnTo>
                    <a:lnTo>
                      <a:pt x="72" y="86"/>
                    </a:lnTo>
                    <a:lnTo>
                      <a:pt x="64" y="113"/>
                    </a:lnTo>
                    <a:lnTo>
                      <a:pt x="22" y="113"/>
                    </a:lnTo>
                    <a:lnTo>
                      <a:pt x="0" y="13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33" name="Freeform 267"/>
              <p:cNvSpPr>
                <a:spLocks/>
              </p:cNvSpPr>
              <p:nvPr/>
            </p:nvSpPr>
            <p:spPr bwMode="auto">
              <a:xfrm>
                <a:off x="7613650" y="3709988"/>
                <a:ext cx="150813" cy="147637"/>
              </a:xfrm>
              <a:custGeom>
                <a:avLst/>
                <a:gdLst>
                  <a:gd name="T0" fmla="*/ 0 w 86"/>
                  <a:gd name="T1" fmla="*/ 62 h 84"/>
                  <a:gd name="T2" fmla="*/ 0 w 86"/>
                  <a:gd name="T3" fmla="*/ 84 h 84"/>
                  <a:gd name="T4" fmla="*/ 22 w 86"/>
                  <a:gd name="T5" fmla="*/ 75 h 84"/>
                  <a:gd name="T6" fmla="*/ 17 w 86"/>
                  <a:gd name="T7" fmla="*/ 75 h 84"/>
                  <a:gd name="T8" fmla="*/ 17 w 86"/>
                  <a:gd name="T9" fmla="*/ 62 h 84"/>
                  <a:gd name="T10" fmla="*/ 29 w 86"/>
                  <a:gd name="T11" fmla="*/ 62 h 84"/>
                  <a:gd name="T12" fmla="*/ 59 w 86"/>
                  <a:gd name="T13" fmla="*/ 75 h 84"/>
                  <a:gd name="T14" fmla="*/ 66 w 86"/>
                  <a:gd name="T15" fmla="*/ 53 h 84"/>
                  <a:gd name="T16" fmla="*/ 71 w 86"/>
                  <a:gd name="T17" fmla="*/ 53 h 84"/>
                  <a:gd name="T18" fmla="*/ 86 w 86"/>
                  <a:gd name="T19" fmla="*/ 45 h 84"/>
                  <a:gd name="T20" fmla="*/ 79 w 86"/>
                  <a:gd name="T21" fmla="*/ 45 h 84"/>
                  <a:gd name="T22" fmla="*/ 71 w 86"/>
                  <a:gd name="T23" fmla="*/ 37 h 84"/>
                  <a:gd name="T24" fmla="*/ 79 w 86"/>
                  <a:gd name="T25" fmla="*/ 30 h 84"/>
                  <a:gd name="T26" fmla="*/ 71 w 86"/>
                  <a:gd name="T27" fmla="*/ 37 h 84"/>
                  <a:gd name="T28" fmla="*/ 59 w 86"/>
                  <a:gd name="T29" fmla="*/ 30 h 84"/>
                  <a:gd name="T30" fmla="*/ 29 w 86"/>
                  <a:gd name="T31" fmla="*/ 0 h 84"/>
                  <a:gd name="T32" fmla="*/ 22 w 86"/>
                  <a:gd name="T33" fmla="*/ 53 h 84"/>
                  <a:gd name="T34" fmla="*/ 17 w 86"/>
                  <a:gd name="T35" fmla="*/ 45 h 84"/>
                  <a:gd name="T36" fmla="*/ 17 w 86"/>
                  <a:gd name="T37" fmla="*/ 53 h 84"/>
                  <a:gd name="T38" fmla="*/ 0 w 86"/>
                  <a:gd name="T39" fmla="*/ 62 h 84"/>
                  <a:gd name="T40" fmla="*/ 0 w 86"/>
                  <a:gd name="T41" fmla="*/ 62 h 84"/>
                  <a:gd name="T42" fmla="*/ 0 w 86"/>
                  <a:gd name="T43" fmla="*/ 62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6" h="84">
                    <a:moveTo>
                      <a:pt x="0" y="62"/>
                    </a:moveTo>
                    <a:lnTo>
                      <a:pt x="0" y="84"/>
                    </a:lnTo>
                    <a:lnTo>
                      <a:pt x="22" y="75"/>
                    </a:lnTo>
                    <a:lnTo>
                      <a:pt x="17" y="75"/>
                    </a:lnTo>
                    <a:lnTo>
                      <a:pt x="17" y="62"/>
                    </a:lnTo>
                    <a:lnTo>
                      <a:pt x="29" y="62"/>
                    </a:lnTo>
                    <a:lnTo>
                      <a:pt x="59" y="75"/>
                    </a:lnTo>
                    <a:lnTo>
                      <a:pt x="66" y="53"/>
                    </a:lnTo>
                    <a:lnTo>
                      <a:pt x="71" y="53"/>
                    </a:lnTo>
                    <a:lnTo>
                      <a:pt x="86" y="45"/>
                    </a:lnTo>
                    <a:lnTo>
                      <a:pt x="79" y="45"/>
                    </a:lnTo>
                    <a:lnTo>
                      <a:pt x="71" y="37"/>
                    </a:lnTo>
                    <a:lnTo>
                      <a:pt x="79" y="30"/>
                    </a:lnTo>
                    <a:lnTo>
                      <a:pt x="71" y="37"/>
                    </a:lnTo>
                    <a:lnTo>
                      <a:pt x="59" y="30"/>
                    </a:lnTo>
                    <a:lnTo>
                      <a:pt x="29" y="0"/>
                    </a:lnTo>
                    <a:lnTo>
                      <a:pt x="22" y="53"/>
                    </a:lnTo>
                    <a:lnTo>
                      <a:pt x="17" y="45"/>
                    </a:lnTo>
                    <a:lnTo>
                      <a:pt x="17" y="53"/>
                    </a:lnTo>
                    <a:lnTo>
                      <a:pt x="0" y="62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34" name="Freeform 268"/>
              <p:cNvSpPr>
                <a:spLocks/>
              </p:cNvSpPr>
              <p:nvPr/>
            </p:nvSpPr>
            <p:spPr bwMode="auto">
              <a:xfrm>
                <a:off x="5753100" y="3941763"/>
                <a:ext cx="338138" cy="295275"/>
              </a:xfrm>
              <a:custGeom>
                <a:avLst/>
                <a:gdLst>
                  <a:gd name="T0" fmla="*/ 188 w 193"/>
                  <a:gd name="T1" fmla="*/ 32 h 170"/>
                  <a:gd name="T2" fmla="*/ 178 w 193"/>
                  <a:gd name="T3" fmla="*/ 32 h 170"/>
                  <a:gd name="T4" fmla="*/ 157 w 193"/>
                  <a:gd name="T5" fmla="*/ 39 h 170"/>
                  <a:gd name="T6" fmla="*/ 144 w 193"/>
                  <a:gd name="T7" fmla="*/ 48 h 170"/>
                  <a:gd name="T8" fmla="*/ 144 w 193"/>
                  <a:gd name="T9" fmla="*/ 68 h 170"/>
                  <a:gd name="T10" fmla="*/ 136 w 193"/>
                  <a:gd name="T11" fmla="*/ 85 h 170"/>
                  <a:gd name="T12" fmla="*/ 129 w 193"/>
                  <a:gd name="T13" fmla="*/ 85 h 170"/>
                  <a:gd name="T14" fmla="*/ 129 w 193"/>
                  <a:gd name="T15" fmla="*/ 100 h 170"/>
                  <a:gd name="T16" fmla="*/ 114 w 193"/>
                  <a:gd name="T17" fmla="*/ 108 h 170"/>
                  <a:gd name="T18" fmla="*/ 114 w 193"/>
                  <a:gd name="T19" fmla="*/ 123 h 170"/>
                  <a:gd name="T20" fmla="*/ 85 w 193"/>
                  <a:gd name="T21" fmla="*/ 138 h 170"/>
                  <a:gd name="T22" fmla="*/ 79 w 193"/>
                  <a:gd name="T23" fmla="*/ 147 h 170"/>
                  <a:gd name="T24" fmla="*/ 79 w 193"/>
                  <a:gd name="T25" fmla="*/ 162 h 170"/>
                  <a:gd name="T26" fmla="*/ 22 w 193"/>
                  <a:gd name="T27" fmla="*/ 170 h 170"/>
                  <a:gd name="T28" fmla="*/ 8 w 193"/>
                  <a:gd name="T29" fmla="*/ 162 h 170"/>
                  <a:gd name="T30" fmla="*/ 15 w 193"/>
                  <a:gd name="T31" fmla="*/ 147 h 170"/>
                  <a:gd name="T32" fmla="*/ 15 w 193"/>
                  <a:gd name="T33" fmla="*/ 138 h 170"/>
                  <a:gd name="T34" fmla="*/ 0 w 193"/>
                  <a:gd name="T35" fmla="*/ 123 h 170"/>
                  <a:gd name="T36" fmla="*/ 0 w 193"/>
                  <a:gd name="T37" fmla="*/ 85 h 170"/>
                  <a:gd name="T38" fmla="*/ 8 w 193"/>
                  <a:gd name="T39" fmla="*/ 68 h 170"/>
                  <a:gd name="T40" fmla="*/ 8 w 193"/>
                  <a:gd name="T41" fmla="*/ 61 h 170"/>
                  <a:gd name="T42" fmla="*/ 28 w 193"/>
                  <a:gd name="T43" fmla="*/ 61 h 170"/>
                  <a:gd name="T44" fmla="*/ 28 w 193"/>
                  <a:gd name="T45" fmla="*/ 48 h 170"/>
                  <a:gd name="T46" fmla="*/ 50 w 193"/>
                  <a:gd name="T47" fmla="*/ 48 h 170"/>
                  <a:gd name="T48" fmla="*/ 59 w 193"/>
                  <a:gd name="T49" fmla="*/ 32 h 170"/>
                  <a:gd name="T50" fmla="*/ 67 w 193"/>
                  <a:gd name="T51" fmla="*/ 32 h 170"/>
                  <a:gd name="T52" fmla="*/ 67 w 193"/>
                  <a:gd name="T53" fmla="*/ 24 h 170"/>
                  <a:gd name="T54" fmla="*/ 100 w 193"/>
                  <a:gd name="T55" fmla="*/ 32 h 170"/>
                  <a:gd name="T56" fmla="*/ 114 w 193"/>
                  <a:gd name="T57" fmla="*/ 32 h 170"/>
                  <a:gd name="T58" fmla="*/ 114 w 193"/>
                  <a:gd name="T59" fmla="*/ 24 h 170"/>
                  <a:gd name="T60" fmla="*/ 129 w 193"/>
                  <a:gd name="T61" fmla="*/ 24 h 170"/>
                  <a:gd name="T62" fmla="*/ 136 w 193"/>
                  <a:gd name="T63" fmla="*/ 0 h 170"/>
                  <a:gd name="T64" fmla="*/ 144 w 193"/>
                  <a:gd name="T65" fmla="*/ 17 h 170"/>
                  <a:gd name="T66" fmla="*/ 149 w 193"/>
                  <a:gd name="T67" fmla="*/ 39 h 170"/>
                  <a:gd name="T68" fmla="*/ 171 w 193"/>
                  <a:gd name="T69" fmla="*/ 24 h 170"/>
                  <a:gd name="T70" fmla="*/ 193 w 193"/>
                  <a:gd name="T71" fmla="*/ 32 h 170"/>
                  <a:gd name="T72" fmla="*/ 188 w 193"/>
                  <a:gd name="T73" fmla="*/ 32 h 170"/>
                  <a:gd name="T74" fmla="*/ 188 w 193"/>
                  <a:gd name="T75" fmla="*/ 32 h 170"/>
                  <a:gd name="T76" fmla="*/ 188 w 193"/>
                  <a:gd name="T77" fmla="*/ 32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93" h="170">
                    <a:moveTo>
                      <a:pt x="188" y="32"/>
                    </a:moveTo>
                    <a:lnTo>
                      <a:pt x="178" y="32"/>
                    </a:lnTo>
                    <a:lnTo>
                      <a:pt x="157" y="39"/>
                    </a:lnTo>
                    <a:lnTo>
                      <a:pt x="144" y="48"/>
                    </a:lnTo>
                    <a:lnTo>
                      <a:pt x="144" y="68"/>
                    </a:lnTo>
                    <a:lnTo>
                      <a:pt x="136" y="85"/>
                    </a:lnTo>
                    <a:lnTo>
                      <a:pt x="129" y="85"/>
                    </a:lnTo>
                    <a:lnTo>
                      <a:pt x="129" y="100"/>
                    </a:lnTo>
                    <a:lnTo>
                      <a:pt x="114" y="108"/>
                    </a:lnTo>
                    <a:lnTo>
                      <a:pt x="114" y="123"/>
                    </a:lnTo>
                    <a:lnTo>
                      <a:pt x="85" y="138"/>
                    </a:lnTo>
                    <a:lnTo>
                      <a:pt x="79" y="147"/>
                    </a:lnTo>
                    <a:lnTo>
                      <a:pt x="79" y="162"/>
                    </a:lnTo>
                    <a:lnTo>
                      <a:pt x="22" y="170"/>
                    </a:lnTo>
                    <a:lnTo>
                      <a:pt x="8" y="162"/>
                    </a:lnTo>
                    <a:lnTo>
                      <a:pt x="15" y="147"/>
                    </a:lnTo>
                    <a:lnTo>
                      <a:pt x="15" y="138"/>
                    </a:lnTo>
                    <a:lnTo>
                      <a:pt x="0" y="123"/>
                    </a:lnTo>
                    <a:lnTo>
                      <a:pt x="0" y="85"/>
                    </a:lnTo>
                    <a:lnTo>
                      <a:pt x="8" y="68"/>
                    </a:lnTo>
                    <a:lnTo>
                      <a:pt x="8" y="61"/>
                    </a:lnTo>
                    <a:lnTo>
                      <a:pt x="28" y="61"/>
                    </a:lnTo>
                    <a:lnTo>
                      <a:pt x="28" y="48"/>
                    </a:lnTo>
                    <a:lnTo>
                      <a:pt x="50" y="48"/>
                    </a:lnTo>
                    <a:lnTo>
                      <a:pt x="59" y="32"/>
                    </a:lnTo>
                    <a:lnTo>
                      <a:pt x="67" y="32"/>
                    </a:lnTo>
                    <a:lnTo>
                      <a:pt x="67" y="24"/>
                    </a:lnTo>
                    <a:lnTo>
                      <a:pt x="100" y="32"/>
                    </a:lnTo>
                    <a:lnTo>
                      <a:pt x="114" y="32"/>
                    </a:lnTo>
                    <a:lnTo>
                      <a:pt x="114" y="24"/>
                    </a:lnTo>
                    <a:lnTo>
                      <a:pt x="129" y="24"/>
                    </a:lnTo>
                    <a:lnTo>
                      <a:pt x="136" y="0"/>
                    </a:lnTo>
                    <a:lnTo>
                      <a:pt x="144" y="17"/>
                    </a:lnTo>
                    <a:lnTo>
                      <a:pt x="149" y="39"/>
                    </a:lnTo>
                    <a:lnTo>
                      <a:pt x="171" y="24"/>
                    </a:lnTo>
                    <a:lnTo>
                      <a:pt x="193" y="32"/>
                    </a:lnTo>
                    <a:lnTo>
                      <a:pt x="188" y="32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35" name="Freeform 269"/>
              <p:cNvSpPr>
                <a:spLocks/>
              </p:cNvSpPr>
              <p:nvPr/>
            </p:nvSpPr>
            <p:spPr bwMode="auto">
              <a:xfrm>
                <a:off x="5357813" y="3906838"/>
                <a:ext cx="444500" cy="444500"/>
              </a:xfrm>
              <a:custGeom>
                <a:avLst/>
                <a:gdLst>
                  <a:gd name="T0" fmla="*/ 240 w 253"/>
                  <a:gd name="T1" fmla="*/ 254 h 254"/>
                  <a:gd name="T2" fmla="*/ 181 w 253"/>
                  <a:gd name="T3" fmla="*/ 246 h 254"/>
                  <a:gd name="T4" fmla="*/ 166 w 253"/>
                  <a:gd name="T5" fmla="*/ 226 h 254"/>
                  <a:gd name="T6" fmla="*/ 148 w 253"/>
                  <a:gd name="T7" fmla="*/ 239 h 254"/>
                  <a:gd name="T8" fmla="*/ 126 w 253"/>
                  <a:gd name="T9" fmla="*/ 239 h 254"/>
                  <a:gd name="T10" fmla="*/ 83 w 253"/>
                  <a:gd name="T11" fmla="*/ 178 h 254"/>
                  <a:gd name="T12" fmla="*/ 69 w 253"/>
                  <a:gd name="T13" fmla="*/ 172 h 254"/>
                  <a:gd name="T14" fmla="*/ 62 w 253"/>
                  <a:gd name="T15" fmla="*/ 172 h 254"/>
                  <a:gd name="T16" fmla="*/ 56 w 253"/>
                  <a:gd name="T17" fmla="*/ 165 h 254"/>
                  <a:gd name="T18" fmla="*/ 41 w 253"/>
                  <a:gd name="T19" fmla="*/ 135 h 254"/>
                  <a:gd name="T20" fmla="*/ 26 w 253"/>
                  <a:gd name="T21" fmla="*/ 126 h 254"/>
                  <a:gd name="T22" fmla="*/ 19 w 253"/>
                  <a:gd name="T23" fmla="*/ 105 h 254"/>
                  <a:gd name="T24" fmla="*/ 26 w 253"/>
                  <a:gd name="T25" fmla="*/ 88 h 254"/>
                  <a:gd name="T26" fmla="*/ 26 w 253"/>
                  <a:gd name="T27" fmla="*/ 68 h 254"/>
                  <a:gd name="T28" fmla="*/ 19 w 253"/>
                  <a:gd name="T29" fmla="*/ 68 h 254"/>
                  <a:gd name="T30" fmla="*/ 0 w 253"/>
                  <a:gd name="T31" fmla="*/ 7 h 254"/>
                  <a:gd name="T32" fmla="*/ 12 w 253"/>
                  <a:gd name="T33" fmla="*/ 0 h 254"/>
                  <a:gd name="T34" fmla="*/ 19 w 253"/>
                  <a:gd name="T35" fmla="*/ 15 h 254"/>
                  <a:gd name="T36" fmla="*/ 34 w 253"/>
                  <a:gd name="T37" fmla="*/ 15 h 254"/>
                  <a:gd name="T38" fmla="*/ 56 w 253"/>
                  <a:gd name="T39" fmla="*/ 7 h 254"/>
                  <a:gd name="T40" fmla="*/ 62 w 253"/>
                  <a:gd name="T41" fmla="*/ 7 h 254"/>
                  <a:gd name="T42" fmla="*/ 56 w 253"/>
                  <a:gd name="T43" fmla="*/ 15 h 254"/>
                  <a:gd name="T44" fmla="*/ 69 w 253"/>
                  <a:gd name="T45" fmla="*/ 24 h 254"/>
                  <a:gd name="T46" fmla="*/ 69 w 253"/>
                  <a:gd name="T47" fmla="*/ 46 h 254"/>
                  <a:gd name="T48" fmla="*/ 104 w 253"/>
                  <a:gd name="T49" fmla="*/ 61 h 254"/>
                  <a:gd name="T50" fmla="*/ 141 w 253"/>
                  <a:gd name="T51" fmla="*/ 61 h 254"/>
                  <a:gd name="T52" fmla="*/ 141 w 253"/>
                  <a:gd name="T53" fmla="*/ 46 h 254"/>
                  <a:gd name="T54" fmla="*/ 153 w 253"/>
                  <a:gd name="T55" fmla="*/ 37 h 254"/>
                  <a:gd name="T56" fmla="*/ 181 w 253"/>
                  <a:gd name="T57" fmla="*/ 37 h 254"/>
                  <a:gd name="T58" fmla="*/ 233 w 253"/>
                  <a:gd name="T59" fmla="*/ 61 h 254"/>
                  <a:gd name="T60" fmla="*/ 233 w 253"/>
                  <a:gd name="T61" fmla="*/ 88 h 254"/>
                  <a:gd name="T62" fmla="*/ 225 w 253"/>
                  <a:gd name="T63" fmla="*/ 105 h 254"/>
                  <a:gd name="T64" fmla="*/ 225 w 253"/>
                  <a:gd name="T65" fmla="*/ 143 h 254"/>
                  <a:gd name="T66" fmla="*/ 240 w 253"/>
                  <a:gd name="T67" fmla="*/ 157 h 254"/>
                  <a:gd name="T68" fmla="*/ 240 w 253"/>
                  <a:gd name="T69" fmla="*/ 165 h 254"/>
                  <a:gd name="T70" fmla="*/ 233 w 253"/>
                  <a:gd name="T71" fmla="*/ 178 h 254"/>
                  <a:gd name="T72" fmla="*/ 253 w 253"/>
                  <a:gd name="T73" fmla="*/ 226 h 254"/>
                  <a:gd name="T74" fmla="*/ 240 w 253"/>
                  <a:gd name="T75" fmla="*/ 239 h 254"/>
                  <a:gd name="T76" fmla="*/ 240 w 253"/>
                  <a:gd name="T77" fmla="*/ 254 h 254"/>
                  <a:gd name="T78" fmla="*/ 240 w 253"/>
                  <a:gd name="T79" fmla="*/ 254 h 254"/>
                  <a:gd name="T80" fmla="*/ 240 w 253"/>
                  <a:gd name="T81" fmla="*/ 254 h 2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53" h="254">
                    <a:moveTo>
                      <a:pt x="240" y="254"/>
                    </a:moveTo>
                    <a:lnTo>
                      <a:pt x="181" y="246"/>
                    </a:lnTo>
                    <a:lnTo>
                      <a:pt x="166" y="226"/>
                    </a:lnTo>
                    <a:lnTo>
                      <a:pt x="148" y="239"/>
                    </a:lnTo>
                    <a:lnTo>
                      <a:pt x="126" y="239"/>
                    </a:lnTo>
                    <a:lnTo>
                      <a:pt x="83" y="178"/>
                    </a:lnTo>
                    <a:lnTo>
                      <a:pt x="69" y="172"/>
                    </a:lnTo>
                    <a:lnTo>
                      <a:pt x="62" y="172"/>
                    </a:lnTo>
                    <a:lnTo>
                      <a:pt x="56" y="165"/>
                    </a:lnTo>
                    <a:lnTo>
                      <a:pt x="41" y="135"/>
                    </a:lnTo>
                    <a:lnTo>
                      <a:pt x="26" y="126"/>
                    </a:lnTo>
                    <a:lnTo>
                      <a:pt x="19" y="105"/>
                    </a:lnTo>
                    <a:lnTo>
                      <a:pt x="26" y="88"/>
                    </a:lnTo>
                    <a:lnTo>
                      <a:pt x="26" y="68"/>
                    </a:lnTo>
                    <a:lnTo>
                      <a:pt x="19" y="68"/>
                    </a:lnTo>
                    <a:lnTo>
                      <a:pt x="0" y="7"/>
                    </a:lnTo>
                    <a:lnTo>
                      <a:pt x="12" y="0"/>
                    </a:lnTo>
                    <a:lnTo>
                      <a:pt x="19" y="15"/>
                    </a:lnTo>
                    <a:lnTo>
                      <a:pt x="34" y="15"/>
                    </a:lnTo>
                    <a:lnTo>
                      <a:pt x="56" y="7"/>
                    </a:lnTo>
                    <a:lnTo>
                      <a:pt x="62" y="7"/>
                    </a:lnTo>
                    <a:lnTo>
                      <a:pt x="56" y="15"/>
                    </a:lnTo>
                    <a:lnTo>
                      <a:pt x="69" y="24"/>
                    </a:lnTo>
                    <a:lnTo>
                      <a:pt x="69" y="46"/>
                    </a:lnTo>
                    <a:lnTo>
                      <a:pt x="104" y="61"/>
                    </a:lnTo>
                    <a:lnTo>
                      <a:pt x="141" y="61"/>
                    </a:lnTo>
                    <a:lnTo>
                      <a:pt x="141" y="46"/>
                    </a:lnTo>
                    <a:lnTo>
                      <a:pt x="153" y="37"/>
                    </a:lnTo>
                    <a:lnTo>
                      <a:pt x="181" y="37"/>
                    </a:lnTo>
                    <a:lnTo>
                      <a:pt x="233" y="61"/>
                    </a:lnTo>
                    <a:lnTo>
                      <a:pt x="233" y="88"/>
                    </a:lnTo>
                    <a:lnTo>
                      <a:pt x="225" y="105"/>
                    </a:lnTo>
                    <a:lnTo>
                      <a:pt x="225" y="143"/>
                    </a:lnTo>
                    <a:lnTo>
                      <a:pt x="240" y="157"/>
                    </a:lnTo>
                    <a:lnTo>
                      <a:pt x="240" y="165"/>
                    </a:lnTo>
                    <a:lnTo>
                      <a:pt x="233" y="178"/>
                    </a:lnTo>
                    <a:lnTo>
                      <a:pt x="253" y="226"/>
                    </a:lnTo>
                    <a:lnTo>
                      <a:pt x="240" y="239"/>
                    </a:lnTo>
                    <a:lnTo>
                      <a:pt x="240" y="254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36" name="Freeform 270"/>
              <p:cNvSpPr>
                <a:spLocks/>
              </p:cNvSpPr>
              <p:nvPr/>
            </p:nvSpPr>
            <p:spPr bwMode="auto">
              <a:xfrm>
                <a:off x="5916613" y="3868738"/>
                <a:ext cx="174625" cy="146050"/>
              </a:xfrm>
              <a:custGeom>
                <a:avLst/>
                <a:gdLst>
                  <a:gd name="T0" fmla="*/ 85 w 99"/>
                  <a:gd name="T1" fmla="*/ 32 h 84"/>
                  <a:gd name="T2" fmla="*/ 85 w 99"/>
                  <a:gd name="T3" fmla="*/ 46 h 84"/>
                  <a:gd name="T4" fmla="*/ 99 w 99"/>
                  <a:gd name="T5" fmla="*/ 46 h 84"/>
                  <a:gd name="T6" fmla="*/ 99 w 99"/>
                  <a:gd name="T7" fmla="*/ 78 h 84"/>
                  <a:gd name="T8" fmla="*/ 77 w 99"/>
                  <a:gd name="T9" fmla="*/ 69 h 84"/>
                  <a:gd name="T10" fmla="*/ 55 w 99"/>
                  <a:gd name="T11" fmla="*/ 84 h 84"/>
                  <a:gd name="T12" fmla="*/ 43 w 99"/>
                  <a:gd name="T13" fmla="*/ 46 h 84"/>
                  <a:gd name="T14" fmla="*/ 37 w 99"/>
                  <a:gd name="T15" fmla="*/ 69 h 84"/>
                  <a:gd name="T16" fmla="*/ 22 w 99"/>
                  <a:gd name="T17" fmla="*/ 69 h 84"/>
                  <a:gd name="T18" fmla="*/ 22 w 99"/>
                  <a:gd name="T19" fmla="*/ 78 h 84"/>
                  <a:gd name="T20" fmla="*/ 0 w 99"/>
                  <a:gd name="T21" fmla="*/ 78 h 84"/>
                  <a:gd name="T22" fmla="*/ 8 w 99"/>
                  <a:gd name="T23" fmla="*/ 63 h 84"/>
                  <a:gd name="T24" fmla="*/ 8 w 99"/>
                  <a:gd name="T25" fmla="*/ 39 h 84"/>
                  <a:gd name="T26" fmla="*/ 0 w 99"/>
                  <a:gd name="T27" fmla="*/ 32 h 84"/>
                  <a:gd name="T28" fmla="*/ 15 w 99"/>
                  <a:gd name="T29" fmla="*/ 32 h 84"/>
                  <a:gd name="T30" fmla="*/ 22 w 99"/>
                  <a:gd name="T31" fmla="*/ 9 h 84"/>
                  <a:gd name="T32" fmla="*/ 22 w 99"/>
                  <a:gd name="T33" fmla="*/ 0 h 84"/>
                  <a:gd name="T34" fmla="*/ 43 w 99"/>
                  <a:gd name="T35" fmla="*/ 0 h 84"/>
                  <a:gd name="T36" fmla="*/ 43 w 99"/>
                  <a:gd name="T37" fmla="*/ 24 h 84"/>
                  <a:gd name="T38" fmla="*/ 22 w 99"/>
                  <a:gd name="T39" fmla="*/ 24 h 84"/>
                  <a:gd name="T40" fmla="*/ 22 w 99"/>
                  <a:gd name="T41" fmla="*/ 32 h 84"/>
                  <a:gd name="T42" fmla="*/ 85 w 99"/>
                  <a:gd name="T43" fmla="*/ 32 h 84"/>
                  <a:gd name="T44" fmla="*/ 85 w 99"/>
                  <a:gd name="T45" fmla="*/ 32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99" h="84">
                    <a:moveTo>
                      <a:pt x="85" y="32"/>
                    </a:moveTo>
                    <a:lnTo>
                      <a:pt x="85" y="46"/>
                    </a:lnTo>
                    <a:lnTo>
                      <a:pt x="99" y="46"/>
                    </a:lnTo>
                    <a:lnTo>
                      <a:pt x="99" y="78"/>
                    </a:lnTo>
                    <a:lnTo>
                      <a:pt x="77" y="69"/>
                    </a:lnTo>
                    <a:lnTo>
                      <a:pt x="55" y="84"/>
                    </a:lnTo>
                    <a:lnTo>
                      <a:pt x="43" y="46"/>
                    </a:lnTo>
                    <a:lnTo>
                      <a:pt x="37" y="69"/>
                    </a:lnTo>
                    <a:lnTo>
                      <a:pt x="22" y="69"/>
                    </a:lnTo>
                    <a:lnTo>
                      <a:pt x="22" y="78"/>
                    </a:lnTo>
                    <a:lnTo>
                      <a:pt x="0" y="78"/>
                    </a:lnTo>
                    <a:lnTo>
                      <a:pt x="8" y="63"/>
                    </a:lnTo>
                    <a:lnTo>
                      <a:pt x="8" y="39"/>
                    </a:lnTo>
                    <a:lnTo>
                      <a:pt x="0" y="32"/>
                    </a:lnTo>
                    <a:lnTo>
                      <a:pt x="15" y="32"/>
                    </a:lnTo>
                    <a:lnTo>
                      <a:pt x="22" y="9"/>
                    </a:lnTo>
                    <a:lnTo>
                      <a:pt x="22" y="0"/>
                    </a:lnTo>
                    <a:lnTo>
                      <a:pt x="43" y="0"/>
                    </a:lnTo>
                    <a:lnTo>
                      <a:pt x="43" y="24"/>
                    </a:lnTo>
                    <a:lnTo>
                      <a:pt x="22" y="24"/>
                    </a:lnTo>
                    <a:lnTo>
                      <a:pt x="22" y="32"/>
                    </a:lnTo>
                    <a:lnTo>
                      <a:pt x="85" y="32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37" name="Freeform 271"/>
              <p:cNvSpPr>
                <a:spLocks/>
              </p:cNvSpPr>
              <p:nvPr/>
            </p:nvSpPr>
            <p:spPr bwMode="auto">
              <a:xfrm>
                <a:off x="5553075" y="3798888"/>
                <a:ext cx="352425" cy="249237"/>
              </a:xfrm>
              <a:custGeom>
                <a:avLst/>
                <a:gdLst>
                  <a:gd name="T0" fmla="*/ 194 w 201"/>
                  <a:gd name="T1" fmla="*/ 116 h 143"/>
                  <a:gd name="T2" fmla="*/ 179 w 201"/>
                  <a:gd name="T3" fmla="*/ 108 h 143"/>
                  <a:gd name="T4" fmla="*/ 179 w 201"/>
                  <a:gd name="T5" fmla="*/ 116 h 143"/>
                  <a:gd name="T6" fmla="*/ 173 w 201"/>
                  <a:gd name="T7" fmla="*/ 116 h 143"/>
                  <a:gd name="T8" fmla="*/ 164 w 201"/>
                  <a:gd name="T9" fmla="*/ 131 h 143"/>
                  <a:gd name="T10" fmla="*/ 142 w 201"/>
                  <a:gd name="T11" fmla="*/ 131 h 143"/>
                  <a:gd name="T12" fmla="*/ 142 w 201"/>
                  <a:gd name="T13" fmla="*/ 143 h 143"/>
                  <a:gd name="T14" fmla="*/ 122 w 201"/>
                  <a:gd name="T15" fmla="*/ 143 h 143"/>
                  <a:gd name="T16" fmla="*/ 122 w 201"/>
                  <a:gd name="T17" fmla="*/ 123 h 143"/>
                  <a:gd name="T18" fmla="*/ 72 w 201"/>
                  <a:gd name="T19" fmla="*/ 101 h 143"/>
                  <a:gd name="T20" fmla="*/ 44 w 201"/>
                  <a:gd name="T21" fmla="*/ 101 h 143"/>
                  <a:gd name="T22" fmla="*/ 30 w 201"/>
                  <a:gd name="T23" fmla="*/ 108 h 143"/>
                  <a:gd name="T24" fmla="*/ 30 w 201"/>
                  <a:gd name="T25" fmla="*/ 77 h 143"/>
                  <a:gd name="T26" fmla="*/ 13 w 201"/>
                  <a:gd name="T27" fmla="*/ 77 h 143"/>
                  <a:gd name="T28" fmla="*/ 13 w 201"/>
                  <a:gd name="T29" fmla="*/ 61 h 143"/>
                  <a:gd name="T30" fmla="*/ 8 w 201"/>
                  <a:gd name="T31" fmla="*/ 61 h 143"/>
                  <a:gd name="T32" fmla="*/ 8 w 201"/>
                  <a:gd name="T33" fmla="*/ 47 h 143"/>
                  <a:gd name="T34" fmla="*/ 30 w 201"/>
                  <a:gd name="T35" fmla="*/ 47 h 143"/>
                  <a:gd name="T36" fmla="*/ 35 w 201"/>
                  <a:gd name="T37" fmla="*/ 40 h 143"/>
                  <a:gd name="T38" fmla="*/ 13 w 201"/>
                  <a:gd name="T39" fmla="*/ 24 h 143"/>
                  <a:gd name="T40" fmla="*/ 8 w 201"/>
                  <a:gd name="T41" fmla="*/ 24 h 143"/>
                  <a:gd name="T42" fmla="*/ 8 w 201"/>
                  <a:gd name="T43" fmla="*/ 40 h 143"/>
                  <a:gd name="T44" fmla="*/ 0 w 201"/>
                  <a:gd name="T45" fmla="*/ 24 h 143"/>
                  <a:gd name="T46" fmla="*/ 30 w 201"/>
                  <a:gd name="T47" fmla="*/ 9 h 143"/>
                  <a:gd name="T48" fmla="*/ 44 w 201"/>
                  <a:gd name="T49" fmla="*/ 30 h 143"/>
                  <a:gd name="T50" fmla="*/ 55 w 201"/>
                  <a:gd name="T51" fmla="*/ 30 h 143"/>
                  <a:gd name="T52" fmla="*/ 55 w 201"/>
                  <a:gd name="T53" fmla="*/ 24 h 143"/>
                  <a:gd name="T54" fmla="*/ 79 w 201"/>
                  <a:gd name="T55" fmla="*/ 9 h 143"/>
                  <a:gd name="T56" fmla="*/ 85 w 201"/>
                  <a:gd name="T57" fmla="*/ 9 h 143"/>
                  <a:gd name="T58" fmla="*/ 79 w 201"/>
                  <a:gd name="T59" fmla="*/ 0 h 143"/>
                  <a:gd name="T60" fmla="*/ 85 w 201"/>
                  <a:gd name="T61" fmla="*/ 0 h 143"/>
                  <a:gd name="T62" fmla="*/ 101 w 201"/>
                  <a:gd name="T63" fmla="*/ 9 h 143"/>
                  <a:gd name="T64" fmla="*/ 101 w 201"/>
                  <a:gd name="T65" fmla="*/ 30 h 143"/>
                  <a:gd name="T66" fmla="*/ 131 w 201"/>
                  <a:gd name="T67" fmla="*/ 30 h 143"/>
                  <a:gd name="T68" fmla="*/ 137 w 201"/>
                  <a:gd name="T69" fmla="*/ 61 h 143"/>
                  <a:gd name="T70" fmla="*/ 201 w 201"/>
                  <a:gd name="T71" fmla="*/ 101 h 143"/>
                  <a:gd name="T72" fmla="*/ 194 w 201"/>
                  <a:gd name="T73" fmla="*/ 116 h 143"/>
                  <a:gd name="T74" fmla="*/ 194 w 201"/>
                  <a:gd name="T75" fmla="*/ 116 h 143"/>
                  <a:gd name="T76" fmla="*/ 194 w 201"/>
                  <a:gd name="T77" fmla="*/ 116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01" h="143">
                    <a:moveTo>
                      <a:pt x="194" y="116"/>
                    </a:moveTo>
                    <a:lnTo>
                      <a:pt x="179" y="108"/>
                    </a:lnTo>
                    <a:lnTo>
                      <a:pt x="179" y="116"/>
                    </a:lnTo>
                    <a:lnTo>
                      <a:pt x="173" y="116"/>
                    </a:lnTo>
                    <a:lnTo>
                      <a:pt x="164" y="131"/>
                    </a:lnTo>
                    <a:lnTo>
                      <a:pt x="142" y="131"/>
                    </a:lnTo>
                    <a:lnTo>
                      <a:pt x="142" y="143"/>
                    </a:lnTo>
                    <a:lnTo>
                      <a:pt x="122" y="143"/>
                    </a:lnTo>
                    <a:lnTo>
                      <a:pt x="122" y="123"/>
                    </a:lnTo>
                    <a:lnTo>
                      <a:pt x="72" y="101"/>
                    </a:lnTo>
                    <a:lnTo>
                      <a:pt x="44" y="101"/>
                    </a:lnTo>
                    <a:lnTo>
                      <a:pt x="30" y="108"/>
                    </a:lnTo>
                    <a:lnTo>
                      <a:pt x="30" y="77"/>
                    </a:lnTo>
                    <a:lnTo>
                      <a:pt x="13" y="77"/>
                    </a:lnTo>
                    <a:lnTo>
                      <a:pt x="13" y="61"/>
                    </a:lnTo>
                    <a:lnTo>
                      <a:pt x="8" y="61"/>
                    </a:lnTo>
                    <a:lnTo>
                      <a:pt x="8" y="47"/>
                    </a:lnTo>
                    <a:lnTo>
                      <a:pt x="30" y="47"/>
                    </a:lnTo>
                    <a:lnTo>
                      <a:pt x="35" y="40"/>
                    </a:lnTo>
                    <a:lnTo>
                      <a:pt x="13" y="24"/>
                    </a:lnTo>
                    <a:lnTo>
                      <a:pt x="8" y="24"/>
                    </a:lnTo>
                    <a:lnTo>
                      <a:pt x="8" y="40"/>
                    </a:lnTo>
                    <a:lnTo>
                      <a:pt x="0" y="24"/>
                    </a:lnTo>
                    <a:lnTo>
                      <a:pt x="30" y="9"/>
                    </a:lnTo>
                    <a:lnTo>
                      <a:pt x="44" y="30"/>
                    </a:lnTo>
                    <a:lnTo>
                      <a:pt x="55" y="30"/>
                    </a:lnTo>
                    <a:lnTo>
                      <a:pt x="55" y="24"/>
                    </a:lnTo>
                    <a:lnTo>
                      <a:pt x="79" y="9"/>
                    </a:lnTo>
                    <a:lnTo>
                      <a:pt x="85" y="9"/>
                    </a:lnTo>
                    <a:lnTo>
                      <a:pt x="79" y="0"/>
                    </a:lnTo>
                    <a:lnTo>
                      <a:pt x="85" y="0"/>
                    </a:lnTo>
                    <a:lnTo>
                      <a:pt x="101" y="9"/>
                    </a:lnTo>
                    <a:lnTo>
                      <a:pt x="101" y="30"/>
                    </a:lnTo>
                    <a:lnTo>
                      <a:pt x="131" y="30"/>
                    </a:lnTo>
                    <a:lnTo>
                      <a:pt x="137" y="61"/>
                    </a:lnTo>
                    <a:lnTo>
                      <a:pt x="201" y="101"/>
                    </a:lnTo>
                    <a:lnTo>
                      <a:pt x="194" y="116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38" name="Freeform 272"/>
              <p:cNvSpPr>
                <a:spLocks/>
              </p:cNvSpPr>
              <p:nvPr/>
            </p:nvSpPr>
            <p:spPr bwMode="auto">
              <a:xfrm>
                <a:off x="5638800" y="3709988"/>
                <a:ext cx="419100" cy="277812"/>
              </a:xfrm>
              <a:custGeom>
                <a:avLst/>
                <a:gdLst>
                  <a:gd name="T0" fmla="*/ 145 w 239"/>
                  <a:gd name="T1" fmla="*/ 159 h 159"/>
                  <a:gd name="T2" fmla="*/ 157 w 239"/>
                  <a:gd name="T3" fmla="*/ 159 h 159"/>
                  <a:gd name="T4" fmla="*/ 167 w 239"/>
                  <a:gd name="T5" fmla="*/ 144 h 159"/>
                  <a:gd name="T6" fmla="*/ 167 w 239"/>
                  <a:gd name="T7" fmla="*/ 122 h 159"/>
                  <a:gd name="T8" fmla="*/ 157 w 239"/>
                  <a:gd name="T9" fmla="*/ 114 h 159"/>
                  <a:gd name="T10" fmla="*/ 174 w 239"/>
                  <a:gd name="T11" fmla="*/ 114 h 159"/>
                  <a:gd name="T12" fmla="*/ 181 w 239"/>
                  <a:gd name="T13" fmla="*/ 94 h 159"/>
                  <a:gd name="T14" fmla="*/ 181 w 239"/>
                  <a:gd name="T15" fmla="*/ 85 h 159"/>
                  <a:gd name="T16" fmla="*/ 202 w 239"/>
                  <a:gd name="T17" fmla="*/ 85 h 159"/>
                  <a:gd name="T18" fmla="*/ 202 w 239"/>
                  <a:gd name="T19" fmla="*/ 94 h 159"/>
                  <a:gd name="T20" fmla="*/ 217 w 239"/>
                  <a:gd name="T21" fmla="*/ 94 h 159"/>
                  <a:gd name="T22" fmla="*/ 239 w 239"/>
                  <a:gd name="T23" fmla="*/ 85 h 159"/>
                  <a:gd name="T24" fmla="*/ 217 w 239"/>
                  <a:gd name="T25" fmla="*/ 79 h 159"/>
                  <a:gd name="T26" fmla="*/ 196 w 239"/>
                  <a:gd name="T27" fmla="*/ 79 h 159"/>
                  <a:gd name="T28" fmla="*/ 209 w 239"/>
                  <a:gd name="T29" fmla="*/ 57 h 159"/>
                  <a:gd name="T30" fmla="*/ 202 w 239"/>
                  <a:gd name="T31" fmla="*/ 57 h 159"/>
                  <a:gd name="T32" fmla="*/ 174 w 239"/>
                  <a:gd name="T33" fmla="*/ 85 h 159"/>
                  <a:gd name="T34" fmla="*/ 167 w 239"/>
                  <a:gd name="T35" fmla="*/ 79 h 159"/>
                  <a:gd name="T36" fmla="*/ 152 w 239"/>
                  <a:gd name="T37" fmla="*/ 79 h 159"/>
                  <a:gd name="T38" fmla="*/ 152 w 239"/>
                  <a:gd name="T39" fmla="*/ 72 h 159"/>
                  <a:gd name="T40" fmla="*/ 145 w 239"/>
                  <a:gd name="T41" fmla="*/ 72 h 159"/>
                  <a:gd name="T42" fmla="*/ 145 w 239"/>
                  <a:gd name="T43" fmla="*/ 50 h 159"/>
                  <a:gd name="T44" fmla="*/ 124 w 239"/>
                  <a:gd name="T45" fmla="*/ 33 h 159"/>
                  <a:gd name="T46" fmla="*/ 82 w 239"/>
                  <a:gd name="T47" fmla="*/ 33 h 159"/>
                  <a:gd name="T48" fmla="*/ 38 w 239"/>
                  <a:gd name="T49" fmla="*/ 0 h 159"/>
                  <a:gd name="T50" fmla="*/ 0 w 239"/>
                  <a:gd name="T51" fmla="*/ 6 h 159"/>
                  <a:gd name="T52" fmla="*/ 0 w 239"/>
                  <a:gd name="T53" fmla="*/ 79 h 159"/>
                  <a:gd name="T54" fmla="*/ 6 w 239"/>
                  <a:gd name="T55" fmla="*/ 79 h 159"/>
                  <a:gd name="T56" fmla="*/ 6 w 239"/>
                  <a:gd name="T57" fmla="*/ 72 h 159"/>
                  <a:gd name="T58" fmla="*/ 28 w 239"/>
                  <a:gd name="T59" fmla="*/ 57 h 159"/>
                  <a:gd name="T60" fmla="*/ 38 w 239"/>
                  <a:gd name="T61" fmla="*/ 57 h 159"/>
                  <a:gd name="T62" fmla="*/ 28 w 239"/>
                  <a:gd name="T63" fmla="*/ 50 h 159"/>
                  <a:gd name="T64" fmla="*/ 38 w 239"/>
                  <a:gd name="T65" fmla="*/ 50 h 159"/>
                  <a:gd name="T66" fmla="*/ 50 w 239"/>
                  <a:gd name="T67" fmla="*/ 57 h 159"/>
                  <a:gd name="T68" fmla="*/ 50 w 239"/>
                  <a:gd name="T69" fmla="*/ 79 h 159"/>
                  <a:gd name="T70" fmla="*/ 82 w 239"/>
                  <a:gd name="T71" fmla="*/ 79 h 159"/>
                  <a:gd name="T72" fmla="*/ 88 w 239"/>
                  <a:gd name="T73" fmla="*/ 107 h 159"/>
                  <a:gd name="T74" fmla="*/ 152 w 239"/>
                  <a:gd name="T75" fmla="*/ 144 h 159"/>
                  <a:gd name="T76" fmla="*/ 145 w 239"/>
                  <a:gd name="T77" fmla="*/ 159 h 159"/>
                  <a:gd name="T78" fmla="*/ 145 w 239"/>
                  <a:gd name="T79" fmla="*/ 159 h 159"/>
                  <a:gd name="T80" fmla="*/ 145 w 239"/>
                  <a:gd name="T81" fmla="*/ 159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39" h="159">
                    <a:moveTo>
                      <a:pt x="145" y="159"/>
                    </a:moveTo>
                    <a:lnTo>
                      <a:pt x="157" y="159"/>
                    </a:lnTo>
                    <a:lnTo>
                      <a:pt x="167" y="144"/>
                    </a:lnTo>
                    <a:lnTo>
                      <a:pt x="167" y="122"/>
                    </a:lnTo>
                    <a:lnTo>
                      <a:pt x="157" y="114"/>
                    </a:lnTo>
                    <a:lnTo>
                      <a:pt x="174" y="114"/>
                    </a:lnTo>
                    <a:lnTo>
                      <a:pt x="181" y="94"/>
                    </a:lnTo>
                    <a:lnTo>
                      <a:pt x="181" y="85"/>
                    </a:lnTo>
                    <a:lnTo>
                      <a:pt x="202" y="85"/>
                    </a:lnTo>
                    <a:lnTo>
                      <a:pt x="202" y="94"/>
                    </a:lnTo>
                    <a:lnTo>
                      <a:pt x="217" y="94"/>
                    </a:lnTo>
                    <a:lnTo>
                      <a:pt x="239" y="85"/>
                    </a:lnTo>
                    <a:lnTo>
                      <a:pt x="217" y="79"/>
                    </a:lnTo>
                    <a:lnTo>
                      <a:pt x="196" y="79"/>
                    </a:lnTo>
                    <a:lnTo>
                      <a:pt x="209" y="57"/>
                    </a:lnTo>
                    <a:lnTo>
                      <a:pt x="202" y="57"/>
                    </a:lnTo>
                    <a:lnTo>
                      <a:pt x="174" y="85"/>
                    </a:lnTo>
                    <a:lnTo>
                      <a:pt x="167" y="79"/>
                    </a:lnTo>
                    <a:lnTo>
                      <a:pt x="152" y="79"/>
                    </a:lnTo>
                    <a:lnTo>
                      <a:pt x="152" y="72"/>
                    </a:lnTo>
                    <a:lnTo>
                      <a:pt x="145" y="72"/>
                    </a:lnTo>
                    <a:lnTo>
                      <a:pt x="145" y="50"/>
                    </a:lnTo>
                    <a:lnTo>
                      <a:pt x="124" y="33"/>
                    </a:lnTo>
                    <a:lnTo>
                      <a:pt x="82" y="33"/>
                    </a:lnTo>
                    <a:lnTo>
                      <a:pt x="38" y="0"/>
                    </a:lnTo>
                    <a:lnTo>
                      <a:pt x="0" y="6"/>
                    </a:lnTo>
                    <a:lnTo>
                      <a:pt x="0" y="79"/>
                    </a:lnTo>
                    <a:lnTo>
                      <a:pt x="6" y="79"/>
                    </a:lnTo>
                    <a:lnTo>
                      <a:pt x="6" y="72"/>
                    </a:lnTo>
                    <a:lnTo>
                      <a:pt x="28" y="57"/>
                    </a:lnTo>
                    <a:lnTo>
                      <a:pt x="38" y="57"/>
                    </a:lnTo>
                    <a:lnTo>
                      <a:pt x="28" y="50"/>
                    </a:lnTo>
                    <a:lnTo>
                      <a:pt x="38" y="50"/>
                    </a:lnTo>
                    <a:lnTo>
                      <a:pt x="50" y="57"/>
                    </a:lnTo>
                    <a:lnTo>
                      <a:pt x="50" y="79"/>
                    </a:lnTo>
                    <a:lnTo>
                      <a:pt x="82" y="79"/>
                    </a:lnTo>
                    <a:lnTo>
                      <a:pt x="88" y="107"/>
                    </a:lnTo>
                    <a:lnTo>
                      <a:pt x="152" y="144"/>
                    </a:lnTo>
                    <a:lnTo>
                      <a:pt x="145" y="159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39" name="Freeform 273"/>
              <p:cNvSpPr>
                <a:spLocks/>
              </p:cNvSpPr>
              <p:nvPr/>
            </p:nvSpPr>
            <p:spPr bwMode="auto">
              <a:xfrm>
                <a:off x="4967288" y="3638550"/>
                <a:ext cx="341312" cy="230188"/>
              </a:xfrm>
              <a:custGeom>
                <a:avLst/>
                <a:gdLst>
                  <a:gd name="T0" fmla="*/ 120 w 194"/>
                  <a:gd name="T1" fmla="*/ 47 h 131"/>
                  <a:gd name="T2" fmla="*/ 112 w 194"/>
                  <a:gd name="T3" fmla="*/ 47 h 131"/>
                  <a:gd name="T4" fmla="*/ 92 w 194"/>
                  <a:gd name="T5" fmla="*/ 41 h 131"/>
                  <a:gd name="T6" fmla="*/ 135 w 194"/>
                  <a:gd name="T7" fmla="*/ 10 h 131"/>
                  <a:gd name="T8" fmla="*/ 157 w 194"/>
                  <a:gd name="T9" fmla="*/ 0 h 131"/>
                  <a:gd name="T10" fmla="*/ 165 w 194"/>
                  <a:gd name="T11" fmla="*/ 10 h 131"/>
                  <a:gd name="T12" fmla="*/ 135 w 194"/>
                  <a:gd name="T13" fmla="*/ 19 h 131"/>
                  <a:gd name="T14" fmla="*/ 150 w 194"/>
                  <a:gd name="T15" fmla="*/ 24 h 131"/>
                  <a:gd name="T16" fmla="*/ 129 w 194"/>
                  <a:gd name="T17" fmla="*/ 47 h 131"/>
                  <a:gd name="T18" fmla="*/ 120 w 194"/>
                  <a:gd name="T19" fmla="*/ 47 h 131"/>
                  <a:gd name="T20" fmla="*/ 129 w 194"/>
                  <a:gd name="T21" fmla="*/ 47 h 131"/>
                  <a:gd name="T22" fmla="*/ 194 w 194"/>
                  <a:gd name="T23" fmla="*/ 101 h 131"/>
                  <a:gd name="T24" fmla="*/ 194 w 194"/>
                  <a:gd name="T25" fmla="*/ 123 h 131"/>
                  <a:gd name="T26" fmla="*/ 165 w 194"/>
                  <a:gd name="T27" fmla="*/ 131 h 131"/>
                  <a:gd name="T28" fmla="*/ 129 w 194"/>
                  <a:gd name="T29" fmla="*/ 131 h 131"/>
                  <a:gd name="T30" fmla="*/ 107 w 194"/>
                  <a:gd name="T31" fmla="*/ 115 h 131"/>
                  <a:gd name="T32" fmla="*/ 77 w 194"/>
                  <a:gd name="T33" fmla="*/ 115 h 131"/>
                  <a:gd name="T34" fmla="*/ 50 w 194"/>
                  <a:gd name="T35" fmla="*/ 131 h 131"/>
                  <a:gd name="T36" fmla="*/ 11 w 194"/>
                  <a:gd name="T37" fmla="*/ 131 h 131"/>
                  <a:gd name="T38" fmla="*/ 0 w 194"/>
                  <a:gd name="T39" fmla="*/ 101 h 131"/>
                  <a:gd name="T40" fmla="*/ 5 w 194"/>
                  <a:gd name="T41" fmla="*/ 84 h 131"/>
                  <a:gd name="T42" fmla="*/ 11 w 194"/>
                  <a:gd name="T43" fmla="*/ 84 h 131"/>
                  <a:gd name="T44" fmla="*/ 11 w 194"/>
                  <a:gd name="T45" fmla="*/ 69 h 131"/>
                  <a:gd name="T46" fmla="*/ 26 w 194"/>
                  <a:gd name="T47" fmla="*/ 56 h 131"/>
                  <a:gd name="T48" fmla="*/ 26 w 194"/>
                  <a:gd name="T49" fmla="*/ 41 h 131"/>
                  <a:gd name="T50" fmla="*/ 33 w 194"/>
                  <a:gd name="T51" fmla="*/ 41 h 131"/>
                  <a:gd name="T52" fmla="*/ 41 w 194"/>
                  <a:gd name="T53" fmla="*/ 19 h 131"/>
                  <a:gd name="T54" fmla="*/ 57 w 194"/>
                  <a:gd name="T55" fmla="*/ 19 h 131"/>
                  <a:gd name="T56" fmla="*/ 57 w 194"/>
                  <a:gd name="T57" fmla="*/ 24 h 131"/>
                  <a:gd name="T58" fmla="*/ 85 w 194"/>
                  <a:gd name="T59" fmla="*/ 41 h 131"/>
                  <a:gd name="T60" fmla="*/ 72 w 194"/>
                  <a:gd name="T61" fmla="*/ 47 h 131"/>
                  <a:gd name="T62" fmla="*/ 77 w 194"/>
                  <a:gd name="T63" fmla="*/ 56 h 131"/>
                  <a:gd name="T64" fmla="*/ 77 w 194"/>
                  <a:gd name="T65" fmla="*/ 69 h 131"/>
                  <a:gd name="T66" fmla="*/ 85 w 194"/>
                  <a:gd name="T67" fmla="*/ 69 h 131"/>
                  <a:gd name="T68" fmla="*/ 112 w 194"/>
                  <a:gd name="T69" fmla="*/ 47 h 131"/>
                  <a:gd name="T70" fmla="*/ 120 w 194"/>
                  <a:gd name="T71" fmla="*/ 47 h 131"/>
                  <a:gd name="T72" fmla="*/ 120 w 194"/>
                  <a:gd name="T73" fmla="*/ 47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94" h="131">
                    <a:moveTo>
                      <a:pt x="120" y="47"/>
                    </a:moveTo>
                    <a:lnTo>
                      <a:pt x="112" y="47"/>
                    </a:lnTo>
                    <a:lnTo>
                      <a:pt x="92" y="41"/>
                    </a:lnTo>
                    <a:lnTo>
                      <a:pt x="135" y="10"/>
                    </a:lnTo>
                    <a:lnTo>
                      <a:pt x="157" y="0"/>
                    </a:lnTo>
                    <a:lnTo>
                      <a:pt x="165" y="10"/>
                    </a:lnTo>
                    <a:lnTo>
                      <a:pt x="135" y="19"/>
                    </a:lnTo>
                    <a:lnTo>
                      <a:pt x="150" y="24"/>
                    </a:lnTo>
                    <a:lnTo>
                      <a:pt x="129" y="47"/>
                    </a:lnTo>
                    <a:lnTo>
                      <a:pt x="120" y="47"/>
                    </a:lnTo>
                    <a:lnTo>
                      <a:pt x="129" y="47"/>
                    </a:lnTo>
                    <a:lnTo>
                      <a:pt x="194" y="101"/>
                    </a:lnTo>
                    <a:lnTo>
                      <a:pt x="194" y="123"/>
                    </a:lnTo>
                    <a:lnTo>
                      <a:pt x="165" y="131"/>
                    </a:lnTo>
                    <a:lnTo>
                      <a:pt x="129" y="131"/>
                    </a:lnTo>
                    <a:lnTo>
                      <a:pt x="107" y="115"/>
                    </a:lnTo>
                    <a:lnTo>
                      <a:pt x="77" y="115"/>
                    </a:lnTo>
                    <a:lnTo>
                      <a:pt x="50" y="131"/>
                    </a:lnTo>
                    <a:lnTo>
                      <a:pt x="11" y="131"/>
                    </a:lnTo>
                    <a:lnTo>
                      <a:pt x="0" y="101"/>
                    </a:lnTo>
                    <a:lnTo>
                      <a:pt x="5" y="84"/>
                    </a:lnTo>
                    <a:lnTo>
                      <a:pt x="11" y="84"/>
                    </a:lnTo>
                    <a:lnTo>
                      <a:pt x="11" y="69"/>
                    </a:lnTo>
                    <a:lnTo>
                      <a:pt x="26" y="56"/>
                    </a:lnTo>
                    <a:lnTo>
                      <a:pt x="26" y="41"/>
                    </a:lnTo>
                    <a:lnTo>
                      <a:pt x="33" y="41"/>
                    </a:lnTo>
                    <a:lnTo>
                      <a:pt x="41" y="19"/>
                    </a:lnTo>
                    <a:lnTo>
                      <a:pt x="57" y="19"/>
                    </a:lnTo>
                    <a:lnTo>
                      <a:pt x="57" y="24"/>
                    </a:lnTo>
                    <a:lnTo>
                      <a:pt x="85" y="41"/>
                    </a:lnTo>
                    <a:lnTo>
                      <a:pt x="72" y="47"/>
                    </a:lnTo>
                    <a:lnTo>
                      <a:pt x="77" y="56"/>
                    </a:lnTo>
                    <a:lnTo>
                      <a:pt x="77" y="69"/>
                    </a:lnTo>
                    <a:lnTo>
                      <a:pt x="85" y="69"/>
                    </a:lnTo>
                    <a:lnTo>
                      <a:pt x="112" y="47"/>
                    </a:lnTo>
                    <a:lnTo>
                      <a:pt x="120" y="47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40" name="Freeform 274"/>
              <p:cNvSpPr>
                <a:spLocks/>
              </p:cNvSpPr>
              <p:nvPr/>
            </p:nvSpPr>
            <p:spPr bwMode="auto">
              <a:xfrm>
                <a:off x="4932363" y="3841750"/>
                <a:ext cx="441325" cy="173038"/>
              </a:xfrm>
              <a:custGeom>
                <a:avLst/>
                <a:gdLst>
                  <a:gd name="T0" fmla="*/ 251 w 251"/>
                  <a:gd name="T1" fmla="*/ 36 h 99"/>
                  <a:gd name="T2" fmla="*/ 237 w 251"/>
                  <a:gd name="T3" fmla="*/ 36 h 99"/>
                  <a:gd name="T4" fmla="*/ 231 w 251"/>
                  <a:gd name="T5" fmla="*/ 7 h 99"/>
                  <a:gd name="T6" fmla="*/ 211 w 251"/>
                  <a:gd name="T7" fmla="*/ 7 h 99"/>
                  <a:gd name="T8" fmla="*/ 180 w 251"/>
                  <a:gd name="T9" fmla="*/ 15 h 99"/>
                  <a:gd name="T10" fmla="*/ 145 w 251"/>
                  <a:gd name="T11" fmla="*/ 15 h 99"/>
                  <a:gd name="T12" fmla="*/ 125 w 251"/>
                  <a:gd name="T13" fmla="*/ 0 h 99"/>
                  <a:gd name="T14" fmla="*/ 97 w 251"/>
                  <a:gd name="T15" fmla="*/ 0 h 99"/>
                  <a:gd name="T16" fmla="*/ 68 w 251"/>
                  <a:gd name="T17" fmla="*/ 15 h 99"/>
                  <a:gd name="T18" fmla="*/ 33 w 251"/>
                  <a:gd name="T19" fmla="*/ 15 h 99"/>
                  <a:gd name="T20" fmla="*/ 26 w 251"/>
                  <a:gd name="T21" fmla="*/ 0 h 99"/>
                  <a:gd name="T22" fmla="*/ 13 w 251"/>
                  <a:gd name="T23" fmla="*/ 0 h 99"/>
                  <a:gd name="T24" fmla="*/ 5 w 251"/>
                  <a:gd name="T25" fmla="*/ 7 h 99"/>
                  <a:gd name="T26" fmla="*/ 0 w 251"/>
                  <a:gd name="T27" fmla="*/ 22 h 99"/>
                  <a:gd name="T28" fmla="*/ 5 w 251"/>
                  <a:gd name="T29" fmla="*/ 22 h 99"/>
                  <a:gd name="T30" fmla="*/ 5 w 251"/>
                  <a:gd name="T31" fmla="*/ 36 h 99"/>
                  <a:gd name="T32" fmla="*/ 21 w 251"/>
                  <a:gd name="T33" fmla="*/ 15 h 99"/>
                  <a:gd name="T34" fmla="*/ 33 w 251"/>
                  <a:gd name="T35" fmla="*/ 15 h 99"/>
                  <a:gd name="T36" fmla="*/ 48 w 251"/>
                  <a:gd name="T37" fmla="*/ 22 h 99"/>
                  <a:gd name="T38" fmla="*/ 33 w 251"/>
                  <a:gd name="T39" fmla="*/ 22 h 99"/>
                  <a:gd name="T40" fmla="*/ 33 w 251"/>
                  <a:gd name="T41" fmla="*/ 36 h 99"/>
                  <a:gd name="T42" fmla="*/ 13 w 251"/>
                  <a:gd name="T43" fmla="*/ 36 h 99"/>
                  <a:gd name="T44" fmla="*/ 5 w 251"/>
                  <a:gd name="T45" fmla="*/ 42 h 99"/>
                  <a:gd name="T46" fmla="*/ 5 w 251"/>
                  <a:gd name="T47" fmla="*/ 51 h 99"/>
                  <a:gd name="T48" fmla="*/ 13 w 251"/>
                  <a:gd name="T49" fmla="*/ 42 h 99"/>
                  <a:gd name="T50" fmla="*/ 13 w 251"/>
                  <a:gd name="T51" fmla="*/ 51 h 99"/>
                  <a:gd name="T52" fmla="*/ 5 w 251"/>
                  <a:gd name="T53" fmla="*/ 57 h 99"/>
                  <a:gd name="T54" fmla="*/ 5 w 251"/>
                  <a:gd name="T55" fmla="*/ 71 h 99"/>
                  <a:gd name="T56" fmla="*/ 13 w 251"/>
                  <a:gd name="T57" fmla="*/ 79 h 99"/>
                  <a:gd name="T58" fmla="*/ 21 w 251"/>
                  <a:gd name="T59" fmla="*/ 86 h 99"/>
                  <a:gd name="T60" fmla="*/ 26 w 251"/>
                  <a:gd name="T61" fmla="*/ 86 h 99"/>
                  <a:gd name="T62" fmla="*/ 26 w 251"/>
                  <a:gd name="T63" fmla="*/ 93 h 99"/>
                  <a:gd name="T64" fmla="*/ 48 w 251"/>
                  <a:gd name="T65" fmla="*/ 99 h 99"/>
                  <a:gd name="T66" fmla="*/ 60 w 251"/>
                  <a:gd name="T67" fmla="*/ 93 h 99"/>
                  <a:gd name="T68" fmla="*/ 68 w 251"/>
                  <a:gd name="T69" fmla="*/ 93 h 99"/>
                  <a:gd name="T70" fmla="*/ 90 w 251"/>
                  <a:gd name="T71" fmla="*/ 99 h 99"/>
                  <a:gd name="T72" fmla="*/ 97 w 251"/>
                  <a:gd name="T73" fmla="*/ 99 h 99"/>
                  <a:gd name="T74" fmla="*/ 110 w 251"/>
                  <a:gd name="T75" fmla="*/ 93 h 99"/>
                  <a:gd name="T76" fmla="*/ 130 w 251"/>
                  <a:gd name="T77" fmla="*/ 93 h 99"/>
                  <a:gd name="T78" fmla="*/ 130 w 251"/>
                  <a:gd name="T79" fmla="*/ 99 h 99"/>
                  <a:gd name="T80" fmla="*/ 139 w 251"/>
                  <a:gd name="T81" fmla="*/ 99 h 99"/>
                  <a:gd name="T82" fmla="*/ 139 w 251"/>
                  <a:gd name="T83" fmla="*/ 93 h 99"/>
                  <a:gd name="T84" fmla="*/ 165 w 251"/>
                  <a:gd name="T85" fmla="*/ 86 h 99"/>
                  <a:gd name="T86" fmla="*/ 174 w 251"/>
                  <a:gd name="T87" fmla="*/ 93 h 99"/>
                  <a:gd name="T88" fmla="*/ 196 w 251"/>
                  <a:gd name="T89" fmla="*/ 86 h 99"/>
                  <a:gd name="T90" fmla="*/ 222 w 251"/>
                  <a:gd name="T91" fmla="*/ 86 h 99"/>
                  <a:gd name="T92" fmla="*/ 222 w 251"/>
                  <a:gd name="T93" fmla="*/ 79 h 99"/>
                  <a:gd name="T94" fmla="*/ 251 w 251"/>
                  <a:gd name="T95" fmla="*/ 86 h 99"/>
                  <a:gd name="T96" fmla="*/ 237 w 251"/>
                  <a:gd name="T97" fmla="*/ 42 h 99"/>
                  <a:gd name="T98" fmla="*/ 251 w 251"/>
                  <a:gd name="T99" fmla="*/ 36 h 99"/>
                  <a:gd name="T100" fmla="*/ 251 w 251"/>
                  <a:gd name="T101" fmla="*/ 36 h 99"/>
                  <a:gd name="T102" fmla="*/ 251 w 251"/>
                  <a:gd name="T103" fmla="*/ 36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51" h="99">
                    <a:moveTo>
                      <a:pt x="251" y="36"/>
                    </a:moveTo>
                    <a:lnTo>
                      <a:pt x="237" y="36"/>
                    </a:lnTo>
                    <a:lnTo>
                      <a:pt x="231" y="7"/>
                    </a:lnTo>
                    <a:lnTo>
                      <a:pt x="211" y="7"/>
                    </a:lnTo>
                    <a:lnTo>
                      <a:pt x="180" y="15"/>
                    </a:lnTo>
                    <a:lnTo>
                      <a:pt x="145" y="15"/>
                    </a:lnTo>
                    <a:lnTo>
                      <a:pt x="125" y="0"/>
                    </a:lnTo>
                    <a:lnTo>
                      <a:pt x="97" y="0"/>
                    </a:lnTo>
                    <a:lnTo>
                      <a:pt x="68" y="15"/>
                    </a:lnTo>
                    <a:lnTo>
                      <a:pt x="33" y="15"/>
                    </a:lnTo>
                    <a:lnTo>
                      <a:pt x="26" y="0"/>
                    </a:lnTo>
                    <a:lnTo>
                      <a:pt x="13" y="0"/>
                    </a:lnTo>
                    <a:lnTo>
                      <a:pt x="5" y="7"/>
                    </a:lnTo>
                    <a:lnTo>
                      <a:pt x="0" y="22"/>
                    </a:lnTo>
                    <a:lnTo>
                      <a:pt x="5" y="22"/>
                    </a:lnTo>
                    <a:lnTo>
                      <a:pt x="5" y="36"/>
                    </a:lnTo>
                    <a:lnTo>
                      <a:pt x="21" y="15"/>
                    </a:lnTo>
                    <a:lnTo>
                      <a:pt x="33" y="15"/>
                    </a:lnTo>
                    <a:lnTo>
                      <a:pt x="48" y="22"/>
                    </a:lnTo>
                    <a:lnTo>
                      <a:pt x="33" y="22"/>
                    </a:lnTo>
                    <a:lnTo>
                      <a:pt x="33" y="36"/>
                    </a:lnTo>
                    <a:lnTo>
                      <a:pt x="13" y="36"/>
                    </a:lnTo>
                    <a:lnTo>
                      <a:pt x="5" y="42"/>
                    </a:lnTo>
                    <a:lnTo>
                      <a:pt x="5" y="51"/>
                    </a:lnTo>
                    <a:lnTo>
                      <a:pt x="13" y="42"/>
                    </a:lnTo>
                    <a:lnTo>
                      <a:pt x="13" y="51"/>
                    </a:lnTo>
                    <a:lnTo>
                      <a:pt x="5" y="57"/>
                    </a:lnTo>
                    <a:lnTo>
                      <a:pt x="5" y="71"/>
                    </a:lnTo>
                    <a:lnTo>
                      <a:pt x="13" y="79"/>
                    </a:lnTo>
                    <a:lnTo>
                      <a:pt x="21" y="86"/>
                    </a:lnTo>
                    <a:lnTo>
                      <a:pt x="26" y="86"/>
                    </a:lnTo>
                    <a:lnTo>
                      <a:pt x="26" y="93"/>
                    </a:lnTo>
                    <a:lnTo>
                      <a:pt x="48" y="99"/>
                    </a:lnTo>
                    <a:lnTo>
                      <a:pt x="60" y="93"/>
                    </a:lnTo>
                    <a:lnTo>
                      <a:pt x="68" y="93"/>
                    </a:lnTo>
                    <a:lnTo>
                      <a:pt x="90" y="99"/>
                    </a:lnTo>
                    <a:lnTo>
                      <a:pt x="97" y="99"/>
                    </a:lnTo>
                    <a:lnTo>
                      <a:pt x="110" y="93"/>
                    </a:lnTo>
                    <a:lnTo>
                      <a:pt x="130" y="93"/>
                    </a:lnTo>
                    <a:lnTo>
                      <a:pt x="130" y="99"/>
                    </a:lnTo>
                    <a:lnTo>
                      <a:pt x="139" y="99"/>
                    </a:lnTo>
                    <a:lnTo>
                      <a:pt x="139" y="93"/>
                    </a:lnTo>
                    <a:lnTo>
                      <a:pt x="165" y="86"/>
                    </a:lnTo>
                    <a:lnTo>
                      <a:pt x="174" y="93"/>
                    </a:lnTo>
                    <a:lnTo>
                      <a:pt x="196" y="86"/>
                    </a:lnTo>
                    <a:lnTo>
                      <a:pt x="222" y="86"/>
                    </a:lnTo>
                    <a:lnTo>
                      <a:pt x="222" y="79"/>
                    </a:lnTo>
                    <a:lnTo>
                      <a:pt x="251" y="86"/>
                    </a:lnTo>
                    <a:lnTo>
                      <a:pt x="237" y="42"/>
                    </a:lnTo>
                    <a:lnTo>
                      <a:pt x="251" y="36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41" name="Freeform 275"/>
              <p:cNvSpPr>
                <a:spLocks/>
              </p:cNvSpPr>
              <p:nvPr/>
            </p:nvSpPr>
            <p:spPr bwMode="auto">
              <a:xfrm>
                <a:off x="6415088" y="4270375"/>
                <a:ext cx="79375" cy="47625"/>
              </a:xfrm>
              <a:custGeom>
                <a:avLst/>
                <a:gdLst>
                  <a:gd name="T0" fmla="*/ 38 w 45"/>
                  <a:gd name="T1" fmla="*/ 0 h 27"/>
                  <a:gd name="T2" fmla="*/ 15 w 45"/>
                  <a:gd name="T3" fmla="*/ 0 h 27"/>
                  <a:gd name="T4" fmla="*/ 0 w 45"/>
                  <a:gd name="T5" fmla="*/ 17 h 27"/>
                  <a:gd name="T6" fmla="*/ 0 w 45"/>
                  <a:gd name="T7" fmla="*/ 27 h 27"/>
                  <a:gd name="T8" fmla="*/ 45 w 45"/>
                  <a:gd name="T9" fmla="*/ 27 h 27"/>
                  <a:gd name="T10" fmla="*/ 38 w 45"/>
                  <a:gd name="T11" fmla="*/ 0 h 27"/>
                  <a:gd name="T12" fmla="*/ 38 w 45"/>
                  <a:gd name="T13" fmla="*/ 0 h 27"/>
                  <a:gd name="T14" fmla="*/ 38 w 45"/>
                  <a:gd name="T15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5" h="27">
                    <a:moveTo>
                      <a:pt x="38" y="0"/>
                    </a:moveTo>
                    <a:lnTo>
                      <a:pt x="15" y="0"/>
                    </a:lnTo>
                    <a:lnTo>
                      <a:pt x="0" y="17"/>
                    </a:lnTo>
                    <a:lnTo>
                      <a:pt x="0" y="27"/>
                    </a:lnTo>
                    <a:lnTo>
                      <a:pt x="45" y="27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42" name="Freeform 276"/>
              <p:cNvSpPr>
                <a:spLocks/>
              </p:cNvSpPr>
              <p:nvPr/>
            </p:nvSpPr>
            <p:spPr bwMode="auto">
              <a:xfrm>
                <a:off x="5251450" y="3787775"/>
                <a:ext cx="165100" cy="63500"/>
              </a:xfrm>
              <a:custGeom>
                <a:avLst/>
                <a:gdLst>
                  <a:gd name="T0" fmla="*/ 30 w 94"/>
                  <a:gd name="T1" fmla="*/ 35 h 35"/>
                  <a:gd name="T2" fmla="*/ 30 w 94"/>
                  <a:gd name="T3" fmla="*/ 15 h 35"/>
                  <a:gd name="T4" fmla="*/ 0 w 94"/>
                  <a:gd name="T5" fmla="*/ 0 h 35"/>
                  <a:gd name="T6" fmla="*/ 44 w 94"/>
                  <a:gd name="T7" fmla="*/ 0 h 35"/>
                  <a:gd name="T8" fmla="*/ 59 w 94"/>
                  <a:gd name="T9" fmla="*/ 8 h 35"/>
                  <a:gd name="T10" fmla="*/ 79 w 94"/>
                  <a:gd name="T11" fmla="*/ 8 h 35"/>
                  <a:gd name="T12" fmla="*/ 94 w 94"/>
                  <a:gd name="T13" fmla="*/ 29 h 35"/>
                  <a:gd name="T14" fmla="*/ 86 w 94"/>
                  <a:gd name="T15" fmla="*/ 29 h 35"/>
                  <a:gd name="T16" fmla="*/ 94 w 94"/>
                  <a:gd name="T17" fmla="*/ 35 h 35"/>
                  <a:gd name="T18" fmla="*/ 30 w 94"/>
                  <a:gd name="T19" fmla="*/ 35 h 35"/>
                  <a:gd name="T20" fmla="*/ 30 w 94"/>
                  <a:gd name="T21" fmla="*/ 35 h 35"/>
                  <a:gd name="T22" fmla="*/ 30 w 94"/>
                  <a:gd name="T23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4" h="35">
                    <a:moveTo>
                      <a:pt x="30" y="35"/>
                    </a:moveTo>
                    <a:lnTo>
                      <a:pt x="30" y="15"/>
                    </a:lnTo>
                    <a:lnTo>
                      <a:pt x="0" y="0"/>
                    </a:lnTo>
                    <a:lnTo>
                      <a:pt x="44" y="0"/>
                    </a:lnTo>
                    <a:lnTo>
                      <a:pt x="59" y="8"/>
                    </a:lnTo>
                    <a:lnTo>
                      <a:pt x="79" y="8"/>
                    </a:lnTo>
                    <a:lnTo>
                      <a:pt x="94" y="29"/>
                    </a:lnTo>
                    <a:lnTo>
                      <a:pt x="86" y="29"/>
                    </a:lnTo>
                    <a:lnTo>
                      <a:pt x="94" y="35"/>
                    </a:lnTo>
                    <a:lnTo>
                      <a:pt x="30" y="35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43" name="Freeform 277"/>
              <p:cNvSpPr>
                <a:spLocks/>
              </p:cNvSpPr>
              <p:nvPr/>
            </p:nvSpPr>
            <p:spPr bwMode="auto">
              <a:xfrm>
                <a:off x="5348288" y="3857625"/>
                <a:ext cx="68262" cy="74613"/>
              </a:xfrm>
              <a:custGeom>
                <a:avLst/>
                <a:gdLst>
                  <a:gd name="T0" fmla="*/ 39 w 39"/>
                  <a:gd name="T1" fmla="*/ 43 h 43"/>
                  <a:gd name="T2" fmla="*/ 39 w 39"/>
                  <a:gd name="T3" fmla="*/ 37 h 43"/>
                  <a:gd name="T4" fmla="*/ 31 w 39"/>
                  <a:gd name="T5" fmla="*/ 28 h 43"/>
                  <a:gd name="T6" fmla="*/ 31 w 39"/>
                  <a:gd name="T7" fmla="*/ 13 h 43"/>
                  <a:gd name="T8" fmla="*/ 19 w 39"/>
                  <a:gd name="T9" fmla="*/ 0 h 43"/>
                  <a:gd name="T10" fmla="*/ 0 w 39"/>
                  <a:gd name="T11" fmla="*/ 0 h 43"/>
                  <a:gd name="T12" fmla="*/ 5 w 39"/>
                  <a:gd name="T13" fmla="*/ 28 h 43"/>
                  <a:gd name="T14" fmla="*/ 19 w 39"/>
                  <a:gd name="T15" fmla="*/ 28 h 43"/>
                  <a:gd name="T16" fmla="*/ 31 w 39"/>
                  <a:gd name="T17" fmla="*/ 37 h 43"/>
                  <a:gd name="T18" fmla="*/ 31 w 39"/>
                  <a:gd name="T19" fmla="*/ 43 h 43"/>
                  <a:gd name="T20" fmla="*/ 39 w 39"/>
                  <a:gd name="T21" fmla="*/ 43 h 43"/>
                  <a:gd name="T22" fmla="*/ 39 w 39"/>
                  <a:gd name="T23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9" h="43">
                    <a:moveTo>
                      <a:pt x="39" y="43"/>
                    </a:moveTo>
                    <a:lnTo>
                      <a:pt x="39" y="37"/>
                    </a:lnTo>
                    <a:lnTo>
                      <a:pt x="31" y="28"/>
                    </a:lnTo>
                    <a:lnTo>
                      <a:pt x="31" y="1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5" y="28"/>
                    </a:lnTo>
                    <a:lnTo>
                      <a:pt x="19" y="28"/>
                    </a:lnTo>
                    <a:lnTo>
                      <a:pt x="31" y="37"/>
                    </a:lnTo>
                    <a:lnTo>
                      <a:pt x="31" y="43"/>
                    </a:lnTo>
                    <a:lnTo>
                      <a:pt x="39" y="43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44" name="Freeform 278"/>
              <p:cNvSpPr>
                <a:spLocks/>
              </p:cNvSpPr>
              <p:nvPr/>
            </p:nvSpPr>
            <p:spPr bwMode="auto">
              <a:xfrm>
                <a:off x="5378450" y="3841750"/>
                <a:ext cx="120650" cy="103188"/>
              </a:xfrm>
              <a:custGeom>
                <a:avLst/>
                <a:gdLst>
                  <a:gd name="T0" fmla="*/ 22 w 69"/>
                  <a:gd name="T1" fmla="*/ 51 h 59"/>
                  <a:gd name="T2" fmla="*/ 44 w 69"/>
                  <a:gd name="T3" fmla="*/ 44 h 59"/>
                  <a:gd name="T4" fmla="*/ 49 w 69"/>
                  <a:gd name="T5" fmla="*/ 44 h 59"/>
                  <a:gd name="T6" fmla="*/ 44 w 69"/>
                  <a:gd name="T7" fmla="*/ 51 h 59"/>
                  <a:gd name="T8" fmla="*/ 55 w 69"/>
                  <a:gd name="T9" fmla="*/ 59 h 59"/>
                  <a:gd name="T10" fmla="*/ 49 w 69"/>
                  <a:gd name="T11" fmla="*/ 51 h 59"/>
                  <a:gd name="T12" fmla="*/ 55 w 69"/>
                  <a:gd name="T13" fmla="*/ 51 h 59"/>
                  <a:gd name="T14" fmla="*/ 55 w 69"/>
                  <a:gd name="T15" fmla="*/ 37 h 59"/>
                  <a:gd name="T16" fmla="*/ 69 w 69"/>
                  <a:gd name="T17" fmla="*/ 22 h 59"/>
                  <a:gd name="T18" fmla="*/ 55 w 69"/>
                  <a:gd name="T19" fmla="*/ 15 h 59"/>
                  <a:gd name="T20" fmla="*/ 49 w 69"/>
                  <a:gd name="T21" fmla="*/ 0 h 59"/>
                  <a:gd name="T22" fmla="*/ 44 w 69"/>
                  <a:gd name="T23" fmla="*/ 9 h 59"/>
                  <a:gd name="T24" fmla="*/ 27 w 69"/>
                  <a:gd name="T25" fmla="*/ 9 h 59"/>
                  <a:gd name="T26" fmla="*/ 22 w 69"/>
                  <a:gd name="T27" fmla="*/ 0 h 59"/>
                  <a:gd name="T28" fmla="*/ 14 w 69"/>
                  <a:gd name="T29" fmla="*/ 0 h 59"/>
                  <a:gd name="T30" fmla="*/ 22 w 69"/>
                  <a:gd name="T31" fmla="*/ 9 h 59"/>
                  <a:gd name="T32" fmla="*/ 0 w 69"/>
                  <a:gd name="T33" fmla="*/ 9 h 59"/>
                  <a:gd name="T34" fmla="*/ 14 w 69"/>
                  <a:gd name="T35" fmla="*/ 22 h 59"/>
                  <a:gd name="T36" fmla="*/ 14 w 69"/>
                  <a:gd name="T37" fmla="*/ 37 h 59"/>
                  <a:gd name="T38" fmla="*/ 22 w 69"/>
                  <a:gd name="T39" fmla="*/ 44 h 59"/>
                  <a:gd name="T40" fmla="*/ 22 w 69"/>
                  <a:gd name="T41" fmla="*/ 51 h 59"/>
                  <a:gd name="T42" fmla="*/ 22 w 69"/>
                  <a:gd name="T43" fmla="*/ 51 h 59"/>
                  <a:gd name="T44" fmla="*/ 22 w 69"/>
                  <a:gd name="T45" fmla="*/ 51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9" h="59">
                    <a:moveTo>
                      <a:pt x="22" y="51"/>
                    </a:moveTo>
                    <a:lnTo>
                      <a:pt x="44" y="44"/>
                    </a:lnTo>
                    <a:lnTo>
                      <a:pt x="49" y="44"/>
                    </a:lnTo>
                    <a:lnTo>
                      <a:pt x="44" y="51"/>
                    </a:lnTo>
                    <a:lnTo>
                      <a:pt x="55" y="59"/>
                    </a:lnTo>
                    <a:lnTo>
                      <a:pt x="49" y="51"/>
                    </a:lnTo>
                    <a:lnTo>
                      <a:pt x="55" y="51"/>
                    </a:lnTo>
                    <a:lnTo>
                      <a:pt x="55" y="37"/>
                    </a:lnTo>
                    <a:lnTo>
                      <a:pt x="69" y="22"/>
                    </a:lnTo>
                    <a:lnTo>
                      <a:pt x="55" y="15"/>
                    </a:lnTo>
                    <a:lnTo>
                      <a:pt x="49" y="0"/>
                    </a:lnTo>
                    <a:lnTo>
                      <a:pt x="44" y="9"/>
                    </a:lnTo>
                    <a:lnTo>
                      <a:pt x="27" y="9"/>
                    </a:lnTo>
                    <a:lnTo>
                      <a:pt x="22" y="0"/>
                    </a:lnTo>
                    <a:lnTo>
                      <a:pt x="14" y="0"/>
                    </a:lnTo>
                    <a:lnTo>
                      <a:pt x="22" y="9"/>
                    </a:lnTo>
                    <a:lnTo>
                      <a:pt x="0" y="9"/>
                    </a:lnTo>
                    <a:lnTo>
                      <a:pt x="14" y="22"/>
                    </a:lnTo>
                    <a:lnTo>
                      <a:pt x="14" y="37"/>
                    </a:lnTo>
                    <a:lnTo>
                      <a:pt x="22" y="44"/>
                    </a:lnTo>
                    <a:lnTo>
                      <a:pt x="22" y="51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45" name="Freeform 279"/>
              <p:cNvSpPr>
                <a:spLocks/>
              </p:cNvSpPr>
              <p:nvPr/>
            </p:nvSpPr>
            <p:spPr bwMode="auto">
              <a:xfrm>
                <a:off x="5159375" y="3986213"/>
                <a:ext cx="169863" cy="152400"/>
              </a:xfrm>
              <a:custGeom>
                <a:avLst/>
                <a:gdLst>
                  <a:gd name="T0" fmla="*/ 0 w 97"/>
                  <a:gd name="T1" fmla="*/ 79 h 79"/>
                  <a:gd name="T2" fmla="*/ 6 w 97"/>
                  <a:gd name="T3" fmla="*/ 71 h 79"/>
                  <a:gd name="T4" fmla="*/ 13 w 97"/>
                  <a:gd name="T5" fmla="*/ 51 h 79"/>
                  <a:gd name="T6" fmla="*/ 6 w 97"/>
                  <a:gd name="T7" fmla="*/ 42 h 79"/>
                  <a:gd name="T8" fmla="*/ 6 w 97"/>
                  <a:gd name="T9" fmla="*/ 15 h 79"/>
                  <a:gd name="T10" fmla="*/ 13 w 97"/>
                  <a:gd name="T11" fmla="*/ 15 h 79"/>
                  <a:gd name="T12" fmla="*/ 13 w 97"/>
                  <a:gd name="T13" fmla="*/ 8 h 79"/>
                  <a:gd name="T14" fmla="*/ 43 w 97"/>
                  <a:gd name="T15" fmla="*/ 0 h 79"/>
                  <a:gd name="T16" fmla="*/ 50 w 97"/>
                  <a:gd name="T17" fmla="*/ 8 h 79"/>
                  <a:gd name="T18" fmla="*/ 68 w 97"/>
                  <a:gd name="T19" fmla="*/ 0 h 79"/>
                  <a:gd name="T20" fmla="*/ 97 w 97"/>
                  <a:gd name="T21" fmla="*/ 0 h 79"/>
                  <a:gd name="T22" fmla="*/ 83 w 97"/>
                  <a:gd name="T23" fmla="*/ 8 h 79"/>
                  <a:gd name="T24" fmla="*/ 68 w 97"/>
                  <a:gd name="T25" fmla="*/ 42 h 79"/>
                  <a:gd name="T26" fmla="*/ 50 w 97"/>
                  <a:gd name="T27" fmla="*/ 64 h 79"/>
                  <a:gd name="T28" fmla="*/ 43 w 97"/>
                  <a:gd name="T29" fmla="*/ 64 h 79"/>
                  <a:gd name="T30" fmla="*/ 13 w 97"/>
                  <a:gd name="T31" fmla="*/ 79 h 79"/>
                  <a:gd name="T32" fmla="*/ 0 w 97"/>
                  <a:gd name="T33" fmla="*/ 79 h 79"/>
                  <a:gd name="T34" fmla="*/ 0 w 97"/>
                  <a:gd name="T35" fmla="*/ 79 h 79"/>
                  <a:gd name="T36" fmla="*/ 0 w 97"/>
                  <a:gd name="T37" fmla="*/ 7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97" h="79">
                    <a:moveTo>
                      <a:pt x="0" y="79"/>
                    </a:moveTo>
                    <a:lnTo>
                      <a:pt x="6" y="71"/>
                    </a:lnTo>
                    <a:lnTo>
                      <a:pt x="13" y="51"/>
                    </a:lnTo>
                    <a:lnTo>
                      <a:pt x="6" y="42"/>
                    </a:lnTo>
                    <a:lnTo>
                      <a:pt x="6" y="15"/>
                    </a:lnTo>
                    <a:lnTo>
                      <a:pt x="13" y="15"/>
                    </a:lnTo>
                    <a:lnTo>
                      <a:pt x="13" y="8"/>
                    </a:lnTo>
                    <a:lnTo>
                      <a:pt x="43" y="0"/>
                    </a:lnTo>
                    <a:lnTo>
                      <a:pt x="50" y="8"/>
                    </a:lnTo>
                    <a:lnTo>
                      <a:pt x="68" y="0"/>
                    </a:lnTo>
                    <a:lnTo>
                      <a:pt x="97" y="0"/>
                    </a:lnTo>
                    <a:lnTo>
                      <a:pt x="83" y="8"/>
                    </a:lnTo>
                    <a:lnTo>
                      <a:pt x="68" y="42"/>
                    </a:lnTo>
                    <a:lnTo>
                      <a:pt x="50" y="64"/>
                    </a:lnTo>
                    <a:lnTo>
                      <a:pt x="43" y="64"/>
                    </a:lnTo>
                    <a:lnTo>
                      <a:pt x="13" y="79"/>
                    </a:lnTo>
                    <a:lnTo>
                      <a:pt x="0" y="79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46" name="Freeform 280"/>
              <p:cNvSpPr>
                <a:spLocks/>
              </p:cNvSpPr>
              <p:nvPr/>
            </p:nvSpPr>
            <p:spPr bwMode="auto">
              <a:xfrm>
                <a:off x="5130800" y="4116388"/>
                <a:ext cx="115888" cy="120650"/>
              </a:xfrm>
              <a:custGeom>
                <a:avLst/>
                <a:gdLst>
                  <a:gd name="T0" fmla="*/ 66 w 66"/>
                  <a:gd name="T1" fmla="*/ 16 h 70"/>
                  <a:gd name="T2" fmla="*/ 66 w 66"/>
                  <a:gd name="T3" fmla="*/ 0 h 70"/>
                  <a:gd name="T4" fmla="*/ 59 w 66"/>
                  <a:gd name="T5" fmla="*/ 0 h 70"/>
                  <a:gd name="T6" fmla="*/ 29 w 66"/>
                  <a:gd name="T7" fmla="*/ 16 h 70"/>
                  <a:gd name="T8" fmla="*/ 16 w 66"/>
                  <a:gd name="T9" fmla="*/ 16 h 70"/>
                  <a:gd name="T10" fmla="*/ 16 w 66"/>
                  <a:gd name="T11" fmla="*/ 47 h 70"/>
                  <a:gd name="T12" fmla="*/ 0 w 66"/>
                  <a:gd name="T13" fmla="*/ 70 h 70"/>
                  <a:gd name="T14" fmla="*/ 22 w 66"/>
                  <a:gd name="T15" fmla="*/ 70 h 70"/>
                  <a:gd name="T16" fmla="*/ 29 w 66"/>
                  <a:gd name="T17" fmla="*/ 60 h 70"/>
                  <a:gd name="T18" fmla="*/ 37 w 66"/>
                  <a:gd name="T19" fmla="*/ 60 h 70"/>
                  <a:gd name="T20" fmla="*/ 44 w 66"/>
                  <a:gd name="T21" fmla="*/ 47 h 70"/>
                  <a:gd name="T22" fmla="*/ 37 w 66"/>
                  <a:gd name="T23" fmla="*/ 38 h 70"/>
                  <a:gd name="T24" fmla="*/ 66 w 66"/>
                  <a:gd name="T25" fmla="*/ 16 h 70"/>
                  <a:gd name="T26" fmla="*/ 66 w 66"/>
                  <a:gd name="T27" fmla="*/ 16 h 70"/>
                  <a:gd name="T28" fmla="*/ 66 w 66"/>
                  <a:gd name="T29" fmla="*/ 16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6" h="70">
                    <a:moveTo>
                      <a:pt x="66" y="16"/>
                    </a:moveTo>
                    <a:lnTo>
                      <a:pt x="66" y="0"/>
                    </a:lnTo>
                    <a:lnTo>
                      <a:pt x="59" y="0"/>
                    </a:lnTo>
                    <a:lnTo>
                      <a:pt x="29" y="16"/>
                    </a:lnTo>
                    <a:lnTo>
                      <a:pt x="16" y="16"/>
                    </a:lnTo>
                    <a:lnTo>
                      <a:pt x="16" y="47"/>
                    </a:lnTo>
                    <a:lnTo>
                      <a:pt x="0" y="70"/>
                    </a:lnTo>
                    <a:lnTo>
                      <a:pt x="22" y="70"/>
                    </a:lnTo>
                    <a:lnTo>
                      <a:pt x="29" y="60"/>
                    </a:lnTo>
                    <a:lnTo>
                      <a:pt x="37" y="60"/>
                    </a:lnTo>
                    <a:lnTo>
                      <a:pt x="44" y="47"/>
                    </a:lnTo>
                    <a:lnTo>
                      <a:pt x="37" y="38"/>
                    </a:lnTo>
                    <a:lnTo>
                      <a:pt x="66" y="16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47" name="Freeform 282"/>
              <p:cNvSpPr>
                <a:spLocks/>
              </p:cNvSpPr>
              <p:nvPr/>
            </p:nvSpPr>
            <p:spPr bwMode="auto">
              <a:xfrm>
                <a:off x="5499100" y="4337050"/>
                <a:ext cx="44450" cy="42863"/>
              </a:xfrm>
              <a:custGeom>
                <a:avLst/>
                <a:gdLst>
                  <a:gd name="T0" fmla="*/ 17 w 25"/>
                  <a:gd name="T1" fmla="*/ 25 h 25"/>
                  <a:gd name="T2" fmla="*/ 0 w 25"/>
                  <a:gd name="T3" fmla="*/ 10 h 25"/>
                  <a:gd name="T4" fmla="*/ 17 w 25"/>
                  <a:gd name="T5" fmla="*/ 0 h 25"/>
                  <a:gd name="T6" fmla="*/ 25 w 25"/>
                  <a:gd name="T7" fmla="*/ 0 h 25"/>
                  <a:gd name="T8" fmla="*/ 17 w 25"/>
                  <a:gd name="T9" fmla="*/ 25 h 25"/>
                  <a:gd name="T10" fmla="*/ 17 w 25"/>
                  <a:gd name="T11" fmla="*/ 25 h 25"/>
                  <a:gd name="T12" fmla="*/ 17 w 25"/>
                  <a:gd name="T13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" h="25">
                    <a:moveTo>
                      <a:pt x="17" y="25"/>
                    </a:moveTo>
                    <a:lnTo>
                      <a:pt x="0" y="10"/>
                    </a:lnTo>
                    <a:lnTo>
                      <a:pt x="17" y="0"/>
                    </a:lnTo>
                    <a:lnTo>
                      <a:pt x="25" y="0"/>
                    </a:lnTo>
                    <a:lnTo>
                      <a:pt x="17" y="25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48" name="Freeform 283"/>
              <p:cNvSpPr>
                <a:spLocks/>
              </p:cNvSpPr>
              <p:nvPr/>
            </p:nvSpPr>
            <p:spPr bwMode="auto">
              <a:xfrm>
                <a:off x="5499100" y="4337050"/>
                <a:ext cx="147638" cy="77788"/>
              </a:xfrm>
              <a:custGeom>
                <a:avLst/>
                <a:gdLst>
                  <a:gd name="T0" fmla="*/ 70 w 84"/>
                  <a:gd name="T1" fmla="*/ 38 h 45"/>
                  <a:gd name="T2" fmla="*/ 84 w 84"/>
                  <a:gd name="T3" fmla="*/ 18 h 45"/>
                  <a:gd name="T4" fmla="*/ 84 w 84"/>
                  <a:gd name="T5" fmla="*/ 8 h 45"/>
                  <a:gd name="T6" fmla="*/ 77 w 84"/>
                  <a:gd name="T7" fmla="*/ 0 h 45"/>
                  <a:gd name="T8" fmla="*/ 58 w 84"/>
                  <a:gd name="T9" fmla="*/ 23 h 45"/>
                  <a:gd name="T10" fmla="*/ 15 w 84"/>
                  <a:gd name="T11" fmla="*/ 23 h 45"/>
                  <a:gd name="T12" fmla="*/ 0 w 84"/>
                  <a:gd name="T13" fmla="*/ 38 h 45"/>
                  <a:gd name="T14" fmla="*/ 15 w 84"/>
                  <a:gd name="T15" fmla="*/ 45 h 45"/>
                  <a:gd name="T16" fmla="*/ 58 w 84"/>
                  <a:gd name="T17" fmla="*/ 45 h 45"/>
                  <a:gd name="T18" fmla="*/ 58 w 84"/>
                  <a:gd name="T19" fmla="*/ 38 h 45"/>
                  <a:gd name="T20" fmla="*/ 70 w 84"/>
                  <a:gd name="T21" fmla="*/ 38 h 45"/>
                  <a:gd name="T22" fmla="*/ 70 w 84"/>
                  <a:gd name="T23" fmla="*/ 38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4" h="45">
                    <a:moveTo>
                      <a:pt x="70" y="38"/>
                    </a:moveTo>
                    <a:lnTo>
                      <a:pt x="84" y="18"/>
                    </a:lnTo>
                    <a:lnTo>
                      <a:pt x="84" y="8"/>
                    </a:lnTo>
                    <a:lnTo>
                      <a:pt x="77" y="0"/>
                    </a:lnTo>
                    <a:lnTo>
                      <a:pt x="58" y="23"/>
                    </a:lnTo>
                    <a:lnTo>
                      <a:pt x="15" y="23"/>
                    </a:lnTo>
                    <a:lnTo>
                      <a:pt x="0" y="38"/>
                    </a:lnTo>
                    <a:lnTo>
                      <a:pt x="15" y="45"/>
                    </a:lnTo>
                    <a:lnTo>
                      <a:pt x="58" y="45"/>
                    </a:lnTo>
                    <a:lnTo>
                      <a:pt x="58" y="38"/>
                    </a:lnTo>
                    <a:lnTo>
                      <a:pt x="70" y="38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49" name="Freeform 284"/>
              <p:cNvSpPr>
                <a:spLocks/>
              </p:cNvSpPr>
              <p:nvPr/>
            </p:nvSpPr>
            <p:spPr bwMode="auto">
              <a:xfrm>
                <a:off x="5567363" y="4368800"/>
                <a:ext cx="161925" cy="204788"/>
              </a:xfrm>
              <a:custGeom>
                <a:avLst/>
                <a:gdLst>
                  <a:gd name="T0" fmla="*/ 0 w 93"/>
                  <a:gd name="T1" fmla="*/ 118 h 118"/>
                  <a:gd name="T2" fmla="*/ 29 w 93"/>
                  <a:gd name="T3" fmla="*/ 118 h 118"/>
                  <a:gd name="T4" fmla="*/ 42 w 93"/>
                  <a:gd name="T5" fmla="*/ 103 h 118"/>
                  <a:gd name="T6" fmla="*/ 66 w 93"/>
                  <a:gd name="T7" fmla="*/ 98 h 118"/>
                  <a:gd name="T8" fmla="*/ 71 w 93"/>
                  <a:gd name="T9" fmla="*/ 81 h 118"/>
                  <a:gd name="T10" fmla="*/ 71 w 93"/>
                  <a:gd name="T11" fmla="*/ 74 h 118"/>
                  <a:gd name="T12" fmla="*/ 93 w 93"/>
                  <a:gd name="T13" fmla="*/ 37 h 118"/>
                  <a:gd name="T14" fmla="*/ 66 w 93"/>
                  <a:gd name="T15" fmla="*/ 7 h 118"/>
                  <a:gd name="T16" fmla="*/ 51 w 93"/>
                  <a:gd name="T17" fmla="*/ 0 h 118"/>
                  <a:gd name="T18" fmla="*/ 36 w 93"/>
                  <a:gd name="T19" fmla="*/ 22 h 118"/>
                  <a:gd name="T20" fmla="*/ 51 w 93"/>
                  <a:gd name="T21" fmla="*/ 37 h 118"/>
                  <a:gd name="T22" fmla="*/ 51 w 93"/>
                  <a:gd name="T23" fmla="*/ 67 h 118"/>
                  <a:gd name="T24" fmla="*/ 42 w 93"/>
                  <a:gd name="T25" fmla="*/ 67 h 118"/>
                  <a:gd name="T26" fmla="*/ 29 w 93"/>
                  <a:gd name="T27" fmla="*/ 81 h 118"/>
                  <a:gd name="T28" fmla="*/ 24 w 93"/>
                  <a:gd name="T29" fmla="*/ 98 h 118"/>
                  <a:gd name="T30" fmla="*/ 9 w 93"/>
                  <a:gd name="T31" fmla="*/ 103 h 118"/>
                  <a:gd name="T32" fmla="*/ 0 w 93"/>
                  <a:gd name="T33" fmla="*/ 111 h 118"/>
                  <a:gd name="T34" fmla="*/ 0 w 93"/>
                  <a:gd name="T35" fmla="*/ 118 h 118"/>
                  <a:gd name="T36" fmla="*/ 0 w 93"/>
                  <a:gd name="T37" fmla="*/ 118 h 118"/>
                  <a:gd name="T38" fmla="*/ 0 w 93"/>
                  <a:gd name="T39" fmla="*/ 118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93" h="118">
                    <a:moveTo>
                      <a:pt x="0" y="118"/>
                    </a:moveTo>
                    <a:lnTo>
                      <a:pt x="29" y="118"/>
                    </a:lnTo>
                    <a:lnTo>
                      <a:pt x="42" y="103"/>
                    </a:lnTo>
                    <a:lnTo>
                      <a:pt x="66" y="98"/>
                    </a:lnTo>
                    <a:lnTo>
                      <a:pt x="71" y="81"/>
                    </a:lnTo>
                    <a:lnTo>
                      <a:pt x="71" y="74"/>
                    </a:lnTo>
                    <a:lnTo>
                      <a:pt x="93" y="37"/>
                    </a:lnTo>
                    <a:lnTo>
                      <a:pt x="66" y="7"/>
                    </a:lnTo>
                    <a:lnTo>
                      <a:pt x="51" y="0"/>
                    </a:lnTo>
                    <a:lnTo>
                      <a:pt x="36" y="22"/>
                    </a:lnTo>
                    <a:lnTo>
                      <a:pt x="51" y="37"/>
                    </a:lnTo>
                    <a:lnTo>
                      <a:pt x="51" y="67"/>
                    </a:lnTo>
                    <a:lnTo>
                      <a:pt x="42" y="67"/>
                    </a:lnTo>
                    <a:lnTo>
                      <a:pt x="29" y="81"/>
                    </a:lnTo>
                    <a:lnTo>
                      <a:pt x="24" y="98"/>
                    </a:lnTo>
                    <a:lnTo>
                      <a:pt x="9" y="103"/>
                    </a:lnTo>
                    <a:lnTo>
                      <a:pt x="0" y="111"/>
                    </a:lnTo>
                    <a:lnTo>
                      <a:pt x="0" y="118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50" name="Freeform 285"/>
              <p:cNvSpPr>
                <a:spLocks/>
              </p:cNvSpPr>
              <p:nvPr/>
            </p:nvSpPr>
            <p:spPr bwMode="auto">
              <a:xfrm>
                <a:off x="5329238" y="4562475"/>
                <a:ext cx="238125" cy="131763"/>
              </a:xfrm>
              <a:custGeom>
                <a:avLst/>
                <a:gdLst>
                  <a:gd name="T0" fmla="*/ 0 w 135"/>
                  <a:gd name="T1" fmla="*/ 15 h 76"/>
                  <a:gd name="T2" fmla="*/ 8 w 135"/>
                  <a:gd name="T3" fmla="*/ 9 h 76"/>
                  <a:gd name="T4" fmla="*/ 33 w 135"/>
                  <a:gd name="T5" fmla="*/ 37 h 76"/>
                  <a:gd name="T6" fmla="*/ 40 w 135"/>
                  <a:gd name="T7" fmla="*/ 54 h 76"/>
                  <a:gd name="T8" fmla="*/ 99 w 135"/>
                  <a:gd name="T9" fmla="*/ 9 h 76"/>
                  <a:gd name="T10" fmla="*/ 135 w 135"/>
                  <a:gd name="T11" fmla="*/ 0 h 76"/>
                  <a:gd name="T12" fmla="*/ 135 w 135"/>
                  <a:gd name="T13" fmla="*/ 9 h 76"/>
                  <a:gd name="T14" fmla="*/ 129 w 135"/>
                  <a:gd name="T15" fmla="*/ 15 h 76"/>
                  <a:gd name="T16" fmla="*/ 129 w 135"/>
                  <a:gd name="T17" fmla="*/ 30 h 76"/>
                  <a:gd name="T18" fmla="*/ 94 w 135"/>
                  <a:gd name="T19" fmla="*/ 37 h 76"/>
                  <a:gd name="T20" fmla="*/ 57 w 135"/>
                  <a:gd name="T21" fmla="*/ 61 h 76"/>
                  <a:gd name="T22" fmla="*/ 40 w 135"/>
                  <a:gd name="T23" fmla="*/ 61 h 76"/>
                  <a:gd name="T24" fmla="*/ 26 w 135"/>
                  <a:gd name="T25" fmla="*/ 76 h 76"/>
                  <a:gd name="T26" fmla="*/ 8 w 135"/>
                  <a:gd name="T27" fmla="*/ 76 h 76"/>
                  <a:gd name="T28" fmla="*/ 0 w 135"/>
                  <a:gd name="T29" fmla="*/ 15 h 76"/>
                  <a:gd name="T30" fmla="*/ 0 w 135"/>
                  <a:gd name="T31" fmla="*/ 15 h 76"/>
                  <a:gd name="T32" fmla="*/ 0 w 135"/>
                  <a:gd name="T33" fmla="*/ 15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5" h="76">
                    <a:moveTo>
                      <a:pt x="0" y="15"/>
                    </a:moveTo>
                    <a:lnTo>
                      <a:pt x="8" y="9"/>
                    </a:lnTo>
                    <a:lnTo>
                      <a:pt x="33" y="37"/>
                    </a:lnTo>
                    <a:lnTo>
                      <a:pt x="40" y="54"/>
                    </a:lnTo>
                    <a:lnTo>
                      <a:pt x="99" y="9"/>
                    </a:lnTo>
                    <a:lnTo>
                      <a:pt x="135" y="0"/>
                    </a:lnTo>
                    <a:lnTo>
                      <a:pt x="135" y="9"/>
                    </a:lnTo>
                    <a:lnTo>
                      <a:pt x="129" y="15"/>
                    </a:lnTo>
                    <a:lnTo>
                      <a:pt x="129" y="30"/>
                    </a:lnTo>
                    <a:lnTo>
                      <a:pt x="94" y="37"/>
                    </a:lnTo>
                    <a:lnTo>
                      <a:pt x="57" y="61"/>
                    </a:lnTo>
                    <a:lnTo>
                      <a:pt x="40" y="61"/>
                    </a:lnTo>
                    <a:lnTo>
                      <a:pt x="26" y="76"/>
                    </a:lnTo>
                    <a:lnTo>
                      <a:pt x="8" y="76"/>
                    </a:lnTo>
                    <a:lnTo>
                      <a:pt x="0" y="15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51" name="Freeform 286"/>
              <p:cNvSpPr>
                <a:spLocks/>
              </p:cNvSpPr>
              <p:nvPr/>
            </p:nvSpPr>
            <p:spPr bwMode="auto">
              <a:xfrm>
                <a:off x="6215063" y="4202113"/>
                <a:ext cx="174625" cy="120650"/>
              </a:xfrm>
              <a:custGeom>
                <a:avLst/>
                <a:gdLst>
                  <a:gd name="T0" fmla="*/ 8 w 100"/>
                  <a:gd name="T1" fmla="*/ 0 h 69"/>
                  <a:gd name="T2" fmla="*/ 0 w 100"/>
                  <a:gd name="T3" fmla="*/ 24 h 69"/>
                  <a:gd name="T4" fmla="*/ 15 w 100"/>
                  <a:gd name="T5" fmla="*/ 37 h 69"/>
                  <a:gd name="T6" fmla="*/ 94 w 100"/>
                  <a:gd name="T7" fmla="*/ 69 h 69"/>
                  <a:gd name="T8" fmla="*/ 100 w 100"/>
                  <a:gd name="T9" fmla="*/ 69 h 69"/>
                  <a:gd name="T10" fmla="*/ 100 w 100"/>
                  <a:gd name="T11" fmla="*/ 37 h 69"/>
                  <a:gd name="T12" fmla="*/ 72 w 100"/>
                  <a:gd name="T13" fmla="*/ 37 h 69"/>
                  <a:gd name="T14" fmla="*/ 52 w 100"/>
                  <a:gd name="T15" fmla="*/ 19 h 69"/>
                  <a:gd name="T16" fmla="*/ 42 w 100"/>
                  <a:gd name="T17" fmla="*/ 19 h 69"/>
                  <a:gd name="T18" fmla="*/ 22 w 100"/>
                  <a:gd name="T19" fmla="*/ 0 h 69"/>
                  <a:gd name="T20" fmla="*/ 8 w 100"/>
                  <a:gd name="T21" fmla="*/ 0 h 69"/>
                  <a:gd name="T22" fmla="*/ 8 w 100"/>
                  <a:gd name="T23" fmla="*/ 0 h 69"/>
                  <a:gd name="T24" fmla="*/ 8 w 100"/>
                  <a:gd name="T25" fmla="*/ 0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0" h="69">
                    <a:moveTo>
                      <a:pt x="8" y="0"/>
                    </a:moveTo>
                    <a:lnTo>
                      <a:pt x="0" y="24"/>
                    </a:lnTo>
                    <a:lnTo>
                      <a:pt x="15" y="37"/>
                    </a:lnTo>
                    <a:lnTo>
                      <a:pt x="94" y="69"/>
                    </a:lnTo>
                    <a:lnTo>
                      <a:pt x="100" y="69"/>
                    </a:lnTo>
                    <a:lnTo>
                      <a:pt x="100" y="37"/>
                    </a:lnTo>
                    <a:lnTo>
                      <a:pt x="72" y="37"/>
                    </a:lnTo>
                    <a:lnTo>
                      <a:pt x="52" y="19"/>
                    </a:lnTo>
                    <a:lnTo>
                      <a:pt x="42" y="19"/>
                    </a:lnTo>
                    <a:lnTo>
                      <a:pt x="22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52" name="Freeform 287"/>
              <p:cNvSpPr>
                <a:spLocks/>
              </p:cNvSpPr>
              <p:nvPr/>
            </p:nvSpPr>
            <p:spPr bwMode="auto">
              <a:xfrm>
                <a:off x="6192838" y="4754563"/>
                <a:ext cx="61912" cy="100012"/>
              </a:xfrm>
              <a:custGeom>
                <a:avLst/>
                <a:gdLst>
                  <a:gd name="T0" fmla="*/ 0 w 36"/>
                  <a:gd name="T1" fmla="*/ 25 h 57"/>
                  <a:gd name="T2" fmla="*/ 15 w 36"/>
                  <a:gd name="T3" fmla="*/ 57 h 57"/>
                  <a:gd name="T4" fmla="*/ 30 w 36"/>
                  <a:gd name="T5" fmla="*/ 57 h 57"/>
                  <a:gd name="T6" fmla="*/ 36 w 36"/>
                  <a:gd name="T7" fmla="*/ 40 h 57"/>
                  <a:gd name="T8" fmla="*/ 23 w 36"/>
                  <a:gd name="T9" fmla="*/ 10 h 57"/>
                  <a:gd name="T10" fmla="*/ 15 w 36"/>
                  <a:gd name="T11" fmla="*/ 0 h 57"/>
                  <a:gd name="T12" fmla="*/ 0 w 36"/>
                  <a:gd name="T13" fmla="*/ 25 h 57"/>
                  <a:gd name="T14" fmla="*/ 0 w 36"/>
                  <a:gd name="T15" fmla="*/ 25 h 57"/>
                  <a:gd name="T16" fmla="*/ 0 w 36"/>
                  <a:gd name="T17" fmla="*/ 25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6" h="57">
                    <a:moveTo>
                      <a:pt x="0" y="25"/>
                    </a:moveTo>
                    <a:lnTo>
                      <a:pt x="15" y="57"/>
                    </a:lnTo>
                    <a:lnTo>
                      <a:pt x="30" y="57"/>
                    </a:lnTo>
                    <a:lnTo>
                      <a:pt x="36" y="40"/>
                    </a:lnTo>
                    <a:lnTo>
                      <a:pt x="23" y="10"/>
                    </a:lnTo>
                    <a:lnTo>
                      <a:pt x="15" y="0"/>
                    </a:lnTo>
                    <a:lnTo>
                      <a:pt x="0" y="25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53" name="Freeform 288"/>
              <p:cNvSpPr>
                <a:spLocks/>
              </p:cNvSpPr>
              <p:nvPr/>
            </p:nvSpPr>
            <p:spPr bwMode="auto">
              <a:xfrm>
                <a:off x="5767388" y="4000500"/>
                <a:ext cx="377825" cy="403225"/>
              </a:xfrm>
              <a:custGeom>
                <a:avLst/>
                <a:gdLst>
                  <a:gd name="T0" fmla="*/ 216 w 216"/>
                  <a:gd name="T1" fmla="*/ 20 h 230"/>
                  <a:gd name="T2" fmla="*/ 211 w 216"/>
                  <a:gd name="T3" fmla="*/ 15 h 230"/>
                  <a:gd name="T4" fmla="*/ 211 w 216"/>
                  <a:gd name="T5" fmla="*/ 20 h 230"/>
                  <a:gd name="T6" fmla="*/ 216 w 216"/>
                  <a:gd name="T7" fmla="*/ 20 h 230"/>
                  <a:gd name="T8" fmla="*/ 181 w 216"/>
                  <a:gd name="T9" fmla="*/ 0 h 230"/>
                  <a:gd name="T10" fmla="*/ 173 w 216"/>
                  <a:gd name="T11" fmla="*/ 0 h 230"/>
                  <a:gd name="T12" fmla="*/ 181 w 216"/>
                  <a:gd name="T13" fmla="*/ 0 h 230"/>
                  <a:gd name="T14" fmla="*/ 173 w 216"/>
                  <a:gd name="T15" fmla="*/ 0 h 230"/>
                  <a:gd name="T16" fmla="*/ 136 w 216"/>
                  <a:gd name="T17" fmla="*/ 15 h 230"/>
                  <a:gd name="T18" fmla="*/ 136 w 216"/>
                  <a:gd name="T19" fmla="*/ 35 h 230"/>
                  <a:gd name="T20" fmla="*/ 129 w 216"/>
                  <a:gd name="T21" fmla="*/ 51 h 230"/>
                  <a:gd name="T22" fmla="*/ 123 w 216"/>
                  <a:gd name="T23" fmla="*/ 51 h 230"/>
                  <a:gd name="T24" fmla="*/ 123 w 216"/>
                  <a:gd name="T25" fmla="*/ 66 h 230"/>
                  <a:gd name="T26" fmla="*/ 108 w 216"/>
                  <a:gd name="T27" fmla="*/ 72 h 230"/>
                  <a:gd name="T28" fmla="*/ 108 w 216"/>
                  <a:gd name="T29" fmla="*/ 91 h 230"/>
                  <a:gd name="T30" fmla="*/ 79 w 216"/>
                  <a:gd name="T31" fmla="*/ 103 h 230"/>
                  <a:gd name="T32" fmla="*/ 72 w 216"/>
                  <a:gd name="T33" fmla="*/ 111 h 230"/>
                  <a:gd name="T34" fmla="*/ 72 w 216"/>
                  <a:gd name="T35" fmla="*/ 126 h 230"/>
                  <a:gd name="T36" fmla="*/ 14 w 216"/>
                  <a:gd name="T37" fmla="*/ 135 h 230"/>
                  <a:gd name="T38" fmla="*/ 0 w 216"/>
                  <a:gd name="T39" fmla="*/ 126 h 230"/>
                  <a:gd name="T40" fmla="*/ 22 w 216"/>
                  <a:gd name="T41" fmla="*/ 172 h 230"/>
                  <a:gd name="T42" fmla="*/ 9 w 216"/>
                  <a:gd name="T43" fmla="*/ 187 h 230"/>
                  <a:gd name="T44" fmla="*/ 9 w 216"/>
                  <a:gd name="T45" fmla="*/ 200 h 230"/>
                  <a:gd name="T46" fmla="*/ 79 w 216"/>
                  <a:gd name="T47" fmla="*/ 200 h 230"/>
                  <a:gd name="T48" fmla="*/ 86 w 216"/>
                  <a:gd name="T49" fmla="*/ 217 h 230"/>
                  <a:gd name="T50" fmla="*/ 94 w 216"/>
                  <a:gd name="T51" fmla="*/ 230 h 230"/>
                  <a:gd name="T52" fmla="*/ 101 w 216"/>
                  <a:gd name="T53" fmla="*/ 217 h 230"/>
                  <a:gd name="T54" fmla="*/ 129 w 216"/>
                  <a:gd name="T55" fmla="*/ 217 h 230"/>
                  <a:gd name="T56" fmla="*/ 129 w 216"/>
                  <a:gd name="T57" fmla="*/ 192 h 230"/>
                  <a:gd name="T58" fmla="*/ 123 w 216"/>
                  <a:gd name="T59" fmla="*/ 192 h 230"/>
                  <a:gd name="T60" fmla="*/ 123 w 216"/>
                  <a:gd name="T61" fmla="*/ 187 h 230"/>
                  <a:gd name="T62" fmla="*/ 108 w 216"/>
                  <a:gd name="T63" fmla="*/ 187 h 230"/>
                  <a:gd name="T64" fmla="*/ 108 w 216"/>
                  <a:gd name="T65" fmla="*/ 165 h 230"/>
                  <a:gd name="T66" fmla="*/ 123 w 216"/>
                  <a:gd name="T67" fmla="*/ 155 h 230"/>
                  <a:gd name="T68" fmla="*/ 129 w 216"/>
                  <a:gd name="T69" fmla="*/ 165 h 230"/>
                  <a:gd name="T70" fmla="*/ 188 w 216"/>
                  <a:gd name="T71" fmla="*/ 103 h 230"/>
                  <a:gd name="T72" fmla="*/ 181 w 216"/>
                  <a:gd name="T73" fmla="*/ 91 h 230"/>
                  <a:gd name="T74" fmla="*/ 188 w 216"/>
                  <a:gd name="T75" fmla="*/ 91 h 230"/>
                  <a:gd name="T76" fmla="*/ 188 w 216"/>
                  <a:gd name="T77" fmla="*/ 81 h 230"/>
                  <a:gd name="T78" fmla="*/ 173 w 216"/>
                  <a:gd name="T79" fmla="*/ 72 h 230"/>
                  <a:gd name="T80" fmla="*/ 181 w 216"/>
                  <a:gd name="T81" fmla="*/ 51 h 230"/>
                  <a:gd name="T82" fmla="*/ 173 w 216"/>
                  <a:gd name="T83" fmla="*/ 44 h 230"/>
                  <a:gd name="T84" fmla="*/ 181 w 216"/>
                  <a:gd name="T85" fmla="*/ 35 h 230"/>
                  <a:gd name="T86" fmla="*/ 181 w 216"/>
                  <a:gd name="T87" fmla="*/ 29 h 230"/>
                  <a:gd name="T88" fmla="*/ 173 w 216"/>
                  <a:gd name="T89" fmla="*/ 20 h 230"/>
                  <a:gd name="T90" fmla="*/ 165 w 216"/>
                  <a:gd name="T91" fmla="*/ 20 h 230"/>
                  <a:gd name="T92" fmla="*/ 165 w 216"/>
                  <a:gd name="T93" fmla="*/ 0 h 230"/>
                  <a:gd name="T94" fmla="*/ 173 w 216"/>
                  <a:gd name="T95" fmla="*/ 0 h 230"/>
                  <a:gd name="T96" fmla="*/ 216 w 216"/>
                  <a:gd name="T97" fmla="*/ 20 h 230"/>
                  <a:gd name="T98" fmla="*/ 216 w 216"/>
                  <a:gd name="T99" fmla="*/ 20 h 230"/>
                  <a:gd name="T100" fmla="*/ 216 w 216"/>
                  <a:gd name="T101" fmla="*/ 2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16" h="230">
                    <a:moveTo>
                      <a:pt x="216" y="20"/>
                    </a:moveTo>
                    <a:lnTo>
                      <a:pt x="211" y="15"/>
                    </a:lnTo>
                    <a:lnTo>
                      <a:pt x="211" y="20"/>
                    </a:lnTo>
                    <a:lnTo>
                      <a:pt x="216" y="20"/>
                    </a:lnTo>
                    <a:lnTo>
                      <a:pt x="181" y="0"/>
                    </a:lnTo>
                    <a:lnTo>
                      <a:pt x="173" y="0"/>
                    </a:lnTo>
                    <a:lnTo>
                      <a:pt x="181" y="0"/>
                    </a:lnTo>
                    <a:lnTo>
                      <a:pt x="173" y="0"/>
                    </a:lnTo>
                    <a:lnTo>
                      <a:pt x="136" y="15"/>
                    </a:lnTo>
                    <a:lnTo>
                      <a:pt x="136" y="35"/>
                    </a:lnTo>
                    <a:lnTo>
                      <a:pt x="129" y="51"/>
                    </a:lnTo>
                    <a:lnTo>
                      <a:pt x="123" y="51"/>
                    </a:lnTo>
                    <a:lnTo>
                      <a:pt x="123" y="66"/>
                    </a:lnTo>
                    <a:lnTo>
                      <a:pt x="108" y="72"/>
                    </a:lnTo>
                    <a:lnTo>
                      <a:pt x="108" y="91"/>
                    </a:lnTo>
                    <a:lnTo>
                      <a:pt x="79" y="103"/>
                    </a:lnTo>
                    <a:lnTo>
                      <a:pt x="72" y="111"/>
                    </a:lnTo>
                    <a:lnTo>
                      <a:pt x="72" y="126"/>
                    </a:lnTo>
                    <a:lnTo>
                      <a:pt x="14" y="135"/>
                    </a:lnTo>
                    <a:lnTo>
                      <a:pt x="0" y="126"/>
                    </a:lnTo>
                    <a:lnTo>
                      <a:pt x="22" y="172"/>
                    </a:lnTo>
                    <a:lnTo>
                      <a:pt x="9" y="187"/>
                    </a:lnTo>
                    <a:lnTo>
                      <a:pt x="9" y="200"/>
                    </a:lnTo>
                    <a:lnTo>
                      <a:pt x="79" y="200"/>
                    </a:lnTo>
                    <a:lnTo>
                      <a:pt x="86" y="217"/>
                    </a:lnTo>
                    <a:lnTo>
                      <a:pt x="94" y="230"/>
                    </a:lnTo>
                    <a:lnTo>
                      <a:pt x="101" y="217"/>
                    </a:lnTo>
                    <a:lnTo>
                      <a:pt x="129" y="217"/>
                    </a:lnTo>
                    <a:lnTo>
                      <a:pt x="129" y="192"/>
                    </a:lnTo>
                    <a:lnTo>
                      <a:pt x="123" y="192"/>
                    </a:lnTo>
                    <a:lnTo>
                      <a:pt x="123" y="187"/>
                    </a:lnTo>
                    <a:lnTo>
                      <a:pt x="108" y="187"/>
                    </a:lnTo>
                    <a:lnTo>
                      <a:pt x="108" y="165"/>
                    </a:lnTo>
                    <a:lnTo>
                      <a:pt x="123" y="155"/>
                    </a:lnTo>
                    <a:lnTo>
                      <a:pt x="129" y="165"/>
                    </a:lnTo>
                    <a:lnTo>
                      <a:pt x="188" y="103"/>
                    </a:lnTo>
                    <a:lnTo>
                      <a:pt x="181" y="91"/>
                    </a:lnTo>
                    <a:lnTo>
                      <a:pt x="188" y="91"/>
                    </a:lnTo>
                    <a:lnTo>
                      <a:pt x="188" y="81"/>
                    </a:lnTo>
                    <a:lnTo>
                      <a:pt x="173" y="72"/>
                    </a:lnTo>
                    <a:lnTo>
                      <a:pt x="181" y="51"/>
                    </a:lnTo>
                    <a:lnTo>
                      <a:pt x="173" y="44"/>
                    </a:lnTo>
                    <a:lnTo>
                      <a:pt x="181" y="35"/>
                    </a:lnTo>
                    <a:lnTo>
                      <a:pt x="181" y="29"/>
                    </a:lnTo>
                    <a:lnTo>
                      <a:pt x="173" y="20"/>
                    </a:lnTo>
                    <a:lnTo>
                      <a:pt x="165" y="20"/>
                    </a:lnTo>
                    <a:lnTo>
                      <a:pt x="165" y="0"/>
                    </a:lnTo>
                    <a:lnTo>
                      <a:pt x="173" y="0"/>
                    </a:lnTo>
                    <a:lnTo>
                      <a:pt x="216" y="20"/>
                    </a:lnTo>
                    <a:close/>
                  </a:path>
                </a:pathLst>
              </a:custGeom>
              <a:grpFill/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54" name="Freeform 289"/>
              <p:cNvSpPr>
                <a:spLocks/>
              </p:cNvSpPr>
              <p:nvPr/>
            </p:nvSpPr>
            <p:spPr bwMode="auto">
              <a:xfrm>
                <a:off x="5951538" y="3787775"/>
                <a:ext cx="263525" cy="127000"/>
              </a:xfrm>
              <a:custGeom>
                <a:avLst/>
                <a:gdLst>
                  <a:gd name="T0" fmla="*/ 149 w 149"/>
                  <a:gd name="T1" fmla="*/ 15 h 72"/>
                  <a:gd name="T2" fmla="*/ 149 w 149"/>
                  <a:gd name="T3" fmla="*/ 30 h 72"/>
                  <a:gd name="T4" fmla="*/ 120 w 149"/>
                  <a:gd name="T5" fmla="*/ 45 h 72"/>
                  <a:gd name="T6" fmla="*/ 105 w 149"/>
                  <a:gd name="T7" fmla="*/ 45 h 72"/>
                  <a:gd name="T8" fmla="*/ 99 w 149"/>
                  <a:gd name="T9" fmla="*/ 52 h 72"/>
                  <a:gd name="T10" fmla="*/ 79 w 149"/>
                  <a:gd name="T11" fmla="*/ 52 h 72"/>
                  <a:gd name="T12" fmla="*/ 64 w 149"/>
                  <a:gd name="T13" fmla="*/ 66 h 72"/>
                  <a:gd name="T14" fmla="*/ 64 w 149"/>
                  <a:gd name="T15" fmla="*/ 72 h 72"/>
                  <a:gd name="T16" fmla="*/ 0 w 149"/>
                  <a:gd name="T17" fmla="*/ 72 h 72"/>
                  <a:gd name="T18" fmla="*/ 0 w 149"/>
                  <a:gd name="T19" fmla="*/ 66 h 72"/>
                  <a:gd name="T20" fmla="*/ 22 w 149"/>
                  <a:gd name="T21" fmla="*/ 66 h 72"/>
                  <a:gd name="T22" fmla="*/ 22 w 149"/>
                  <a:gd name="T23" fmla="*/ 52 h 72"/>
                  <a:gd name="T24" fmla="*/ 33 w 149"/>
                  <a:gd name="T25" fmla="*/ 52 h 72"/>
                  <a:gd name="T26" fmla="*/ 57 w 149"/>
                  <a:gd name="T27" fmla="*/ 45 h 72"/>
                  <a:gd name="T28" fmla="*/ 33 w 149"/>
                  <a:gd name="T29" fmla="*/ 37 h 72"/>
                  <a:gd name="T30" fmla="*/ 15 w 149"/>
                  <a:gd name="T31" fmla="*/ 37 h 72"/>
                  <a:gd name="T32" fmla="*/ 30 w 149"/>
                  <a:gd name="T33" fmla="*/ 15 h 72"/>
                  <a:gd name="T34" fmla="*/ 22 w 149"/>
                  <a:gd name="T35" fmla="*/ 15 h 72"/>
                  <a:gd name="T36" fmla="*/ 30 w 149"/>
                  <a:gd name="T37" fmla="*/ 8 h 72"/>
                  <a:gd name="T38" fmla="*/ 57 w 149"/>
                  <a:gd name="T39" fmla="*/ 15 h 72"/>
                  <a:gd name="T40" fmla="*/ 57 w 149"/>
                  <a:gd name="T41" fmla="*/ 8 h 72"/>
                  <a:gd name="T42" fmla="*/ 64 w 149"/>
                  <a:gd name="T43" fmla="*/ 0 h 72"/>
                  <a:gd name="T44" fmla="*/ 79 w 149"/>
                  <a:gd name="T45" fmla="*/ 8 h 72"/>
                  <a:gd name="T46" fmla="*/ 126 w 149"/>
                  <a:gd name="T47" fmla="*/ 8 h 72"/>
                  <a:gd name="T48" fmla="*/ 149 w 149"/>
                  <a:gd name="T49" fmla="*/ 15 h 72"/>
                  <a:gd name="T50" fmla="*/ 149 w 149"/>
                  <a:gd name="T51" fmla="*/ 15 h 72"/>
                  <a:gd name="T52" fmla="*/ 149 w 149"/>
                  <a:gd name="T53" fmla="*/ 15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9" h="72">
                    <a:moveTo>
                      <a:pt x="149" y="15"/>
                    </a:moveTo>
                    <a:lnTo>
                      <a:pt x="149" y="30"/>
                    </a:lnTo>
                    <a:lnTo>
                      <a:pt x="120" y="45"/>
                    </a:lnTo>
                    <a:lnTo>
                      <a:pt x="105" y="45"/>
                    </a:lnTo>
                    <a:lnTo>
                      <a:pt x="99" y="52"/>
                    </a:lnTo>
                    <a:lnTo>
                      <a:pt x="79" y="52"/>
                    </a:lnTo>
                    <a:lnTo>
                      <a:pt x="64" y="66"/>
                    </a:lnTo>
                    <a:lnTo>
                      <a:pt x="64" y="72"/>
                    </a:lnTo>
                    <a:lnTo>
                      <a:pt x="0" y="72"/>
                    </a:lnTo>
                    <a:lnTo>
                      <a:pt x="0" y="66"/>
                    </a:lnTo>
                    <a:lnTo>
                      <a:pt x="22" y="66"/>
                    </a:lnTo>
                    <a:lnTo>
                      <a:pt x="22" y="52"/>
                    </a:lnTo>
                    <a:lnTo>
                      <a:pt x="33" y="52"/>
                    </a:lnTo>
                    <a:lnTo>
                      <a:pt x="57" y="45"/>
                    </a:lnTo>
                    <a:lnTo>
                      <a:pt x="33" y="37"/>
                    </a:lnTo>
                    <a:lnTo>
                      <a:pt x="15" y="37"/>
                    </a:lnTo>
                    <a:lnTo>
                      <a:pt x="30" y="15"/>
                    </a:lnTo>
                    <a:lnTo>
                      <a:pt x="22" y="15"/>
                    </a:lnTo>
                    <a:lnTo>
                      <a:pt x="30" y="8"/>
                    </a:lnTo>
                    <a:lnTo>
                      <a:pt x="57" y="15"/>
                    </a:lnTo>
                    <a:lnTo>
                      <a:pt x="57" y="8"/>
                    </a:lnTo>
                    <a:lnTo>
                      <a:pt x="64" y="0"/>
                    </a:lnTo>
                    <a:lnTo>
                      <a:pt x="79" y="8"/>
                    </a:lnTo>
                    <a:lnTo>
                      <a:pt x="126" y="8"/>
                    </a:lnTo>
                    <a:lnTo>
                      <a:pt x="149" y="15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55" name="Freeform 290"/>
              <p:cNvSpPr>
                <a:spLocks/>
              </p:cNvSpPr>
              <p:nvPr/>
            </p:nvSpPr>
            <p:spPr bwMode="auto">
              <a:xfrm>
                <a:off x="4433888" y="2390775"/>
                <a:ext cx="625475" cy="801688"/>
              </a:xfrm>
              <a:custGeom>
                <a:avLst/>
                <a:gdLst>
                  <a:gd name="T0" fmla="*/ 84 w 356"/>
                  <a:gd name="T1" fmla="*/ 432 h 459"/>
                  <a:gd name="T2" fmla="*/ 79 w 356"/>
                  <a:gd name="T3" fmla="*/ 432 h 459"/>
                  <a:gd name="T4" fmla="*/ 42 w 356"/>
                  <a:gd name="T5" fmla="*/ 459 h 459"/>
                  <a:gd name="T6" fmla="*/ 7 w 356"/>
                  <a:gd name="T7" fmla="*/ 445 h 459"/>
                  <a:gd name="T8" fmla="*/ 0 w 356"/>
                  <a:gd name="T9" fmla="*/ 370 h 459"/>
                  <a:gd name="T10" fmla="*/ 0 w 356"/>
                  <a:gd name="T11" fmla="*/ 346 h 459"/>
                  <a:gd name="T12" fmla="*/ 64 w 356"/>
                  <a:gd name="T13" fmla="*/ 301 h 459"/>
                  <a:gd name="T14" fmla="*/ 106 w 356"/>
                  <a:gd name="T15" fmla="*/ 235 h 459"/>
                  <a:gd name="T16" fmla="*/ 158 w 356"/>
                  <a:gd name="T17" fmla="*/ 123 h 459"/>
                  <a:gd name="T18" fmla="*/ 114 w 356"/>
                  <a:gd name="T19" fmla="*/ 143 h 459"/>
                  <a:gd name="T20" fmla="*/ 158 w 356"/>
                  <a:gd name="T21" fmla="*/ 82 h 459"/>
                  <a:gd name="T22" fmla="*/ 165 w 356"/>
                  <a:gd name="T23" fmla="*/ 97 h 459"/>
                  <a:gd name="T24" fmla="*/ 178 w 356"/>
                  <a:gd name="T25" fmla="*/ 69 h 459"/>
                  <a:gd name="T26" fmla="*/ 205 w 356"/>
                  <a:gd name="T27" fmla="*/ 47 h 459"/>
                  <a:gd name="T28" fmla="*/ 263 w 356"/>
                  <a:gd name="T29" fmla="*/ 22 h 459"/>
                  <a:gd name="T30" fmla="*/ 309 w 356"/>
                  <a:gd name="T31" fmla="*/ 0 h 459"/>
                  <a:gd name="T32" fmla="*/ 356 w 356"/>
                  <a:gd name="T33" fmla="*/ 39 h 459"/>
                  <a:gd name="T34" fmla="*/ 320 w 356"/>
                  <a:gd name="T35" fmla="*/ 47 h 459"/>
                  <a:gd name="T36" fmla="*/ 349 w 356"/>
                  <a:gd name="T37" fmla="*/ 69 h 459"/>
                  <a:gd name="T38" fmla="*/ 335 w 356"/>
                  <a:gd name="T39" fmla="*/ 69 h 459"/>
                  <a:gd name="T40" fmla="*/ 292 w 356"/>
                  <a:gd name="T41" fmla="*/ 60 h 459"/>
                  <a:gd name="T42" fmla="*/ 272 w 356"/>
                  <a:gd name="T43" fmla="*/ 106 h 459"/>
                  <a:gd name="T44" fmla="*/ 222 w 356"/>
                  <a:gd name="T45" fmla="*/ 82 h 459"/>
                  <a:gd name="T46" fmla="*/ 205 w 356"/>
                  <a:gd name="T47" fmla="*/ 97 h 459"/>
                  <a:gd name="T48" fmla="*/ 178 w 356"/>
                  <a:gd name="T49" fmla="*/ 113 h 459"/>
                  <a:gd name="T50" fmla="*/ 171 w 356"/>
                  <a:gd name="T51" fmla="*/ 129 h 459"/>
                  <a:gd name="T52" fmla="*/ 158 w 356"/>
                  <a:gd name="T53" fmla="*/ 181 h 459"/>
                  <a:gd name="T54" fmla="*/ 121 w 356"/>
                  <a:gd name="T55" fmla="*/ 249 h 459"/>
                  <a:gd name="T56" fmla="*/ 106 w 356"/>
                  <a:gd name="T57" fmla="*/ 287 h 459"/>
                  <a:gd name="T58" fmla="*/ 106 w 356"/>
                  <a:gd name="T59" fmla="*/ 363 h 459"/>
                  <a:gd name="T60" fmla="*/ 94 w 356"/>
                  <a:gd name="T61" fmla="*/ 407 h 459"/>
                  <a:gd name="T62" fmla="*/ 84 w 356"/>
                  <a:gd name="T63" fmla="*/ 437 h 459"/>
                  <a:gd name="T64" fmla="*/ 84 w 356"/>
                  <a:gd name="T65" fmla="*/ 437 h 4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56" h="459">
                    <a:moveTo>
                      <a:pt x="84" y="437"/>
                    </a:moveTo>
                    <a:lnTo>
                      <a:pt x="84" y="432"/>
                    </a:lnTo>
                    <a:lnTo>
                      <a:pt x="79" y="424"/>
                    </a:lnTo>
                    <a:lnTo>
                      <a:pt x="79" y="432"/>
                    </a:lnTo>
                    <a:lnTo>
                      <a:pt x="72" y="432"/>
                    </a:lnTo>
                    <a:lnTo>
                      <a:pt x="42" y="459"/>
                    </a:lnTo>
                    <a:lnTo>
                      <a:pt x="29" y="459"/>
                    </a:lnTo>
                    <a:lnTo>
                      <a:pt x="7" y="445"/>
                    </a:lnTo>
                    <a:lnTo>
                      <a:pt x="7" y="392"/>
                    </a:lnTo>
                    <a:lnTo>
                      <a:pt x="0" y="370"/>
                    </a:lnTo>
                    <a:lnTo>
                      <a:pt x="7" y="356"/>
                    </a:lnTo>
                    <a:lnTo>
                      <a:pt x="0" y="346"/>
                    </a:lnTo>
                    <a:lnTo>
                      <a:pt x="42" y="309"/>
                    </a:lnTo>
                    <a:lnTo>
                      <a:pt x="64" y="301"/>
                    </a:lnTo>
                    <a:lnTo>
                      <a:pt x="84" y="249"/>
                    </a:lnTo>
                    <a:lnTo>
                      <a:pt x="106" y="235"/>
                    </a:lnTo>
                    <a:lnTo>
                      <a:pt x="136" y="143"/>
                    </a:lnTo>
                    <a:lnTo>
                      <a:pt x="158" y="123"/>
                    </a:lnTo>
                    <a:lnTo>
                      <a:pt x="128" y="129"/>
                    </a:lnTo>
                    <a:lnTo>
                      <a:pt x="114" y="143"/>
                    </a:lnTo>
                    <a:lnTo>
                      <a:pt x="128" y="106"/>
                    </a:lnTo>
                    <a:lnTo>
                      <a:pt x="158" y="82"/>
                    </a:lnTo>
                    <a:lnTo>
                      <a:pt x="158" y="106"/>
                    </a:lnTo>
                    <a:lnTo>
                      <a:pt x="165" y="97"/>
                    </a:lnTo>
                    <a:lnTo>
                      <a:pt x="165" y="76"/>
                    </a:lnTo>
                    <a:lnTo>
                      <a:pt x="178" y="69"/>
                    </a:lnTo>
                    <a:lnTo>
                      <a:pt x="186" y="47"/>
                    </a:lnTo>
                    <a:lnTo>
                      <a:pt x="205" y="47"/>
                    </a:lnTo>
                    <a:lnTo>
                      <a:pt x="250" y="15"/>
                    </a:lnTo>
                    <a:lnTo>
                      <a:pt x="263" y="22"/>
                    </a:lnTo>
                    <a:lnTo>
                      <a:pt x="287" y="0"/>
                    </a:lnTo>
                    <a:lnTo>
                      <a:pt x="309" y="0"/>
                    </a:lnTo>
                    <a:lnTo>
                      <a:pt x="320" y="15"/>
                    </a:lnTo>
                    <a:lnTo>
                      <a:pt x="356" y="39"/>
                    </a:lnTo>
                    <a:lnTo>
                      <a:pt x="342" y="47"/>
                    </a:lnTo>
                    <a:lnTo>
                      <a:pt x="320" y="47"/>
                    </a:lnTo>
                    <a:lnTo>
                      <a:pt x="342" y="60"/>
                    </a:lnTo>
                    <a:lnTo>
                      <a:pt x="349" y="69"/>
                    </a:lnTo>
                    <a:lnTo>
                      <a:pt x="320" y="97"/>
                    </a:lnTo>
                    <a:lnTo>
                      <a:pt x="335" y="69"/>
                    </a:lnTo>
                    <a:lnTo>
                      <a:pt x="309" y="47"/>
                    </a:lnTo>
                    <a:lnTo>
                      <a:pt x="292" y="60"/>
                    </a:lnTo>
                    <a:lnTo>
                      <a:pt x="287" y="97"/>
                    </a:lnTo>
                    <a:lnTo>
                      <a:pt x="272" y="106"/>
                    </a:lnTo>
                    <a:lnTo>
                      <a:pt x="243" y="106"/>
                    </a:lnTo>
                    <a:lnTo>
                      <a:pt x="222" y="82"/>
                    </a:lnTo>
                    <a:lnTo>
                      <a:pt x="213" y="97"/>
                    </a:lnTo>
                    <a:lnTo>
                      <a:pt x="205" y="97"/>
                    </a:lnTo>
                    <a:lnTo>
                      <a:pt x="205" y="113"/>
                    </a:lnTo>
                    <a:lnTo>
                      <a:pt x="178" y="113"/>
                    </a:lnTo>
                    <a:lnTo>
                      <a:pt x="178" y="129"/>
                    </a:lnTo>
                    <a:lnTo>
                      <a:pt x="171" y="129"/>
                    </a:lnTo>
                    <a:lnTo>
                      <a:pt x="158" y="158"/>
                    </a:lnTo>
                    <a:lnTo>
                      <a:pt x="158" y="181"/>
                    </a:lnTo>
                    <a:lnTo>
                      <a:pt x="136" y="205"/>
                    </a:lnTo>
                    <a:lnTo>
                      <a:pt x="121" y="249"/>
                    </a:lnTo>
                    <a:lnTo>
                      <a:pt x="128" y="272"/>
                    </a:lnTo>
                    <a:lnTo>
                      <a:pt x="106" y="287"/>
                    </a:lnTo>
                    <a:lnTo>
                      <a:pt x="94" y="323"/>
                    </a:lnTo>
                    <a:lnTo>
                      <a:pt x="106" y="363"/>
                    </a:lnTo>
                    <a:lnTo>
                      <a:pt x="106" y="402"/>
                    </a:lnTo>
                    <a:lnTo>
                      <a:pt x="94" y="407"/>
                    </a:lnTo>
                    <a:lnTo>
                      <a:pt x="94" y="437"/>
                    </a:lnTo>
                    <a:lnTo>
                      <a:pt x="84" y="437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56" name="Freeform 291"/>
              <p:cNvSpPr>
                <a:spLocks/>
              </p:cNvSpPr>
              <p:nvPr/>
            </p:nvSpPr>
            <p:spPr bwMode="auto">
              <a:xfrm>
                <a:off x="4806950" y="2468563"/>
                <a:ext cx="252413" cy="620712"/>
              </a:xfrm>
              <a:custGeom>
                <a:avLst/>
                <a:gdLst>
                  <a:gd name="T0" fmla="*/ 106 w 143"/>
                  <a:gd name="T1" fmla="*/ 52 h 355"/>
                  <a:gd name="T2" fmla="*/ 106 w 143"/>
                  <a:gd name="T3" fmla="*/ 76 h 355"/>
                  <a:gd name="T4" fmla="*/ 127 w 143"/>
                  <a:gd name="T5" fmla="*/ 98 h 355"/>
                  <a:gd name="T6" fmla="*/ 121 w 143"/>
                  <a:gd name="T7" fmla="*/ 123 h 355"/>
                  <a:gd name="T8" fmla="*/ 127 w 143"/>
                  <a:gd name="T9" fmla="*/ 173 h 355"/>
                  <a:gd name="T10" fmla="*/ 121 w 143"/>
                  <a:gd name="T11" fmla="*/ 197 h 355"/>
                  <a:gd name="T12" fmla="*/ 136 w 143"/>
                  <a:gd name="T13" fmla="*/ 227 h 355"/>
                  <a:gd name="T14" fmla="*/ 127 w 143"/>
                  <a:gd name="T15" fmla="*/ 244 h 355"/>
                  <a:gd name="T16" fmla="*/ 143 w 143"/>
                  <a:gd name="T17" fmla="*/ 263 h 355"/>
                  <a:gd name="T18" fmla="*/ 143 w 143"/>
                  <a:gd name="T19" fmla="*/ 273 h 355"/>
                  <a:gd name="T20" fmla="*/ 121 w 143"/>
                  <a:gd name="T21" fmla="*/ 318 h 355"/>
                  <a:gd name="T22" fmla="*/ 94 w 143"/>
                  <a:gd name="T23" fmla="*/ 338 h 355"/>
                  <a:gd name="T24" fmla="*/ 84 w 143"/>
                  <a:gd name="T25" fmla="*/ 338 h 355"/>
                  <a:gd name="T26" fmla="*/ 42 w 143"/>
                  <a:gd name="T27" fmla="*/ 355 h 355"/>
                  <a:gd name="T28" fmla="*/ 9 w 143"/>
                  <a:gd name="T29" fmla="*/ 338 h 355"/>
                  <a:gd name="T30" fmla="*/ 15 w 143"/>
                  <a:gd name="T31" fmla="*/ 311 h 355"/>
                  <a:gd name="T32" fmla="*/ 9 w 143"/>
                  <a:gd name="T33" fmla="*/ 279 h 355"/>
                  <a:gd name="T34" fmla="*/ 50 w 143"/>
                  <a:gd name="T35" fmla="*/ 205 h 355"/>
                  <a:gd name="T36" fmla="*/ 57 w 143"/>
                  <a:gd name="T37" fmla="*/ 197 h 355"/>
                  <a:gd name="T38" fmla="*/ 57 w 143"/>
                  <a:gd name="T39" fmla="*/ 180 h 355"/>
                  <a:gd name="T40" fmla="*/ 50 w 143"/>
                  <a:gd name="T41" fmla="*/ 173 h 355"/>
                  <a:gd name="T42" fmla="*/ 42 w 143"/>
                  <a:gd name="T43" fmla="*/ 173 h 355"/>
                  <a:gd name="T44" fmla="*/ 35 w 143"/>
                  <a:gd name="T45" fmla="*/ 84 h 355"/>
                  <a:gd name="T46" fmla="*/ 0 w 143"/>
                  <a:gd name="T47" fmla="*/ 52 h 355"/>
                  <a:gd name="T48" fmla="*/ 9 w 143"/>
                  <a:gd name="T49" fmla="*/ 39 h 355"/>
                  <a:gd name="T50" fmla="*/ 30 w 143"/>
                  <a:gd name="T51" fmla="*/ 61 h 355"/>
                  <a:gd name="T52" fmla="*/ 57 w 143"/>
                  <a:gd name="T53" fmla="*/ 61 h 355"/>
                  <a:gd name="T54" fmla="*/ 72 w 143"/>
                  <a:gd name="T55" fmla="*/ 52 h 355"/>
                  <a:gd name="T56" fmla="*/ 79 w 143"/>
                  <a:gd name="T57" fmla="*/ 14 h 355"/>
                  <a:gd name="T58" fmla="*/ 94 w 143"/>
                  <a:gd name="T59" fmla="*/ 0 h 355"/>
                  <a:gd name="T60" fmla="*/ 121 w 143"/>
                  <a:gd name="T61" fmla="*/ 22 h 355"/>
                  <a:gd name="T62" fmla="*/ 106 w 143"/>
                  <a:gd name="T63" fmla="*/ 52 h 355"/>
                  <a:gd name="T64" fmla="*/ 106 w 143"/>
                  <a:gd name="T65" fmla="*/ 52 h 355"/>
                  <a:gd name="T66" fmla="*/ 106 w 143"/>
                  <a:gd name="T67" fmla="*/ 52 h 3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43" h="355">
                    <a:moveTo>
                      <a:pt x="106" y="52"/>
                    </a:moveTo>
                    <a:lnTo>
                      <a:pt x="106" y="76"/>
                    </a:lnTo>
                    <a:lnTo>
                      <a:pt x="127" y="98"/>
                    </a:lnTo>
                    <a:lnTo>
                      <a:pt x="121" y="123"/>
                    </a:lnTo>
                    <a:lnTo>
                      <a:pt x="127" y="173"/>
                    </a:lnTo>
                    <a:lnTo>
                      <a:pt x="121" y="197"/>
                    </a:lnTo>
                    <a:lnTo>
                      <a:pt x="136" y="227"/>
                    </a:lnTo>
                    <a:lnTo>
                      <a:pt x="127" y="244"/>
                    </a:lnTo>
                    <a:lnTo>
                      <a:pt x="143" y="263"/>
                    </a:lnTo>
                    <a:lnTo>
                      <a:pt x="143" y="273"/>
                    </a:lnTo>
                    <a:lnTo>
                      <a:pt x="121" y="318"/>
                    </a:lnTo>
                    <a:lnTo>
                      <a:pt x="94" y="338"/>
                    </a:lnTo>
                    <a:lnTo>
                      <a:pt x="84" y="338"/>
                    </a:lnTo>
                    <a:lnTo>
                      <a:pt x="42" y="355"/>
                    </a:lnTo>
                    <a:lnTo>
                      <a:pt x="9" y="338"/>
                    </a:lnTo>
                    <a:lnTo>
                      <a:pt x="15" y="311"/>
                    </a:lnTo>
                    <a:lnTo>
                      <a:pt x="9" y="279"/>
                    </a:lnTo>
                    <a:lnTo>
                      <a:pt x="50" y="205"/>
                    </a:lnTo>
                    <a:lnTo>
                      <a:pt x="57" y="197"/>
                    </a:lnTo>
                    <a:lnTo>
                      <a:pt x="57" y="180"/>
                    </a:lnTo>
                    <a:lnTo>
                      <a:pt x="50" y="173"/>
                    </a:lnTo>
                    <a:lnTo>
                      <a:pt x="42" y="173"/>
                    </a:lnTo>
                    <a:lnTo>
                      <a:pt x="35" y="84"/>
                    </a:lnTo>
                    <a:lnTo>
                      <a:pt x="0" y="52"/>
                    </a:lnTo>
                    <a:lnTo>
                      <a:pt x="9" y="39"/>
                    </a:lnTo>
                    <a:lnTo>
                      <a:pt x="30" y="61"/>
                    </a:lnTo>
                    <a:lnTo>
                      <a:pt x="57" y="61"/>
                    </a:lnTo>
                    <a:lnTo>
                      <a:pt x="72" y="52"/>
                    </a:lnTo>
                    <a:lnTo>
                      <a:pt x="79" y="14"/>
                    </a:lnTo>
                    <a:lnTo>
                      <a:pt x="94" y="0"/>
                    </a:lnTo>
                    <a:lnTo>
                      <a:pt x="121" y="22"/>
                    </a:lnTo>
                    <a:lnTo>
                      <a:pt x="106" y="52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57" name="Freeform 292"/>
              <p:cNvSpPr>
                <a:spLocks/>
              </p:cNvSpPr>
              <p:nvPr/>
            </p:nvSpPr>
            <p:spPr bwMode="auto">
              <a:xfrm>
                <a:off x="4895848" y="3276599"/>
                <a:ext cx="223839" cy="206375"/>
              </a:xfrm>
              <a:custGeom>
                <a:avLst/>
                <a:gdLst>
                  <a:gd name="T0" fmla="*/ 113 w 128"/>
                  <a:gd name="T1" fmla="*/ 99 h 119"/>
                  <a:gd name="T2" fmla="*/ 106 w 128"/>
                  <a:gd name="T3" fmla="*/ 84 h 119"/>
                  <a:gd name="T4" fmla="*/ 106 w 128"/>
                  <a:gd name="T5" fmla="*/ 76 h 119"/>
                  <a:gd name="T6" fmla="*/ 113 w 128"/>
                  <a:gd name="T7" fmla="*/ 84 h 119"/>
                  <a:gd name="T8" fmla="*/ 128 w 128"/>
                  <a:gd name="T9" fmla="*/ 62 h 119"/>
                  <a:gd name="T10" fmla="*/ 113 w 128"/>
                  <a:gd name="T11" fmla="*/ 62 h 119"/>
                  <a:gd name="T12" fmla="*/ 99 w 128"/>
                  <a:gd name="T13" fmla="*/ 37 h 119"/>
                  <a:gd name="T14" fmla="*/ 99 w 128"/>
                  <a:gd name="T15" fmla="*/ 15 h 119"/>
                  <a:gd name="T16" fmla="*/ 91 w 128"/>
                  <a:gd name="T17" fmla="*/ 5 h 119"/>
                  <a:gd name="T18" fmla="*/ 64 w 128"/>
                  <a:gd name="T19" fmla="*/ 0 h 119"/>
                  <a:gd name="T20" fmla="*/ 47 w 128"/>
                  <a:gd name="T21" fmla="*/ 15 h 119"/>
                  <a:gd name="T22" fmla="*/ 47 w 128"/>
                  <a:gd name="T23" fmla="*/ 22 h 119"/>
                  <a:gd name="T24" fmla="*/ 37 w 128"/>
                  <a:gd name="T25" fmla="*/ 37 h 119"/>
                  <a:gd name="T26" fmla="*/ 37 w 128"/>
                  <a:gd name="T27" fmla="*/ 52 h 119"/>
                  <a:gd name="T28" fmla="*/ 20 w 128"/>
                  <a:gd name="T29" fmla="*/ 52 h 119"/>
                  <a:gd name="T30" fmla="*/ 7 w 128"/>
                  <a:gd name="T31" fmla="*/ 62 h 119"/>
                  <a:gd name="T32" fmla="*/ 0 w 128"/>
                  <a:gd name="T33" fmla="*/ 62 h 119"/>
                  <a:gd name="T34" fmla="*/ 7 w 128"/>
                  <a:gd name="T35" fmla="*/ 84 h 119"/>
                  <a:gd name="T36" fmla="*/ 0 w 128"/>
                  <a:gd name="T37" fmla="*/ 99 h 119"/>
                  <a:gd name="T38" fmla="*/ 0 w 128"/>
                  <a:gd name="T39" fmla="*/ 119 h 119"/>
                  <a:gd name="T40" fmla="*/ 14 w 128"/>
                  <a:gd name="T41" fmla="*/ 104 h 119"/>
                  <a:gd name="T42" fmla="*/ 37 w 128"/>
                  <a:gd name="T43" fmla="*/ 104 h 119"/>
                  <a:gd name="T44" fmla="*/ 59 w 128"/>
                  <a:gd name="T45" fmla="*/ 119 h 119"/>
                  <a:gd name="T46" fmla="*/ 99 w 128"/>
                  <a:gd name="T47" fmla="*/ 119 h 119"/>
                  <a:gd name="T48" fmla="*/ 106 w 128"/>
                  <a:gd name="T49" fmla="*/ 99 h 119"/>
                  <a:gd name="T50" fmla="*/ 113 w 128"/>
                  <a:gd name="T51" fmla="*/ 99 h 119"/>
                  <a:gd name="T52" fmla="*/ 113 w 128"/>
                  <a:gd name="T53" fmla="*/ 99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28" h="119">
                    <a:moveTo>
                      <a:pt x="113" y="99"/>
                    </a:moveTo>
                    <a:lnTo>
                      <a:pt x="106" y="84"/>
                    </a:lnTo>
                    <a:lnTo>
                      <a:pt x="106" y="76"/>
                    </a:lnTo>
                    <a:lnTo>
                      <a:pt x="113" y="84"/>
                    </a:lnTo>
                    <a:lnTo>
                      <a:pt x="128" y="62"/>
                    </a:lnTo>
                    <a:lnTo>
                      <a:pt x="113" y="62"/>
                    </a:lnTo>
                    <a:lnTo>
                      <a:pt x="99" y="37"/>
                    </a:lnTo>
                    <a:lnTo>
                      <a:pt x="99" y="15"/>
                    </a:lnTo>
                    <a:lnTo>
                      <a:pt x="91" y="5"/>
                    </a:lnTo>
                    <a:lnTo>
                      <a:pt x="64" y="0"/>
                    </a:lnTo>
                    <a:lnTo>
                      <a:pt x="47" y="15"/>
                    </a:lnTo>
                    <a:lnTo>
                      <a:pt x="47" y="22"/>
                    </a:lnTo>
                    <a:lnTo>
                      <a:pt x="37" y="37"/>
                    </a:lnTo>
                    <a:lnTo>
                      <a:pt x="37" y="52"/>
                    </a:lnTo>
                    <a:lnTo>
                      <a:pt x="20" y="52"/>
                    </a:lnTo>
                    <a:lnTo>
                      <a:pt x="7" y="62"/>
                    </a:lnTo>
                    <a:lnTo>
                      <a:pt x="0" y="62"/>
                    </a:lnTo>
                    <a:lnTo>
                      <a:pt x="7" y="84"/>
                    </a:lnTo>
                    <a:lnTo>
                      <a:pt x="0" y="99"/>
                    </a:lnTo>
                    <a:lnTo>
                      <a:pt x="0" y="119"/>
                    </a:lnTo>
                    <a:lnTo>
                      <a:pt x="14" y="104"/>
                    </a:lnTo>
                    <a:lnTo>
                      <a:pt x="37" y="104"/>
                    </a:lnTo>
                    <a:lnTo>
                      <a:pt x="59" y="119"/>
                    </a:lnTo>
                    <a:lnTo>
                      <a:pt x="99" y="119"/>
                    </a:lnTo>
                    <a:lnTo>
                      <a:pt x="106" y="99"/>
                    </a:lnTo>
                    <a:lnTo>
                      <a:pt x="113" y="99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58" name="Freeform 293"/>
              <p:cNvSpPr>
                <a:spLocks/>
              </p:cNvSpPr>
              <p:nvPr/>
            </p:nvSpPr>
            <p:spPr bwMode="auto">
              <a:xfrm>
                <a:off x="4833938" y="3444875"/>
                <a:ext cx="438150" cy="314325"/>
              </a:xfrm>
              <a:custGeom>
                <a:avLst/>
                <a:gdLst>
                  <a:gd name="T0" fmla="*/ 107 w 251"/>
                  <a:gd name="T1" fmla="*/ 160 h 180"/>
                  <a:gd name="T2" fmla="*/ 87 w 251"/>
                  <a:gd name="T3" fmla="*/ 160 h 180"/>
                  <a:gd name="T4" fmla="*/ 87 w 251"/>
                  <a:gd name="T5" fmla="*/ 152 h 180"/>
                  <a:gd name="T6" fmla="*/ 92 w 251"/>
                  <a:gd name="T7" fmla="*/ 130 h 180"/>
                  <a:gd name="T8" fmla="*/ 113 w 251"/>
                  <a:gd name="T9" fmla="*/ 130 h 180"/>
                  <a:gd name="T10" fmla="*/ 113 w 251"/>
                  <a:gd name="T11" fmla="*/ 121 h 180"/>
                  <a:gd name="T12" fmla="*/ 107 w 251"/>
                  <a:gd name="T13" fmla="*/ 105 h 180"/>
                  <a:gd name="T14" fmla="*/ 107 w 251"/>
                  <a:gd name="T15" fmla="*/ 91 h 180"/>
                  <a:gd name="T16" fmla="*/ 80 w 251"/>
                  <a:gd name="T17" fmla="*/ 83 h 180"/>
                  <a:gd name="T18" fmla="*/ 41 w 251"/>
                  <a:gd name="T19" fmla="*/ 105 h 180"/>
                  <a:gd name="T20" fmla="*/ 16 w 251"/>
                  <a:gd name="T21" fmla="*/ 105 h 180"/>
                  <a:gd name="T22" fmla="*/ 0 w 251"/>
                  <a:gd name="T23" fmla="*/ 91 h 180"/>
                  <a:gd name="T24" fmla="*/ 16 w 251"/>
                  <a:gd name="T25" fmla="*/ 76 h 180"/>
                  <a:gd name="T26" fmla="*/ 26 w 251"/>
                  <a:gd name="T27" fmla="*/ 46 h 180"/>
                  <a:gd name="T28" fmla="*/ 21 w 251"/>
                  <a:gd name="T29" fmla="*/ 21 h 180"/>
                  <a:gd name="T30" fmla="*/ 35 w 251"/>
                  <a:gd name="T31" fmla="*/ 7 h 180"/>
                  <a:gd name="T32" fmla="*/ 58 w 251"/>
                  <a:gd name="T33" fmla="*/ 7 h 180"/>
                  <a:gd name="T34" fmla="*/ 80 w 251"/>
                  <a:gd name="T35" fmla="*/ 21 h 180"/>
                  <a:gd name="T36" fmla="*/ 122 w 251"/>
                  <a:gd name="T37" fmla="*/ 21 h 180"/>
                  <a:gd name="T38" fmla="*/ 129 w 251"/>
                  <a:gd name="T39" fmla="*/ 0 h 180"/>
                  <a:gd name="T40" fmla="*/ 162 w 251"/>
                  <a:gd name="T41" fmla="*/ 0 h 180"/>
                  <a:gd name="T42" fmla="*/ 170 w 251"/>
                  <a:gd name="T43" fmla="*/ 7 h 180"/>
                  <a:gd name="T44" fmla="*/ 162 w 251"/>
                  <a:gd name="T45" fmla="*/ 7 h 180"/>
                  <a:gd name="T46" fmla="*/ 170 w 251"/>
                  <a:gd name="T47" fmla="*/ 21 h 180"/>
                  <a:gd name="T48" fmla="*/ 186 w 251"/>
                  <a:gd name="T49" fmla="*/ 21 h 180"/>
                  <a:gd name="T50" fmla="*/ 192 w 251"/>
                  <a:gd name="T51" fmla="*/ 37 h 180"/>
                  <a:gd name="T52" fmla="*/ 201 w 251"/>
                  <a:gd name="T53" fmla="*/ 46 h 180"/>
                  <a:gd name="T54" fmla="*/ 207 w 251"/>
                  <a:gd name="T55" fmla="*/ 37 h 180"/>
                  <a:gd name="T56" fmla="*/ 251 w 251"/>
                  <a:gd name="T57" fmla="*/ 68 h 180"/>
                  <a:gd name="T58" fmla="*/ 242 w 251"/>
                  <a:gd name="T59" fmla="*/ 105 h 180"/>
                  <a:gd name="T60" fmla="*/ 236 w 251"/>
                  <a:gd name="T61" fmla="*/ 91 h 180"/>
                  <a:gd name="T62" fmla="*/ 229 w 251"/>
                  <a:gd name="T63" fmla="*/ 105 h 180"/>
                  <a:gd name="T64" fmla="*/ 229 w 251"/>
                  <a:gd name="T65" fmla="*/ 121 h 180"/>
                  <a:gd name="T66" fmla="*/ 214 w 251"/>
                  <a:gd name="T67" fmla="*/ 121 h 180"/>
                  <a:gd name="T68" fmla="*/ 170 w 251"/>
                  <a:gd name="T69" fmla="*/ 152 h 180"/>
                  <a:gd name="T70" fmla="*/ 192 w 251"/>
                  <a:gd name="T71" fmla="*/ 160 h 180"/>
                  <a:gd name="T72" fmla="*/ 201 w 251"/>
                  <a:gd name="T73" fmla="*/ 160 h 180"/>
                  <a:gd name="T74" fmla="*/ 192 w 251"/>
                  <a:gd name="T75" fmla="*/ 160 h 180"/>
                  <a:gd name="T76" fmla="*/ 162 w 251"/>
                  <a:gd name="T77" fmla="*/ 180 h 180"/>
                  <a:gd name="T78" fmla="*/ 157 w 251"/>
                  <a:gd name="T79" fmla="*/ 180 h 180"/>
                  <a:gd name="T80" fmla="*/ 157 w 251"/>
                  <a:gd name="T81" fmla="*/ 167 h 180"/>
                  <a:gd name="T82" fmla="*/ 150 w 251"/>
                  <a:gd name="T83" fmla="*/ 160 h 180"/>
                  <a:gd name="T84" fmla="*/ 162 w 251"/>
                  <a:gd name="T85" fmla="*/ 152 h 180"/>
                  <a:gd name="T86" fmla="*/ 135 w 251"/>
                  <a:gd name="T87" fmla="*/ 137 h 180"/>
                  <a:gd name="T88" fmla="*/ 135 w 251"/>
                  <a:gd name="T89" fmla="*/ 130 h 180"/>
                  <a:gd name="T90" fmla="*/ 122 w 251"/>
                  <a:gd name="T91" fmla="*/ 130 h 180"/>
                  <a:gd name="T92" fmla="*/ 113 w 251"/>
                  <a:gd name="T93" fmla="*/ 152 h 180"/>
                  <a:gd name="T94" fmla="*/ 107 w 251"/>
                  <a:gd name="T95" fmla="*/ 152 h 180"/>
                  <a:gd name="T96" fmla="*/ 107 w 251"/>
                  <a:gd name="T97" fmla="*/ 160 h 180"/>
                  <a:gd name="T98" fmla="*/ 107 w 251"/>
                  <a:gd name="T99" fmla="*/ 160 h 180"/>
                  <a:gd name="T100" fmla="*/ 107 w 251"/>
                  <a:gd name="T101" fmla="*/ 160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51" h="180">
                    <a:moveTo>
                      <a:pt x="107" y="160"/>
                    </a:moveTo>
                    <a:lnTo>
                      <a:pt x="87" y="160"/>
                    </a:lnTo>
                    <a:lnTo>
                      <a:pt x="87" y="152"/>
                    </a:lnTo>
                    <a:lnTo>
                      <a:pt x="92" y="130"/>
                    </a:lnTo>
                    <a:lnTo>
                      <a:pt x="113" y="130"/>
                    </a:lnTo>
                    <a:lnTo>
                      <a:pt x="113" y="121"/>
                    </a:lnTo>
                    <a:lnTo>
                      <a:pt x="107" y="105"/>
                    </a:lnTo>
                    <a:lnTo>
                      <a:pt x="107" y="91"/>
                    </a:lnTo>
                    <a:lnTo>
                      <a:pt x="80" y="83"/>
                    </a:lnTo>
                    <a:lnTo>
                      <a:pt x="41" y="105"/>
                    </a:lnTo>
                    <a:lnTo>
                      <a:pt x="16" y="105"/>
                    </a:lnTo>
                    <a:lnTo>
                      <a:pt x="0" y="91"/>
                    </a:lnTo>
                    <a:lnTo>
                      <a:pt x="16" y="76"/>
                    </a:lnTo>
                    <a:lnTo>
                      <a:pt x="26" y="46"/>
                    </a:lnTo>
                    <a:lnTo>
                      <a:pt x="21" y="21"/>
                    </a:lnTo>
                    <a:lnTo>
                      <a:pt x="35" y="7"/>
                    </a:lnTo>
                    <a:lnTo>
                      <a:pt x="58" y="7"/>
                    </a:lnTo>
                    <a:lnTo>
                      <a:pt x="80" y="21"/>
                    </a:lnTo>
                    <a:lnTo>
                      <a:pt x="122" y="21"/>
                    </a:lnTo>
                    <a:lnTo>
                      <a:pt x="129" y="0"/>
                    </a:lnTo>
                    <a:lnTo>
                      <a:pt x="162" y="0"/>
                    </a:lnTo>
                    <a:lnTo>
                      <a:pt x="170" y="7"/>
                    </a:lnTo>
                    <a:lnTo>
                      <a:pt x="162" y="7"/>
                    </a:lnTo>
                    <a:lnTo>
                      <a:pt x="170" y="21"/>
                    </a:lnTo>
                    <a:lnTo>
                      <a:pt x="186" y="21"/>
                    </a:lnTo>
                    <a:lnTo>
                      <a:pt x="192" y="37"/>
                    </a:lnTo>
                    <a:lnTo>
                      <a:pt x="201" y="46"/>
                    </a:lnTo>
                    <a:lnTo>
                      <a:pt x="207" y="37"/>
                    </a:lnTo>
                    <a:lnTo>
                      <a:pt x="251" y="68"/>
                    </a:lnTo>
                    <a:lnTo>
                      <a:pt x="242" y="105"/>
                    </a:lnTo>
                    <a:lnTo>
                      <a:pt x="236" y="91"/>
                    </a:lnTo>
                    <a:lnTo>
                      <a:pt x="229" y="105"/>
                    </a:lnTo>
                    <a:lnTo>
                      <a:pt x="229" y="121"/>
                    </a:lnTo>
                    <a:lnTo>
                      <a:pt x="214" y="121"/>
                    </a:lnTo>
                    <a:lnTo>
                      <a:pt x="170" y="152"/>
                    </a:lnTo>
                    <a:lnTo>
                      <a:pt x="192" y="160"/>
                    </a:lnTo>
                    <a:lnTo>
                      <a:pt x="201" y="160"/>
                    </a:lnTo>
                    <a:lnTo>
                      <a:pt x="192" y="160"/>
                    </a:lnTo>
                    <a:lnTo>
                      <a:pt x="162" y="180"/>
                    </a:lnTo>
                    <a:lnTo>
                      <a:pt x="157" y="180"/>
                    </a:lnTo>
                    <a:lnTo>
                      <a:pt x="157" y="167"/>
                    </a:lnTo>
                    <a:lnTo>
                      <a:pt x="150" y="160"/>
                    </a:lnTo>
                    <a:lnTo>
                      <a:pt x="162" y="152"/>
                    </a:lnTo>
                    <a:lnTo>
                      <a:pt x="135" y="137"/>
                    </a:lnTo>
                    <a:lnTo>
                      <a:pt x="135" y="130"/>
                    </a:lnTo>
                    <a:lnTo>
                      <a:pt x="122" y="130"/>
                    </a:lnTo>
                    <a:lnTo>
                      <a:pt x="113" y="152"/>
                    </a:lnTo>
                    <a:lnTo>
                      <a:pt x="107" y="152"/>
                    </a:lnTo>
                    <a:lnTo>
                      <a:pt x="107" y="160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59" name="Freeform 294"/>
              <p:cNvSpPr>
                <a:spLocks/>
              </p:cNvSpPr>
              <p:nvPr/>
            </p:nvSpPr>
            <p:spPr bwMode="auto">
              <a:xfrm>
                <a:off x="4816475" y="3186113"/>
                <a:ext cx="169863" cy="119062"/>
              </a:xfrm>
              <a:custGeom>
                <a:avLst/>
                <a:gdLst>
                  <a:gd name="T0" fmla="*/ 44 w 97"/>
                  <a:gd name="T1" fmla="*/ 0 h 68"/>
                  <a:gd name="T2" fmla="*/ 44 w 97"/>
                  <a:gd name="T3" fmla="*/ 27 h 68"/>
                  <a:gd name="T4" fmla="*/ 29 w 97"/>
                  <a:gd name="T5" fmla="*/ 27 h 68"/>
                  <a:gd name="T6" fmla="*/ 24 w 97"/>
                  <a:gd name="T7" fmla="*/ 12 h 68"/>
                  <a:gd name="T8" fmla="*/ 7 w 97"/>
                  <a:gd name="T9" fmla="*/ 19 h 68"/>
                  <a:gd name="T10" fmla="*/ 0 w 97"/>
                  <a:gd name="T11" fmla="*/ 34 h 68"/>
                  <a:gd name="T12" fmla="*/ 0 w 97"/>
                  <a:gd name="T13" fmla="*/ 58 h 68"/>
                  <a:gd name="T14" fmla="*/ 7 w 97"/>
                  <a:gd name="T15" fmla="*/ 51 h 68"/>
                  <a:gd name="T16" fmla="*/ 50 w 97"/>
                  <a:gd name="T17" fmla="*/ 51 h 68"/>
                  <a:gd name="T18" fmla="*/ 81 w 97"/>
                  <a:gd name="T19" fmla="*/ 68 h 68"/>
                  <a:gd name="T20" fmla="*/ 97 w 97"/>
                  <a:gd name="T21" fmla="*/ 51 h 68"/>
                  <a:gd name="T22" fmla="*/ 91 w 97"/>
                  <a:gd name="T23" fmla="*/ 27 h 68"/>
                  <a:gd name="T24" fmla="*/ 91 w 97"/>
                  <a:gd name="T25" fmla="*/ 12 h 68"/>
                  <a:gd name="T26" fmla="*/ 74 w 97"/>
                  <a:gd name="T27" fmla="*/ 12 h 68"/>
                  <a:gd name="T28" fmla="*/ 50 w 97"/>
                  <a:gd name="T29" fmla="*/ 0 h 68"/>
                  <a:gd name="T30" fmla="*/ 44 w 97"/>
                  <a:gd name="T31" fmla="*/ 0 h 68"/>
                  <a:gd name="T32" fmla="*/ 44 w 97"/>
                  <a:gd name="T33" fmla="*/ 0 h 68"/>
                  <a:gd name="T34" fmla="*/ 44 w 97"/>
                  <a:gd name="T35" fmla="*/ 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7" h="68">
                    <a:moveTo>
                      <a:pt x="44" y="0"/>
                    </a:moveTo>
                    <a:lnTo>
                      <a:pt x="44" y="27"/>
                    </a:lnTo>
                    <a:lnTo>
                      <a:pt x="29" y="27"/>
                    </a:lnTo>
                    <a:lnTo>
                      <a:pt x="24" y="12"/>
                    </a:lnTo>
                    <a:lnTo>
                      <a:pt x="7" y="19"/>
                    </a:lnTo>
                    <a:lnTo>
                      <a:pt x="0" y="34"/>
                    </a:lnTo>
                    <a:lnTo>
                      <a:pt x="0" y="58"/>
                    </a:lnTo>
                    <a:lnTo>
                      <a:pt x="7" y="51"/>
                    </a:lnTo>
                    <a:lnTo>
                      <a:pt x="50" y="51"/>
                    </a:lnTo>
                    <a:lnTo>
                      <a:pt x="81" y="68"/>
                    </a:lnTo>
                    <a:lnTo>
                      <a:pt x="97" y="51"/>
                    </a:lnTo>
                    <a:lnTo>
                      <a:pt x="91" y="27"/>
                    </a:lnTo>
                    <a:lnTo>
                      <a:pt x="91" y="12"/>
                    </a:lnTo>
                    <a:lnTo>
                      <a:pt x="74" y="12"/>
                    </a:lnTo>
                    <a:lnTo>
                      <a:pt x="50" y="0"/>
                    </a:lnTo>
                    <a:lnTo>
                      <a:pt x="44" y="0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60" name="Freeform 295"/>
              <p:cNvSpPr>
                <a:spLocks/>
              </p:cNvSpPr>
              <p:nvPr/>
            </p:nvSpPr>
            <p:spPr bwMode="auto">
              <a:xfrm>
                <a:off x="4816475" y="3270250"/>
                <a:ext cx="138113" cy="109538"/>
              </a:xfrm>
              <a:custGeom>
                <a:avLst/>
                <a:gdLst>
                  <a:gd name="T0" fmla="*/ 0 w 79"/>
                  <a:gd name="T1" fmla="*/ 25 h 63"/>
                  <a:gd name="T2" fmla="*/ 0 w 79"/>
                  <a:gd name="T3" fmla="*/ 8 h 63"/>
                  <a:gd name="T4" fmla="*/ 7 w 79"/>
                  <a:gd name="T5" fmla="*/ 0 h 63"/>
                  <a:gd name="T6" fmla="*/ 49 w 79"/>
                  <a:gd name="T7" fmla="*/ 0 h 63"/>
                  <a:gd name="T8" fmla="*/ 79 w 79"/>
                  <a:gd name="T9" fmla="*/ 18 h 63"/>
                  <a:gd name="T10" fmla="*/ 79 w 79"/>
                  <a:gd name="T11" fmla="*/ 25 h 63"/>
                  <a:gd name="T12" fmla="*/ 66 w 79"/>
                  <a:gd name="T13" fmla="*/ 40 h 63"/>
                  <a:gd name="T14" fmla="*/ 66 w 79"/>
                  <a:gd name="T15" fmla="*/ 55 h 63"/>
                  <a:gd name="T16" fmla="*/ 49 w 79"/>
                  <a:gd name="T17" fmla="*/ 55 h 63"/>
                  <a:gd name="T18" fmla="*/ 35 w 79"/>
                  <a:gd name="T19" fmla="*/ 63 h 63"/>
                  <a:gd name="T20" fmla="*/ 29 w 79"/>
                  <a:gd name="T21" fmla="*/ 63 h 63"/>
                  <a:gd name="T22" fmla="*/ 22 w 79"/>
                  <a:gd name="T23" fmla="*/ 55 h 63"/>
                  <a:gd name="T24" fmla="*/ 22 w 79"/>
                  <a:gd name="T25" fmla="*/ 25 h 63"/>
                  <a:gd name="T26" fmla="*/ 0 w 79"/>
                  <a:gd name="T27" fmla="*/ 25 h 63"/>
                  <a:gd name="T28" fmla="*/ 0 w 79"/>
                  <a:gd name="T29" fmla="*/ 25 h 63"/>
                  <a:gd name="T30" fmla="*/ 0 w 79"/>
                  <a:gd name="T31" fmla="*/ 25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79" h="63">
                    <a:moveTo>
                      <a:pt x="0" y="25"/>
                    </a:moveTo>
                    <a:lnTo>
                      <a:pt x="0" y="8"/>
                    </a:lnTo>
                    <a:lnTo>
                      <a:pt x="7" y="0"/>
                    </a:lnTo>
                    <a:lnTo>
                      <a:pt x="49" y="0"/>
                    </a:lnTo>
                    <a:lnTo>
                      <a:pt x="79" y="18"/>
                    </a:lnTo>
                    <a:lnTo>
                      <a:pt x="79" y="25"/>
                    </a:lnTo>
                    <a:lnTo>
                      <a:pt x="66" y="40"/>
                    </a:lnTo>
                    <a:lnTo>
                      <a:pt x="66" y="55"/>
                    </a:lnTo>
                    <a:lnTo>
                      <a:pt x="49" y="55"/>
                    </a:lnTo>
                    <a:lnTo>
                      <a:pt x="35" y="63"/>
                    </a:lnTo>
                    <a:lnTo>
                      <a:pt x="29" y="63"/>
                    </a:lnTo>
                    <a:lnTo>
                      <a:pt x="22" y="55"/>
                    </a:lnTo>
                    <a:lnTo>
                      <a:pt x="22" y="25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61" name="Freeform 296"/>
              <p:cNvSpPr>
                <a:spLocks/>
              </p:cNvSpPr>
              <p:nvPr/>
            </p:nvSpPr>
            <p:spPr bwMode="auto">
              <a:xfrm>
                <a:off x="4881563" y="3127375"/>
                <a:ext cx="104775" cy="82550"/>
              </a:xfrm>
              <a:custGeom>
                <a:avLst/>
                <a:gdLst>
                  <a:gd name="T0" fmla="*/ 8 w 60"/>
                  <a:gd name="T1" fmla="*/ 37 h 47"/>
                  <a:gd name="T2" fmla="*/ 0 w 60"/>
                  <a:gd name="T3" fmla="*/ 23 h 47"/>
                  <a:gd name="T4" fmla="*/ 0 w 60"/>
                  <a:gd name="T5" fmla="*/ 8 h 47"/>
                  <a:gd name="T6" fmla="*/ 8 w 60"/>
                  <a:gd name="T7" fmla="*/ 0 h 47"/>
                  <a:gd name="T8" fmla="*/ 60 w 60"/>
                  <a:gd name="T9" fmla="*/ 0 h 47"/>
                  <a:gd name="T10" fmla="*/ 54 w 60"/>
                  <a:gd name="T11" fmla="*/ 8 h 47"/>
                  <a:gd name="T12" fmla="*/ 45 w 60"/>
                  <a:gd name="T13" fmla="*/ 8 h 47"/>
                  <a:gd name="T14" fmla="*/ 54 w 60"/>
                  <a:gd name="T15" fmla="*/ 37 h 47"/>
                  <a:gd name="T16" fmla="*/ 54 w 60"/>
                  <a:gd name="T17" fmla="*/ 47 h 47"/>
                  <a:gd name="T18" fmla="*/ 37 w 60"/>
                  <a:gd name="T19" fmla="*/ 47 h 47"/>
                  <a:gd name="T20" fmla="*/ 15 w 60"/>
                  <a:gd name="T21" fmla="*/ 37 h 47"/>
                  <a:gd name="T22" fmla="*/ 8 w 60"/>
                  <a:gd name="T23" fmla="*/ 37 h 47"/>
                  <a:gd name="T24" fmla="*/ 8 w 60"/>
                  <a:gd name="T25" fmla="*/ 37 h 47"/>
                  <a:gd name="T26" fmla="*/ 8 w 60"/>
                  <a:gd name="T27" fmla="*/ 3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0" h="47">
                    <a:moveTo>
                      <a:pt x="8" y="37"/>
                    </a:moveTo>
                    <a:lnTo>
                      <a:pt x="0" y="23"/>
                    </a:lnTo>
                    <a:lnTo>
                      <a:pt x="0" y="8"/>
                    </a:lnTo>
                    <a:lnTo>
                      <a:pt x="8" y="0"/>
                    </a:lnTo>
                    <a:lnTo>
                      <a:pt x="60" y="0"/>
                    </a:lnTo>
                    <a:lnTo>
                      <a:pt x="54" y="8"/>
                    </a:lnTo>
                    <a:lnTo>
                      <a:pt x="45" y="8"/>
                    </a:lnTo>
                    <a:lnTo>
                      <a:pt x="54" y="37"/>
                    </a:lnTo>
                    <a:lnTo>
                      <a:pt x="54" y="47"/>
                    </a:lnTo>
                    <a:lnTo>
                      <a:pt x="37" y="47"/>
                    </a:lnTo>
                    <a:lnTo>
                      <a:pt x="15" y="37"/>
                    </a:lnTo>
                    <a:lnTo>
                      <a:pt x="8" y="37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62" name="Freeform 297"/>
              <p:cNvSpPr>
                <a:spLocks/>
              </p:cNvSpPr>
              <p:nvPr/>
            </p:nvSpPr>
            <p:spPr bwMode="auto">
              <a:xfrm>
                <a:off x="4781550" y="3311525"/>
                <a:ext cx="77788" cy="50800"/>
              </a:xfrm>
              <a:custGeom>
                <a:avLst/>
                <a:gdLst>
                  <a:gd name="T0" fmla="*/ 44 w 44"/>
                  <a:gd name="T1" fmla="*/ 0 h 30"/>
                  <a:gd name="T2" fmla="*/ 44 w 44"/>
                  <a:gd name="T3" fmla="*/ 30 h 30"/>
                  <a:gd name="T4" fmla="*/ 22 w 44"/>
                  <a:gd name="T5" fmla="*/ 30 h 30"/>
                  <a:gd name="T6" fmla="*/ 0 w 44"/>
                  <a:gd name="T7" fmla="*/ 24 h 30"/>
                  <a:gd name="T8" fmla="*/ 13 w 44"/>
                  <a:gd name="T9" fmla="*/ 17 h 30"/>
                  <a:gd name="T10" fmla="*/ 22 w 44"/>
                  <a:gd name="T11" fmla="*/ 0 h 30"/>
                  <a:gd name="T12" fmla="*/ 44 w 44"/>
                  <a:gd name="T13" fmla="*/ 0 h 30"/>
                  <a:gd name="T14" fmla="*/ 44 w 44"/>
                  <a:gd name="T1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4" h="30">
                    <a:moveTo>
                      <a:pt x="44" y="0"/>
                    </a:moveTo>
                    <a:lnTo>
                      <a:pt x="44" y="30"/>
                    </a:lnTo>
                    <a:lnTo>
                      <a:pt x="22" y="30"/>
                    </a:lnTo>
                    <a:lnTo>
                      <a:pt x="0" y="24"/>
                    </a:lnTo>
                    <a:lnTo>
                      <a:pt x="13" y="17"/>
                    </a:lnTo>
                    <a:lnTo>
                      <a:pt x="22" y="0"/>
                    </a:lnTo>
                    <a:lnTo>
                      <a:pt x="44" y="0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63" name="Freeform 298"/>
              <p:cNvSpPr>
                <a:spLocks/>
              </p:cNvSpPr>
              <p:nvPr/>
            </p:nvSpPr>
            <p:spPr bwMode="auto">
              <a:xfrm>
                <a:off x="4576763" y="2560638"/>
                <a:ext cx="304800" cy="746125"/>
              </a:xfrm>
              <a:custGeom>
                <a:avLst/>
                <a:gdLst>
                  <a:gd name="T0" fmla="*/ 0 w 173"/>
                  <a:gd name="T1" fmla="*/ 338 h 427"/>
                  <a:gd name="T2" fmla="*/ 11 w 173"/>
                  <a:gd name="T3" fmla="*/ 338 h 427"/>
                  <a:gd name="T4" fmla="*/ 11 w 173"/>
                  <a:gd name="T5" fmla="*/ 308 h 427"/>
                  <a:gd name="T6" fmla="*/ 22 w 173"/>
                  <a:gd name="T7" fmla="*/ 303 h 427"/>
                  <a:gd name="T8" fmla="*/ 22 w 173"/>
                  <a:gd name="T9" fmla="*/ 264 h 427"/>
                  <a:gd name="T10" fmla="*/ 11 w 173"/>
                  <a:gd name="T11" fmla="*/ 224 h 427"/>
                  <a:gd name="T12" fmla="*/ 22 w 173"/>
                  <a:gd name="T13" fmla="*/ 189 h 427"/>
                  <a:gd name="T14" fmla="*/ 44 w 173"/>
                  <a:gd name="T15" fmla="*/ 174 h 427"/>
                  <a:gd name="T16" fmla="*/ 36 w 173"/>
                  <a:gd name="T17" fmla="*/ 152 h 427"/>
                  <a:gd name="T18" fmla="*/ 52 w 173"/>
                  <a:gd name="T19" fmla="*/ 108 h 427"/>
                  <a:gd name="T20" fmla="*/ 74 w 173"/>
                  <a:gd name="T21" fmla="*/ 83 h 427"/>
                  <a:gd name="T22" fmla="*/ 74 w 173"/>
                  <a:gd name="T23" fmla="*/ 61 h 427"/>
                  <a:gd name="T24" fmla="*/ 89 w 173"/>
                  <a:gd name="T25" fmla="*/ 32 h 427"/>
                  <a:gd name="T26" fmla="*/ 94 w 173"/>
                  <a:gd name="T27" fmla="*/ 32 h 427"/>
                  <a:gd name="T28" fmla="*/ 94 w 173"/>
                  <a:gd name="T29" fmla="*/ 17 h 427"/>
                  <a:gd name="T30" fmla="*/ 124 w 173"/>
                  <a:gd name="T31" fmla="*/ 17 h 427"/>
                  <a:gd name="T32" fmla="*/ 124 w 173"/>
                  <a:gd name="T33" fmla="*/ 0 h 427"/>
                  <a:gd name="T34" fmla="*/ 131 w 173"/>
                  <a:gd name="T35" fmla="*/ 0 h 427"/>
                  <a:gd name="T36" fmla="*/ 166 w 173"/>
                  <a:gd name="T37" fmla="*/ 32 h 427"/>
                  <a:gd name="T38" fmla="*/ 173 w 173"/>
                  <a:gd name="T39" fmla="*/ 120 h 427"/>
                  <a:gd name="T40" fmla="*/ 161 w 173"/>
                  <a:gd name="T41" fmla="*/ 120 h 427"/>
                  <a:gd name="T42" fmla="*/ 140 w 173"/>
                  <a:gd name="T43" fmla="*/ 137 h 427"/>
                  <a:gd name="T44" fmla="*/ 140 w 173"/>
                  <a:gd name="T45" fmla="*/ 152 h 427"/>
                  <a:gd name="T46" fmla="*/ 146 w 173"/>
                  <a:gd name="T47" fmla="*/ 167 h 427"/>
                  <a:gd name="T48" fmla="*/ 103 w 173"/>
                  <a:gd name="T49" fmla="*/ 211 h 427"/>
                  <a:gd name="T50" fmla="*/ 89 w 173"/>
                  <a:gd name="T51" fmla="*/ 241 h 427"/>
                  <a:gd name="T52" fmla="*/ 89 w 173"/>
                  <a:gd name="T53" fmla="*/ 285 h 427"/>
                  <a:gd name="T54" fmla="*/ 103 w 173"/>
                  <a:gd name="T55" fmla="*/ 308 h 427"/>
                  <a:gd name="T56" fmla="*/ 94 w 173"/>
                  <a:gd name="T57" fmla="*/ 323 h 427"/>
                  <a:gd name="T58" fmla="*/ 94 w 173"/>
                  <a:gd name="T59" fmla="*/ 332 h 427"/>
                  <a:gd name="T60" fmla="*/ 81 w 173"/>
                  <a:gd name="T61" fmla="*/ 347 h 427"/>
                  <a:gd name="T62" fmla="*/ 74 w 173"/>
                  <a:gd name="T63" fmla="*/ 412 h 427"/>
                  <a:gd name="T64" fmla="*/ 52 w 173"/>
                  <a:gd name="T65" fmla="*/ 412 h 427"/>
                  <a:gd name="T66" fmla="*/ 44 w 173"/>
                  <a:gd name="T67" fmla="*/ 422 h 427"/>
                  <a:gd name="T68" fmla="*/ 44 w 173"/>
                  <a:gd name="T69" fmla="*/ 427 h 427"/>
                  <a:gd name="T70" fmla="*/ 31 w 173"/>
                  <a:gd name="T71" fmla="*/ 427 h 427"/>
                  <a:gd name="T72" fmla="*/ 22 w 173"/>
                  <a:gd name="T73" fmla="*/ 412 h 427"/>
                  <a:gd name="T74" fmla="*/ 31 w 173"/>
                  <a:gd name="T75" fmla="*/ 406 h 427"/>
                  <a:gd name="T76" fmla="*/ 0 w 173"/>
                  <a:gd name="T77" fmla="*/ 338 h 427"/>
                  <a:gd name="T78" fmla="*/ 0 w 173"/>
                  <a:gd name="T79" fmla="*/ 338 h 427"/>
                  <a:gd name="T80" fmla="*/ 0 w 173"/>
                  <a:gd name="T81" fmla="*/ 338 h 4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73" h="427">
                    <a:moveTo>
                      <a:pt x="0" y="338"/>
                    </a:moveTo>
                    <a:lnTo>
                      <a:pt x="11" y="338"/>
                    </a:lnTo>
                    <a:lnTo>
                      <a:pt x="11" y="308"/>
                    </a:lnTo>
                    <a:lnTo>
                      <a:pt x="22" y="303"/>
                    </a:lnTo>
                    <a:lnTo>
                      <a:pt x="22" y="264"/>
                    </a:lnTo>
                    <a:lnTo>
                      <a:pt x="11" y="224"/>
                    </a:lnTo>
                    <a:lnTo>
                      <a:pt x="22" y="189"/>
                    </a:lnTo>
                    <a:lnTo>
                      <a:pt x="44" y="174"/>
                    </a:lnTo>
                    <a:lnTo>
                      <a:pt x="36" y="152"/>
                    </a:lnTo>
                    <a:lnTo>
                      <a:pt x="52" y="108"/>
                    </a:lnTo>
                    <a:lnTo>
                      <a:pt x="74" y="83"/>
                    </a:lnTo>
                    <a:lnTo>
                      <a:pt x="74" y="61"/>
                    </a:lnTo>
                    <a:lnTo>
                      <a:pt x="89" y="32"/>
                    </a:lnTo>
                    <a:lnTo>
                      <a:pt x="94" y="32"/>
                    </a:lnTo>
                    <a:lnTo>
                      <a:pt x="94" y="17"/>
                    </a:lnTo>
                    <a:lnTo>
                      <a:pt x="124" y="17"/>
                    </a:lnTo>
                    <a:lnTo>
                      <a:pt x="124" y="0"/>
                    </a:lnTo>
                    <a:lnTo>
                      <a:pt x="131" y="0"/>
                    </a:lnTo>
                    <a:lnTo>
                      <a:pt x="166" y="32"/>
                    </a:lnTo>
                    <a:lnTo>
                      <a:pt x="173" y="120"/>
                    </a:lnTo>
                    <a:lnTo>
                      <a:pt x="161" y="120"/>
                    </a:lnTo>
                    <a:lnTo>
                      <a:pt x="140" y="137"/>
                    </a:lnTo>
                    <a:lnTo>
                      <a:pt x="140" y="152"/>
                    </a:lnTo>
                    <a:lnTo>
                      <a:pt x="146" y="167"/>
                    </a:lnTo>
                    <a:lnTo>
                      <a:pt x="103" y="211"/>
                    </a:lnTo>
                    <a:lnTo>
                      <a:pt x="89" y="241"/>
                    </a:lnTo>
                    <a:lnTo>
                      <a:pt x="89" y="285"/>
                    </a:lnTo>
                    <a:lnTo>
                      <a:pt x="103" y="308"/>
                    </a:lnTo>
                    <a:lnTo>
                      <a:pt x="94" y="323"/>
                    </a:lnTo>
                    <a:lnTo>
                      <a:pt x="94" y="332"/>
                    </a:lnTo>
                    <a:lnTo>
                      <a:pt x="81" y="347"/>
                    </a:lnTo>
                    <a:lnTo>
                      <a:pt x="74" y="412"/>
                    </a:lnTo>
                    <a:lnTo>
                      <a:pt x="52" y="412"/>
                    </a:lnTo>
                    <a:lnTo>
                      <a:pt x="44" y="422"/>
                    </a:lnTo>
                    <a:lnTo>
                      <a:pt x="44" y="427"/>
                    </a:lnTo>
                    <a:lnTo>
                      <a:pt x="31" y="427"/>
                    </a:lnTo>
                    <a:lnTo>
                      <a:pt x="22" y="412"/>
                    </a:lnTo>
                    <a:lnTo>
                      <a:pt x="31" y="406"/>
                    </a:lnTo>
                    <a:lnTo>
                      <a:pt x="0" y="338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64" name="Freeform 299"/>
              <p:cNvSpPr>
                <a:spLocks/>
              </p:cNvSpPr>
              <p:nvPr/>
            </p:nvSpPr>
            <p:spPr bwMode="auto">
              <a:xfrm>
                <a:off x="5121275" y="4133850"/>
                <a:ext cx="46038" cy="103188"/>
              </a:xfrm>
              <a:custGeom>
                <a:avLst/>
                <a:gdLst>
                  <a:gd name="T0" fmla="*/ 22 w 27"/>
                  <a:gd name="T1" fmla="*/ 8 h 60"/>
                  <a:gd name="T2" fmla="*/ 22 w 27"/>
                  <a:gd name="T3" fmla="*/ 38 h 60"/>
                  <a:gd name="T4" fmla="*/ 8 w 27"/>
                  <a:gd name="T5" fmla="*/ 60 h 60"/>
                  <a:gd name="T6" fmla="*/ 0 w 27"/>
                  <a:gd name="T7" fmla="*/ 30 h 60"/>
                  <a:gd name="T8" fmla="*/ 22 w 27"/>
                  <a:gd name="T9" fmla="*/ 0 h 60"/>
                  <a:gd name="T10" fmla="*/ 27 w 27"/>
                  <a:gd name="T11" fmla="*/ 0 h 60"/>
                  <a:gd name="T12" fmla="*/ 22 w 27"/>
                  <a:gd name="T13" fmla="*/ 8 h 60"/>
                  <a:gd name="T14" fmla="*/ 22 w 27"/>
                  <a:gd name="T15" fmla="*/ 8 h 60"/>
                  <a:gd name="T16" fmla="*/ 22 w 27"/>
                  <a:gd name="T17" fmla="*/ 8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7" h="60">
                    <a:moveTo>
                      <a:pt x="22" y="8"/>
                    </a:moveTo>
                    <a:lnTo>
                      <a:pt x="22" y="38"/>
                    </a:lnTo>
                    <a:lnTo>
                      <a:pt x="8" y="60"/>
                    </a:lnTo>
                    <a:lnTo>
                      <a:pt x="0" y="30"/>
                    </a:lnTo>
                    <a:lnTo>
                      <a:pt x="22" y="0"/>
                    </a:lnTo>
                    <a:lnTo>
                      <a:pt x="27" y="0"/>
                    </a:lnTo>
                    <a:lnTo>
                      <a:pt x="22" y="8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65" name="Freeform 300"/>
              <p:cNvSpPr>
                <a:spLocks/>
              </p:cNvSpPr>
              <p:nvPr/>
            </p:nvSpPr>
            <p:spPr bwMode="auto">
              <a:xfrm>
                <a:off x="5246688" y="3978275"/>
                <a:ext cx="219075" cy="258763"/>
              </a:xfrm>
              <a:custGeom>
                <a:avLst/>
                <a:gdLst>
                  <a:gd name="T0" fmla="*/ 75 w 125"/>
                  <a:gd name="T1" fmla="*/ 8 h 146"/>
                  <a:gd name="T2" fmla="*/ 82 w 125"/>
                  <a:gd name="T3" fmla="*/ 24 h 146"/>
                  <a:gd name="T4" fmla="*/ 89 w 125"/>
                  <a:gd name="T5" fmla="*/ 24 h 146"/>
                  <a:gd name="T6" fmla="*/ 89 w 125"/>
                  <a:gd name="T7" fmla="*/ 45 h 146"/>
                  <a:gd name="T8" fmla="*/ 82 w 125"/>
                  <a:gd name="T9" fmla="*/ 61 h 146"/>
                  <a:gd name="T10" fmla="*/ 89 w 125"/>
                  <a:gd name="T11" fmla="*/ 84 h 146"/>
                  <a:gd name="T12" fmla="*/ 104 w 125"/>
                  <a:gd name="T13" fmla="*/ 91 h 146"/>
                  <a:gd name="T14" fmla="*/ 119 w 125"/>
                  <a:gd name="T15" fmla="*/ 123 h 146"/>
                  <a:gd name="T16" fmla="*/ 125 w 125"/>
                  <a:gd name="T17" fmla="*/ 129 h 146"/>
                  <a:gd name="T18" fmla="*/ 125 w 125"/>
                  <a:gd name="T19" fmla="*/ 136 h 146"/>
                  <a:gd name="T20" fmla="*/ 104 w 125"/>
                  <a:gd name="T21" fmla="*/ 136 h 146"/>
                  <a:gd name="T22" fmla="*/ 97 w 125"/>
                  <a:gd name="T23" fmla="*/ 146 h 146"/>
                  <a:gd name="T24" fmla="*/ 82 w 125"/>
                  <a:gd name="T25" fmla="*/ 136 h 146"/>
                  <a:gd name="T26" fmla="*/ 75 w 125"/>
                  <a:gd name="T27" fmla="*/ 146 h 146"/>
                  <a:gd name="T28" fmla="*/ 57 w 125"/>
                  <a:gd name="T29" fmla="*/ 136 h 146"/>
                  <a:gd name="T30" fmla="*/ 57 w 125"/>
                  <a:gd name="T31" fmla="*/ 129 h 146"/>
                  <a:gd name="T32" fmla="*/ 20 w 125"/>
                  <a:gd name="T33" fmla="*/ 101 h 146"/>
                  <a:gd name="T34" fmla="*/ 0 w 125"/>
                  <a:gd name="T35" fmla="*/ 91 h 146"/>
                  <a:gd name="T36" fmla="*/ 0 w 125"/>
                  <a:gd name="T37" fmla="*/ 76 h 146"/>
                  <a:gd name="T38" fmla="*/ 20 w 125"/>
                  <a:gd name="T39" fmla="*/ 54 h 146"/>
                  <a:gd name="T40" fmla="*/ 33 w 125"/>
                  <a:gd name="T41" fmla="*/ 15 h 146"/>
                  <a:gd name="T42" fmla="*/ 47 w 125"/>
                  <a:gd name="T43" fmla="*/ 8 h 146"/>
                  <a:gd name="T44" fmla="*/ 47 w 125"/>
                  <a:gd name="T45" fmla="*/ 0 h 146"/>
                  <a:gd name="T46" fmla="*/ 75 w 125"/>
                  <a:gd name="T47" fmla="*/ 8 h 146"/>
                  <a:gd name="T48" fmla="*/ 75 w 125"/>
                  <a:gd name="T49" fmla="*/ 8 h 146"/>
                  <a:gd name="T50" fmla="*/ 75 w 125"/>
                  <a:gd name="T51" fmla="*/ 8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25" h="146">
                    <a:moveTo>
                      <a:pt x="75" y="8"/>
                    </a:moveTo>
                    <a:lnTo>
                      <a:pt x="82" y="24"/>
                    </a:lnTo>
                    <a:lnTo>
                      <a:pt x="89" y="24"/>
                    </a:lnTo>
                    <a:lnTo>
                      <a:pt x="89" y="45"/>
                    </a:lnTo>
                    <a:lnTo>
                      <a:pt x="82" y="61"/>
                    </a:lnTo>
                    <a:lnTo>
                      <a:pt x="89" y="84"/>
                    </a:lnTo>
                    <a:lnTo>
                      <a:pt x="104" y="91"/>
                    </a:lnTo>
                    <a:lnTo>
                      <a:pt x="119" y="123"/>
                    </a:lnTo>
                    <a:lnTo>
                      <a:pt x="125" y="129"/>
                    </a:lnTo>
                    <a:lnTo>
                      <a:pt x="125" y="136"/>
                    </a:lnTo>
                    <a:lnTo>
                      <a:pt x="104" y="136"/>
                    </a:lnTo>
                    <a:lnTo>
                      <a:pt x="97" y="146"/>
                    </a:lnTo>
                    <a:lnTo>
                      <a:pt x="82" y="136"/>
                    </a:lnTo>
                    <a:lnTo>
                      <a:pt x="75" y="146"/>
                    </a:lnTo>
                    <a:lnTo>
                      <a:pt x="57" y="136"/>
                    </a:lnTo>
                    <a:lnTo>
                      <a:pt x="57" y="129"/>
                    </a:lnTo>
                    <a:lnTo>
                      <a:pt x="20" y="101"/>
                    </a:lnTo>
                    <a:lnTo>
                      <a:pt x="0" y="91"/>
                    </a:lnTo>
                    <a:lnTo>
                      <a:pt x="0" y="76"/>
                    </a:lnTo>
                    <a:lnTo>
                      <a:pt x="20" y="54"/>
                    </a:lnTo>
                    <a:lnTo>
                      <a:pt x="33" y="15"/>
                    </a:lnTo>
                    <a:lnTo>
                      <a:pt x="47" y="8"/>
                    </a:lnTo>
                    <a:lnTo>
                      <a:pt x="47" y="0"/>
                    </a:lnTo>
                    <a:lnTo>
                      <a:pt x="75" y="8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66" name="Freeform 301"/>
              <p:cNvSpPr>
                <a:spLocks/>
              </p:cNvSpPr>
              <p:nvPr/>
            </p:nvSpPr>
            <p:spPr bwMode="auto">
              <a:xfrm>
                <a:off x="5068888" y="4051300"/>
                <a:ext cx="61912" cy="49213"/>
              </a:xfrm>
              <a:custGeom>
                <a:avLst/>
                <a:gdLst>
                  <a:gd name="T0" fmla="*/ 0 w 36"/>
                  <a:gd name="T1" fmla="*/ 11 h 28"/>
                  <a:gd name="T2" fmla="*/ 15 w 36"/>
                  <a:gd name="T3" fmla="*/ 28 h 28"/>
                  <a:gd name="T4" fmla="*/ 23 w 36"/>
                  <a:gd name="T5" fmla="*/ 28 h 28"/>
                  <a:gd name="T6" fmla="*/ 28 w 36"/>
                  <a:gd name="T7" fmla="*/ 11 h 28"/>
                  <a:gd name="T8" fmla="*/ 36 w 36"/>
                  <a:gd name="T9" fmla="*/ 0 h 28"/>
                  <a:gd name="T10" fmla="*/ 0 w 36"/>
                  <a:gd name="T11" fmla="*/ 11 h 28"/>
                  <a:gd name="T12" fmla="*/ 0 w 36"/>
                  <a:gd name="T13" fmla="*/ 11 h 28"/>
                  <a:gd name="T14" fmla="*/ 0 w 36"/>
                  <a:gd name="T15" fmla="*/ 11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6" h="28">
                    <a:moveTo>
                      <a:pt x="0" y="11"/>
                    </a:moveTo>
                    <a:lnTo>
                      <a:pt x="15" y="28"/>
                    </a:lnTo>
                    <a:lnTo>
                      <a:pt x="23" y="28"/>
                    </a:lnTo>
                    <a:lnTo>
                      <a:pt x="28" y="11"/>
                    </a:lnTo>
                    <a:lnTo>
                      <a:pt x="36" y="0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67" name="Freeform 302"/>
              <p:cNvSpPr>
                <a:spLocks/>
              </p:cNvSpPr>
              <p:nvPr/>
            </p:nvSpPr>
            <p:spPr bwMode="auto">
              <a:xfrm>
                <a:off x="4943475" y="3589338"/>
                <a:ext cx="87313" cy="120650"/>
              </a:xfrm>
              <a:custGeom>
                <a:avLst/>
                <a:gdLst>
                  <a:gd name="T0" fmla="*/ 0 w 50"/>
                  <a:gd name="T1" fmla="*/ 6 h 69"/>
                  <a:gd name="T2" fmla="*/ 7 w 50"/>
                  <a:gd name="T3" fmla="*/ 6 h 69"/>
                  <a:gd name="T4" fmla="*/ 24 w 50"/>
                  <a:gd name="T5" fmla="*/ 37 h 69"/>
                  <a:gd name="T6" fmla="*/ 24 w 50"/>
                  <a:gd name="T7" fmla="*/ 69 h 69"/>
                  <a:gd name="T8" fmla="*/ 29 w 50"/>
                  <a:gd name="T9" fmla="*/ 45 h 69"/>
                  <a:gd name="T10" fmla="*/ 50 w 50"/>
                  <a:gd name="T11" fmla="*/ 45 h 69"/>
                  <a:gd name="T12" fmla="*/ 50 w 50"/>
                  <a:gd name="T13" fmla="*/ 37 h 69"/>
                  <a:gd name="T14" fmla="*/ 45 w 50"/>
                  <a:gd name="T15" fmla="*/ 22 h 69"/>
                  <a:gd name="T16" fmla="*/ 45 w 50"/>
                  <a:gd name="T17" fmla="*/ 6 h 69"/>
                  <a:gd name="T18" fmla="*/ 17 w 50"/>
                  <a:gd name="T19" fmla="*/ 0 h 69"/>
                  <a:gd name="T20" fmla="*/ 0 w 50"/>
                  <a:gd name="T21" fmla="*/ 6 h 69"/>
                  <a:gd name="T22" fmla="*/ 0 w 50"/>
                  <a:gd name="T23" fmla="*/ 6 h 69"/>
                  <a:gd name="T24" fmla="*/ 0 w 50"/>
                  <a:gd name="T25" fmla="*/ 6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0" h="69">
                    <a:moveTo>
                      <a:pt x="0" y="6"/>
                    </a:moveTo>
                    <a:lnTo>
                      <a:pt x="7" y="6"/>
                    </a:lnTo>
                    <a:lnTo>
                      <a:pt x="24" y="37"/>
                    </a:lnTo>
                    <a:lnTo>
                      <a:pt x="24" y="69"/>
                    </a:lnTo>
                    <a:lnTo>
                      <a:pt x="29" y="45"/>
                    </a:lnTo>
                    <a:lnTo>
                      <a:pt x="50" y="45"/>
                    </a:lnTo>
                    <a:lnTo>
                      <a:pt x="50" y="37"/>
                    </a:lnTo>
                    <a:lnTo>
                      <a:pt x="45" y="22"/>
                    </a:lnTo>
                    <a:lnTo>
                      <a:pt x="45" y="6"/>
                    </a:lnTo>
                    <a:lnTo>
                      <a:pt x="17" y="0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68" name="Freeform 303"/>
              <p:cNvSpPr>
                <a:spLocks/>
              </p:cNvSpPr>
              <p:nvPr/>
            </p:nvSpPr>
            <p:spPr bwMode="auto">
              <a:xfrm>
                <a:off x="4130675" y="3311525"/>
                <a:ext cx="68263" cy="73025"/>
              </a:xfrm>
              <a:custGeom>
                <a:avLst/>
                <a:gdLst>
                  <a:gd name="T0" fmla="*/ 30 w 38"/>
                  <a:gd name="T1" fmla="*/ 42 h 42"/>
                  <a:gd name="T2" fmla="*/ 30 w 38"/>
                  <a:gd name="T3" fmla="*/ 32 h 42"/>
                  <a:gd name="T4" fmla="*/ 8 w 38"/>
                  <a:gd name="T5" fmla="*/ 32 h 42"/>
                  <a:gd name="T6" fmla="*/ 0 w 38"/>
                  <a:gd name="T7" fmla="*/ 25 h 42"/>
                  <a:gd name="T8" fmla="*/ 8 w 38"/>
                  <a:gd name="T9" fmla="*/ 0 h 42"/>
                  <a:gd name="T10" fmla="*/ 30 w 38"/>
                  <a:gd name="T11" fmla="*/ 19 h 42"/>
                  <a:gd name="T12" fmla="*/ 38 w 38"/>
                  <a:gd name="T13" fmla="*/ 32 h 42"/>
                  <a:gd name="T14" fmla="*/ 30 w 38"/>
                  <a:gd name="T15" fmla="*/ 42 h 42"/>
                  <a:gd name="T16" fmla="*/ 30 w 38"/>
                  <a:gd name="T17" fmla="*/ 42 h 42"/>
                  <a:gd name="T18" fmla="*/ 30 w 38"/>
                  <a:gd name="T19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8" h="42">
                    <a:moveTo>
                      <a:pt x="30" y="42"/>
                    </a:moveTo>
                    <a:lnTo>
                      <a:pt x="30" y="32"/>
                    </a:lnTo>
                    <a:lnTo>
                      <a:pt x="8" y="32"/>
                    </a:lnTo>
                    <a:lnTo>
                      <a:pt x="0" y="25"/>
                    </a:lnTo>
                    <a:lnTo>
                      <a:pt x="8" y="0"/>
                    </a:lnTo>
                    <a:lnTo>
                      <a:pt x="30" y="19"/>
                    </a:lnTo>
                    <a:lnTo>
                      <a:pt x="38" y="32"/>
                    </a:lnTo>
                    <a:lnTo>
                      <a:pt x="30" y="42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69" name="Freeform 304"/>
              <p:cNvSpPr>
                <a:spLocks/>
              </p:cNvSpPr>
              <p:nvPr/>
            </p:nvSpPr>
            <p:spPr bwMode="auto">
              <a:xfrm>
                <a:off x="4070350" y="3311525"/>
                <a:ext cx="114300" cy="171450"/>
              </a:xfrm>
              <a:custGeom>
                <a:avLst/>
                <a:gdLst>
                  <a:gd name="T0" fmla="*/ 43 w 65"/>
                  <a:gd name="T1" fmla="*/ 0 h 99"/>
                  <a:gd name="T2" fmla="*/ 35 w 65"/>
                  <a:gd name="T3" fmla="*/ 24 h 99"/>
                  <a:gd name="T4" fmla="*/ 43 w 65"/>
                  <a:gd name="T5" fmla="*/ 30 h 99"/>
                  <a:gd name="T6" fmla="*/ 65 w 65"/>
                  <a:gd name="T7" fmla="*/ 30 h 99"/>
                  <a:gd name="T8" fmla="*/ 65 w 65"/>
                  <a:gd name="T9" fmla="*/ 64 h 99"/>
                  <a:gd name="T10" fmla="*/ 48 w 65"/>
                  <a:gd name="T11" fmla="*/ 84 h 99"/>
                  <a:gd name="T12" fmla="*/ 5 w 65"/>
                  <a:gd name="T13" fmla="*/ 99 h 99"/>
                  <a:gd name="T14" fmla="*/ 0 w 65"/>
                  <a:gd name="T15" fmla="*/ 84 h 99"/>
                  <a:gd name="T16" fmla="*/ 5 w 65"/>
                  <a:gd name="T17" fmla="*/ 84 h 99"/>
                  <a:gd name="T18" fmla="*/ 20 w 65"/>
                  <a:gd name="T19" fmla="*/ 64 h 99"/>
                  <a:gd name="T20" fmla="*/ 5 w 65"/>
                  <a:gd name="T21" fmla="*/ 56 h 99"/>
                  <a:gd name="T22" fmla="*/ 20 w 65"/>
                  <a:gd name="T23" fmla="*/ 40 h 99"/>
                  <a:gd name="T24" fmla="*/ 5 w 65"/>
                  <a:gd name="T25" fmla="*/ 40 h 99"/>
                  <a:gd name="T26" fmla="*/ 5 w 65"/>
                  <a:gd name="T27" fmla="*/ 30 h 99"/>
                  <a:gd name="T28" fmla="*/ 26 w 65"/>
                  <a:gd name="T29" fmla="*/ 30 h 99"/>
                  <a:gd name="T30" fmla="*/ 35 w 65"/>
                  <a:gd name="T31" fmla="*/ 24 h 99"/>
                  <a:gd name="T32" fmla="*/ 26 w 65"/>
                  <a:gd name="T33" fmla="*/ 24 h 99"/>
                  <a:gd name="T34" fmla="*/ 26 w 65"/>
                  <a:gd name="T35" fmla="*/ 15 h 99"/>
                  <a:gd name="T36" fmla="*/ 43 w 65"/>
                  <a:gd name="T37" fmla="*/ 0 h 99"/>
                  <a:gd name="T38" fmla="*/ 43 w 65"/>
                  <a:gd name="T39" fmla="*/ 0 h 99"/>
                  <a:gd name="T40" fmla="*/ 43 w 65"/>
                  <a:gd name="T41" fmla="*/ 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5" h="99">
                    <a:moveTo>
                      <a:pt x="43" y="0"/>
                    </a:moveTo>
                    <a:lnTo>
                      <a:pt x="35" y="24"/>
                    </a:lnTo>
                    <a:lnTo>
                      <a:pt x="43" y="30"/>
                    </a:lnTo>
                    <a:lnTo>
                      <a:pt x="65" y="30"/>
                    </a:lnTo>
                    <a:lnTo>
                      <a:pt x="65" y="64"/>
                    </a:lnTo>
                    <a:lnTo>
                      <a:pt x="48" y="84"/>
                    </a:lnTo>
                    <a:lnTo>
                      <a:pt x="5" y="99"/>
                    </a:lnTo>
                    <a:lnTo>
                      <a:pt x="0" y="84"/>
                    </a:lnTo>
                    <a:lnTo>
                      <a:pt x="5" y="84"/>
                    </a:lnTo>
                    <a:lnTo>
                      <a:pt x="20" y="64"/>
                    </a:lnTo>
                    <a:lnTo>
                      <a:pt x="5" y="56"/>
                    </a:lnTo>
                    <a:lnTo>
                      <a:pt x="20" y="40"/>
                    </a:lnTo>
                    <a:lnTo>
                      <a:pt x="5" y="40"/>
                    </a:lnTo>
                    <a:lnTo>
                      <a:pt x="5" y="30"/>
                    </a:lnTo>
                    <a:lnTo>
                      <a:pt x="26" y="30"/>
                    </a:lnTo>
                    <a:lnTo>
                      <a:pt x="35" y="24"/>
                    </a:lnTo>
                    <a:lnTo>
                      <a:pt x="26" y="24"/>
                    </a:lnTo>
                    <a:lnTo>
                      <a:pt x="26" y="15"/>
                    </a:lnTo>
                    <a:lnTo>
                      <a:pt x="43" y="0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70" name="Freeform 305"/>
              <p:cNvSpPr>
                <a:spLocks/>
              </p:cNvSpPr>
              <p:nvPr/>
            </p:nvSpPr>
            <p:spPr bwMode="auto">
              <a:xfrm>
                <a:off x="4506913" y="3217863"/>
                <a:ext cx="69850" cy="122237"/>
              </a:xfrm>
              <a:custGeom>
                <a:avLst/>
                <a:gdLst>
                  <a:gd name="T0" fmla="*/ 10 w 40"/>
                  <a:gd name="T1" fmla="*/ 69 h 69"/>
                  <a:gd name="T2" fmla="*/ 30 w 40"/>
                  <a:gd name="T3" fmla="*/ 69 h 69"/>
                  <a:gd name="T4" fmla="*/ 35 w 40"/>
                  <a:gd name="T5" fmla="*/ 37 h 69"/>
                  <a:gd name="T6" fmla="*/ 40 w 40"/>
                  <a:gd name="T7" fmla="*/ 37 h 69"/>
                  <a:gd name="T8" fmla="*/ 40 w 40"/>
                  <a:gd name="T9" fmla="*/ 30 h 69"/>
                  <a:gd name="T10" fmla="*/ 35 w 40"/>
                  <a:gd name="T11" fmla="*/ 30 h 69"/>
                  <a:gd name="T12" fmla="*/ 35 w 40"/>
                  <a:gd name="T13" fmla="*/ 0 h 69"/>
                  <a:gd name="T14" fmla="*/ 10 w 40"/>
                  <a:gd name="T15" fmla="*/ 5 h 69"/>
                  <a:gd name="T16" fmla="*/ 0 w 40"/>
                  <a:gd name="T17" fmla="*/ 30 h 69"/>
                  <a:gd name="T18" fmla="*/ 0 w 40"/>
                  <a:gd name="T19" fmla="*/ 47 h 69"/>
                  <a:gd name="T20" fmla="*/ 10 w 40"/>
                  <a:gd name="T21" fmla="*/ 54 h 69"/>
                  <a:gd name="T22" fmla="*/ 10 w 40"/>
                  <a:gd name="T23" fmla="*/ 69 h 69"/>
                  <a:gd name="T24" fmla="*/ 10 w 40"/>
                  <a:gd name="T25" fmla="*/ 69 h 69"/>
                  <a:gd name="T26" fmla="*/ 10 w 40"/>
                  <a:gd name="T27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0" h="69">
                    <a:moveTo>
                      <a:pt x="10" y="69"/>
                    </a:moveTo>
                    <a:lnTo>
                      <a:pt x="30" y="69"/>
                    </a:lnTo>
                    <a:lnTo>
                      <a:pt x="35" y="37"/>
                    </a:lnTo>
                    <a:lnTo>
                      <a:pt x="40" y="37"/>
                    </a:lnTo>
                    <a:lnTo>
                      <a:pt x="40" y="30"/>
                    </a:lnTo>
                    <a:lnTo>
                      <a:pt x="35" y="30"/>
                    </a:lnTo>
                    <a:lnTo>
                      <a:pt x="35" y="0"/>
                    </a:lnTo>
                    <a:lnTo>
                      <a:pt x="10" y="5"/>
                    </a:lnTo>
                    <a:lnTo>
                      <a:pt x="0" y="30"/>
                    </a:lnTo>
                    <a:lnTo>
                      <a:pt x="0" y="47"/>
                    </a:lnTo>
                    <a:lnTo>
                      <a:pt x="10" y="54"/>
                    </a:lnTo>
                    <a:lnTo>
                      <a:pt x="10" y="69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71" name="Freeform 306"/>
              <p:cNvSpPr>
                <a:spLocks/>
              </p:cNvSpPr>
              <p:nvPr/>
            </p:nvSpPr>
            <p:spPr bwMode="auto">
              <a:xfrm>
                <a:off x="4408488" y="3409950"/>
                <a:ext cx="88900" cy="98425"/>
              </a:xfrm>
              <a:custGeom>
                <a:avLst/>
                <a:gdLst>
                  <a:gd name="T0" fmla="*/ 37 w 51"/>
                  <a:gd name="T1" fmla="*/ 56 h 56"/>
                  <a:gd name="T2" fmla="*/ 37 w 51"/>
                  <a:gd name="T3" fmla="*/ 27 h 56"/>
                  <a:gd name="T4" fmla="*/ 42 w 51"/>
                  <a:gd name="T5" fmla="*/ 20 h 56"/>
                  <a:gd name="T6" fmla="*/ 51 w 51"/>
                  <a:gd name="T7" fmla="*/ 0 h 56"/>
                  <a:gd name="T8" fmla="*/ 24 w 51"/>
                  <a:gd name="T9" fmla="*/ 9 h 56"/>
                  <a:gd name="T10" fmla="*/ 37 w 51"/>
                  <a:gd name="T11" fmla="*/ 20 h 56"/>
                  <a:gd name="T12" fmla="*/ 24 w 51"/>
                  <a:gd name="T13" fmla="*/ 20 h 56"/>
                  <a:gd name="T14" fmla="*/ 24 w 51"/>
                  <a:gd name="T15" fmla="*/ 15 h 56"/>
                  <a:gd name="T16" fmla="*/ 15 w 51"/>
                  <a:gd name="T17" fmla="*/ 15 h 56"/>
                  <a:gd name="T18" fmla="*/ 0 w 51"/>
                  <a:gd name="T19" fmla="*/ 49 h 56"/>
                  <a:gd name="T20" fmla="*/ 24 w 51"/>
                  <a:gd name="T21" fmla="*/ 49 h 56"/>
                  <a:gd name="T22" fmla="*/ 37 w 51"/>
                  <a:gd name="T23" fmla="*/ 56 h 56"/>
                  <a:gd name="T24" fmla="*/ 37 w 51"/>
                  <a:gd name="T25" fmla="*/ 56 h 56"/>
                  <a:gd name="T26" fmla="*/ 37 w 51"/>
                  <a:gd name="T27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1" h="56">
                    <a:moveTo>
                      <a:pt x="37" y="56"/>
                    </a:moveTo>
                    <a:lnTo>
                      <a:pt x="37" y="27"/>
                    </a:lnTo>
                    <a:lnTo>
                      <a:pt x="42" y="20"/>
                    </a:lnTo>
                    <a:lnTo>
                      <a:pt x="51" y="0"/>
                    </a:lnTo>
                    <a:lnTo>
                      <a:pt x="24" y="9"/>
                    </a:lnTo>
                    <a:lnTo>
                      <a:pt x="37" y="20"/>
                    </a:lnTo>
                    <a:lnTo>
                      <a:pt x="24" y="20"/>
                    </a:lnTo>
                    <a:lnTo>
                      <a:pt x="24" y="15"/>
                    </a:lnTo>
                    <a:lnTo>
                      <a:pt x="15" y="15"/>
                    </a:lnTo>
                    <a:lnTo>
                      <a:pt x="0" y="49"/>
                    </a:lnTo>
                    <a:lnTo>
                      <a:pt x="24" y="49"/>
                    </a:lnTo>
                    <a:lnTo>
                      <a:pt x="37" y="56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72" name="Freeform 307"/>
              <p:cNvSpPr>
                <a:spLocks/>
              </p:cNvSpPr>
              <p:nvPr/>
            </p:nvSpPr>
            <p:spPr bwMode="auto">
              <a:xfrm>
                <a:off x="4386263" y="3495675"/>
                <a:ext cx="85725" cy="63500"/>
              </a:xfrm>
              <a:custGeom>
                <a:avLst/>
                <a:gdLst>
                  <a:gd name="T0" fmla="*/ 38 w 50"/>
                  <a:gd name="T1" fmla="*/ 37 h 37"/>
                  <a:gd name="T2" fmla="*/ 30 w 50"/>
                  <a:gd name="T3" fmla="*/ 37 h 37"/>
                  <a:gd name="T4" fmla="*/ 30 w 50"/>
                  <a:gd name="T5" fmla="*/ 30 h 37"/>
                  <a:gd name="T6" fmla="*/ 22 w 50"/>
                  <a:gd name="T7" fmla="*/ 30 h 37"/>
                  <a:gd name="T8" fmla="*/ 22 w 50"/>
                  <a:gd name="T9" fmla="*/ 15 h 37"/>
                  <a:gd name="T10" fmla="*/ 0 w 50"/>
                  <a:gd name="T11" fmla="*/ 8 h 37"/>
                  <a:gd name="T12" fmla="*/ 0 w 50"/>
                  <a:gd name="T13" fmla="*/ 0 h 37"/>
                  <a:gd name="T14" fmla="*/ 38 w 50"/>
                  <a:gd name="T15" fmla="*/ 0 h 37"/>
                  <a:gd name="T16" fmla="*/ 50 w 50"/>
                  <a:gd name="T17" fmla="*/ 8 h 37"/>
                  <a:gd name="T18" fmla="*/ 50 w 50"/>
                  <a:gd name="T19" fmla="*/ 30 h 37"/>
                  <a:gd name="T20" fmla="*/ 38 w 50"/>
                  <a:gd name="T21" fmla="*/ 30 h 37"/>
                  <a:gd name="T22" fmla="*/ 38 w 50"/>
                  <a:gd name="T23" fmla="*/ 37 h 37"/>
                  <a:gd name="T24" fmla="*/ 38 w 50"/>
                  <a:gd name="T25" fmla="*/ 37 h 37"/>
                  <a:gd name="T26" fmla="*/ 38 w 50"/>
                  <a:gd name="T27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0" h="37">
                    <a:moveTo>
                      <a:pt x="38" y="37"/>
                    </a:moveTo>
                    <a:lnTo>
                      <a:pt x="30" y="37"/>
                    </a:lnTo>
                    <a:lnTo>
                      <a:pt x="30" y="30"/>
                    </a:lnTo>
                    <a:lnTo>
                      <a:pt x="22" y="30"/>
                    </a:lnTo>
                    <a:lnTo>
                      <a:pt x="22" y="15"/>
                    </a:lnTo>
                    <a:lnTo>
                      <a:pt x="0" y="8"/>
                    </a:lnTo>
                    <a:lnTo>
                      <a:pt x="0" y="0"/>
                    </a:lnTo>
                    <a:lnTo>
                      <a:pt x="38" y="0"/>
                    </a:lnTo>
                    <a:lnTo>
                      <a:pt x="50" y="8"/>
                    </a:lnTo>
                    <a:lnTo>
                      <a:pt x="50" y="30"/>
                    </a:lnTo>
                    <a:lnTo>
                      <a:pt x="38" y="30"/>
                    </a:lnTo>
                    <a:lnTo>
                      <a:pt x="38" y="37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73" name="Freeform 308"/>
              <p:cNvSpPr>
                <a:spLocks/>
              </p:cNvSpPr>
              <p:nvPr/>
            </p:nvSpPr>
            <p:spPr bwMode="auto">
              <a:xfrm>
                <a:off x="4684713" y="3340100"/>
                <a:ext cx="222250" cy="241300"/>
              </a:xfrm>
              <a:custGeom>
                <a:avLst/>
                <a:gdLst>
                  <a:gd name="T0" fmla="*/ 115 w 127"/>
                  <a:gd name="T1" fmla="*/ 138 h 138"/>
                  <a:gd name="T2" fmla="*/ 127 w 127"/>
                  <a:gd name="T3" fmla="*/ 106 h 138"/>
                  <a:gd name="T4" fmla="*/ 120 w 127"/>
                  <a:gd name="T5" fmla="*/ 60 h 138"/>
                  <a:gd name="T6" fmla="*/ 127 w 127"/>
                  <a:gd name="T7" fmla="*/ 47 h 138"/>
                  <a:gd name="T8" fmla="*/ 115 w 127"/>
                  <a:gd name="T9" fmla="*/ 15 h 138"/>
                  <a:gd name="T10" fmla="*/ 94 w 127"/>
                  <a:gd name="T11" fmla="*/ 15 h 138"/>
                  <a:gd name="T12" fmla="*/ 72 w 127"/>
                  <a:gd name="T13" fmla="*/ 7 h 138"/>
                  <a:gd name="T14" fmla="*/ 72 w 127"/>
                  <a:gd name="T15" fmla="*/ 15 h 138"/>
                  <a:gd name="T16" fmla="*/ 57 w 127"/>
                  <a:gd name="T17" fmla="*/ 15 h 138"/>
                  <a:gd name="T18" fmla="*/ 48 w 127"/>
                  <a:gd name="T19" fmla="*/ 0 h 138"/>
                  <a:gd name="T20" fmla="*/ 0 w 127"/>
                  <a:gd name="T21" fmla="*/ 25 h 138"/>
                  <a:gd name="T22" fmla="*/ 8 w 127"/>
                  <a:gd name="T23" fmla="*/ 91 h 138"/>
                  <a:gd name="T24" fmla="*/ 35 w 127"/>
                  <a:gd name="T25" fmla="*/ 106 h 138"/>
                  <a:gd name="T26" fmla="*/ 42 w 127"/>
                  <a:gd name="T27" fmla="*/ 106 h 138"/>
                  <a:gd name="T28" fmla="*/ 57 w 127"/>
                  <a:gd name="T29" fmla="*/ 128 h 138"/>
                  <a:gd name="T30" fmla="*/ 72 w 127"/>
                  <a:gd name="T31" fmla="*/ 128 h 138"/>
                  <a:gd name="T32" fmla="*/ 78 w 127"/>
                  <a:gd name="T33" fmla="*/ 138 h 138"/>
                  <a:gd name="T34" fmla="*/ 94 w 127"/>
                  <a:gd name="T35" fmla="*/ 128 h 138"/>
                  <a:gd name="T36" fmla="*/ 115 w 127"/>
                  <a:gd name="T37" fmla="*/ 138 h 138"/>
                  <a:gd name="T38" fmla="*/ 115 w 127"/>
                  <a:gd name="T39" fmla="*/ 138 h 138"/>
                  <a:gd name="T40" fmla="*/ 115 w 127"/>
                  <a:gd name="T41" fmla="*/ 138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27" h="138">
                    <a:moveTo>
                      <a:pt x="115" y="138"/>
                    </a:moveTo>
                    <a:lnTo>
                      <a:pt x="127" y="106"/>
                    </a:lnTo>
                    <a:lnTo>
                      <a:pt x="120" y="60"/>
                    </a:lnTo>
                    <a:lnTo>
                      <a:pt x="127" y="47"/>
                    </a:lnTo>
                    <a:lnTo>
                      <a:pt x="115" y="15"/>
                    </a:lnTo>
                    <a:lnTo>
                      <a:pt x="94" y="15"/>
                    </a:lnTo>
                    <a:lnTo>
                      <a:pt x="72" y="7"/>
                    </a:lnTo>
                    <a:lnTo>
                      <a:pt x="72" y="15"/>
                    </a:lnTo>
                    <a:lnTo>
                      <a:pt x="57" y="15"/>
                    </a:lnTo>
                    <a:lnTo>
                      <a:pt x="48" y="0"/>
                    </a:lnTo>
                    <a:lnTo>
                      <a:pt x="0" y="25"/>
                    </a:lnTo>
                    <a:lnTo>
                      <a:pt x="8" y="91"/>
                    </a:lnTo>
                    <a:lnTo>
                      <a:pt x="35" y="106"/>
                    </a:lnTo>
                    <a:lnTo>
                      <a:pt x="42" y="106"/>
                    </a:lnTo>
                    <a:lnTo>
                      <a:pt x="57" y="128"/>
                    </a:lnTo>
                    <a:lnTo>
                      <a:pt x="72" y="128"/>
                    </a:lnTo>
                    <a:lnTo>
                      <a:pt x="78" y="138"/>
                    </a:lnTo>
                    <a:lnTo>
                      <a:pt x="94" y="128"/>
                    </a:lnTo>
                    <a:lnTo>
                      <a:pt x="115" y="138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74" name="Freeform 309"/>
              <p:cNvSpPr>
                <a:spLocks/>
              </p:cNvSpPr>
              <p:nvPr/>
            </p:nvSpPr>
            <p:spPr bwMode="auto">
              <a:xfrm>
                <a:off x="4468813" y="3340100"/>
                <a:ext cx="200025" cy="304800"/>
              </a:xfrm>
              <a:custGeom>
                <a:avLst/>
                <a:gdLst>
                  <a:gd name="T0" fmla="*/ 64 w 114"/>
                  <a:gd name="T1" fmla="*/ 25 h 175"/>
                  <a:gd name="T2" fmla="*/ 101 w 114"/>
                  <a:gd name="T3" fmla="*/ 7 h 175"/>
                  <a:gd name="T4" fmla="*/ 101 w 114"/>
                  <a:gd name="T5" fmla="*/ 15 h 175"/>
                  <a:gd name="T6" fmla="*/ 93 w 114"/>
                  <a:gd name="T7" fmla="*/ 15 h 175"/>
                  <a:gd name="T8" fmla="*/ 106 w 114"/>
                  <a:gd name="T9" fmla="*/ 25 h 175"/>
                  <a:gd name="T10" fmla="*/ 114 w 114"/>
                  <a:gd name="T11" fmla="*/ 91 h 175"/>
                  <a:gd name="T12" fmla="*/ 106 w 114"/>
                  <a:gd name="T13" fmla="*/ 91 h 175"/>
                  <a:gd name="T14" fmla="*/ 73 w 114"/>
                  <a:gd name="T15" fmla="*/ 107 h 175"/>
                  <a:gd name="T16" fmla="*/ 84 w 114"/>
                  <a:gd name="T17" fmla="*/ 129 h 175"/>
                  <a:gd name="T18" fmla="*/ 101 w 114"/>
                  <a:gd name="T19" fmla="*/ 146 h 175"/>
                  <a:gd name="T20" fmla="*/ 93 w 114"/>
                  <a:gd name="T21" fmla="*/ 151 h 175"/>
                  <a:gd name="T22" fmla="*/ 93 w 114"/>
                  <a:gd name="T23" fmla="*/ 168 h 175"/>
                  <a:gd name="T24" fmla="*/ 16 w 114"/>
                  <a:gd name="T25" fmla="*/ 175 h 175"/>
                  <a:gd name="T26" fmla="*/ 21 w 114"/>
                  <a:gd name="T27" fmla="*/ 146 h 175"/>
                  <a:gd name="T28" fmla="*/ 0 w 114"/>
                  <a:gd name="T29" fmla="*/ 129 h 175"/>
                  <a:gd name="T30" fmla="*/ 0 w 114"/>
                  <a:gd name="T31" fmla="*/ 67 h 175"/>
                  <a:gd name="T32" fmla="*/ 9 w 114"/>
                  <a:gd name="T33" fmla="*/ 60 h 175"/>
                  <a:gd name="T34" fmla="*/ 16 w 114"/>
                  <a:gd name="T35" fmla="*/ 39 h 175"/>
                  <a:gd name="T36" fmla="*/ 31 w 114"/>
                  <a:gd name="T37" fmla="*/ 39 h 175"/>
                  <a:gd name="T38" fmla="*/ 42 w 114"/>
                  <a:gd name="T39" fmla="*/ 15 h 175"/>
                  <a:gd name="T40" fmla="*/ 31 w 114"/>
                  <a:gd name="T41" fmla="*/ 15 h 175"/>
                  <a:gd name="T42" fmla="*/ 42 w 114"/>
                  <a:gd name="T43" fmla="*/ 7 h 175"/>
                  <a:gd name="T44" fmla="*/ 31 w 114"/>
                  <a:gd name="T45" fmla="*/ 0 h 175"/>
                  <a:gd name="T46" fmla="*/ 51 w 114"/>
                  <a:gd name="T47" fmla="*/ 0 h 175"/>
                  <a:gd name="T48" fmla="*/ 51 w 114"/>
                  <a:gd name="T49" fmla="*/ 7 h 175"/>
                  <a:gd name="T50" fmla="*/ 64 w 114"/>
                  <a:gd name="T51" fmla="*/ 15 h 175"/>
                  <a:gd name="T52" fmla="*/ 57 w 114"/>
                  <a:gd name="T53" fmla="*/ 25 h 175"/>
                  <a:gd name="T54" fmla="*/ 64 w 114"/>
                  <a:gd name="T55" fmla="*/ 25 h 175"/>
                  <a:gd name="T56" fmla="*/ 64 w 114"/>
                  <a:gd name="T57" fmla="*/ 25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14" h="175">
                    <a:moveTo>
                      <a:pt x="64" y="25"/>
                    </a:moveTo>
                    <a:lnTo>
                      <a:pt x="101" y="7"/>
                    </a:lnTo>
                    <a:lnTo>
                      <a:pt x="101" y="15"/>
                    </a:lnTo>
                    <a:lnTo>
                      <a:pt x="93" y="15"/>
                    </a:lnTo>
                    <a:lnTo>
                      <a:pt x="106" y="25"/>
                    </a:lnTo>
                    <a:lnTo>
                      <a:pt x="114" y="91"/>
                    </a:lnTo>
                    <a:lnTo>
                      <a:pt x="106" y="91"/>
                    </a:lnTo>
                    <a:lnTo>
                      <a:pt x="73" y="107"/>
                    </a:lnTo>
                    <a:lnTo>
                      <a:pt x="84" y="129"/>
                    </a:lnTo>
                    <a:lnTo>
                      <a:pt x="101" y="146"/>
                    </a:lnTo>
                    <a:lnTo>
                      <a:pt x="93" y="151"/>
                    </a:lnTo>
                    <a:lnTo>
                      <a:pt x="93" y="168"/>
                    </a:lnTo>
                    <a:lnTo>
                      <a:pt x="16" y="175"/>
                    </a:lnTo>
                    <a:lnTo>
                      <a:pt x="21" y="146"/>
                    </a:lnTo>
                    <a:lnTo>
                      <a:pt x="0" y="129"/>
                    </a:lnTo>
                    <a:lnTo>
                      <a:pt x="0" y="67"/>
                    </a:lnTo>
                    <a:lnTo>
                      <a:pt x="9" y="60"/>
                    </a:lnTo>
                    <a:lnTo>
                      <a:pt x="16" y="39"/>
                    </a:lnTo>
                    <a:lnTo>
                      <a:pt x="31" y="39"/>
                    </a:lnTo>
                    <a:lnTo>
                      <a:pt x="42" y="15"/>
                    </a:lnTo>
                    <a:lnTo>
                      <a:pt x="31" y="15"/>
                    </a:lnTo>
                    <a:lnTo>
                      <a:pt x="42" y="7"/>
                    </a:lnTo>
                    <a:lnTo>
                      <a:pt x="31" y="0"/>
                    </a:lnTo>
                    <a:lnTo>
                      <a:pt x="51" y="0"/>
                    </a:lnTo>
                    <a:lnTo>
                      <a:pt x="51" y="7"/>
                    </a:lnTo>
                    <a:lnTo>
                      <a:pt x="64" y="15"/>
                    </a:lnTo>
                    <a:lnTo>
                      <a:pt x="57" y="25"/>
                    </a:lnTo>
                    <a:lnTo>
                      <a:pt x="64" y="25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75" name="Freeform 310"/>
              <p:cNvSpPr>
                <a:spLocks/>
              </p:cNvSpPr>
              <p:nvPr/>
            </p:nvSpPr>
            <p:spPr bwMode="auto">
              <a:xfrm>
                <a:off x="4541838" y="3581400"/>
                <a:ext cx="177800" cy="90488"/>
              </a:xfrm>
              <a:custGeom>
                <a:avLst/>
                <a:gdLst>
                  <a:gd name="T0" fmla="*/ 0 w 101"/>
                  <a:gd name="T1" fmla="*/ 37 h 52"/>
                  <a:gd name="T2" fmla="*/ 15 w 101"/>
                  <a:gd name="T3" fmla="*/ 37 h 52"/>
                  <a:gd name="T4" fmla="*/ 51 w 101"/>
                  <a:gd name="T5" fmla="*/ 27 h 52"/>
                  <a:gd name="T6" fmla="*/ 51 w 101"/>
                  <a:gd name="T7" fmla="*/ 13 h 52"/>
                  <a:gd name="T8" fmla="*/ 59 w 101"/>
                  <a:gd name="T9" fmla="*/ 6 h 52"/>
                  <a:gd name="T10" fmla="*/ 72 w 101"/>
                  <a:gd name="T11" fmla="*/ 6 h 52"/>
                  <a:gd name="T12" fmla="*/ 72 w 101"/>
                  <a:gd name="T13" fmla="*/ 0 h 52"/>
                  <a:gd name="T14" fmla="*/ 101 w 101"/>
                  <a:gd name="T15" fmla="*/ 6 h 52"/>
                  <a:gd name="T16" fmla="*/ 101 w 101"/>
                  <a:gd name="T17" fmla="*/ 27 h 52"/>
                  <a:gd name="T18" fmla="*/ 92 w 101"/>
                  <a:gd name="T19" fmla="*/ 43 h 52"/>
                  <a:gd name="T20" fmla="*/ 59 w 101"/>
                  <a:gd name="T21" fmla="*/ 52 h 52"/>
                  <a:gd name="T22" fmla="*/ 42 w 101"/>
                  <a:gd name="T23" fmla="*/ 43 h 52"/>
                  <a:gd name="T24" fmla="*/ 10 w 101"/>
                  <a:gd name="T25" fmla="*/ 43 h 52"/>
                  <a:gd name="T26" fmla="*/ 0 w 101"/>
                  <a:gd name="T27" fmla="*/ 37 h 52"/>
                  <a:gd name="T28" fmla="*/ 0 w 101"/>
                  <a:gd name="T29" fmla="*/ 37 h 52"/>
                  <a:gd name="T30" fmla="*/ 0 w 101"/>
                  <a:gd name="T31" fmla="*/ 37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1" h="52">
                    <a:moveTo>
                      <a:pt x="0" y="37"/>
                    </a:moveTo>
                    <a:lnTo>
                      <a:pt x="15" y="37"/>
                    </a:lnTo>
                    <a:lnTo>
                      <a:pt x="51" y="27"/>
                    </a:lnTo>
                    <a:lnTo>
                      <a:pt x="51" y="13"/>
                    </a:lnTo>
                    <a:lnTo>
                      <a:pt x="59" y="6"/>
                    </a:lnTo>
                    <a:lnTo>
                      <a:pt x="72" y="6"/>
                    </a:lnTo>
                    <a:lnTo>
                      <a:pt x="72" y="0"/>
                    </a:lnTo>
                    <a:lnTo>
                      <a:pt x="101" y="6"/>
                    </a:lnTo>
                    <a:lnTo>
                      <a:pt x="101" y="27"/>
                    </a:lnTo>
                    <a:lnTo>
                      <a:pt x="92" y="43"/>
                    </a:lnTo>
                    <a:lnTo>
                      <a:pt x="59" y="52"/>
                    </a:lnTo>
                    <a:lnTo>
                      <a:pt x="42" y="43"/>
                    </a:lnTo>
                    <a:lnTo>
                      <a:pt x="10" y="43"/>
                    </a:lnTo>
                    <a:lnTo>
                      <a:pt x="0" y="37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76" name="Freeform 311"/>
              <p:cNvSpPr>
                <a:spLocks/>
              </p:cNvSpPr>
              <p:nvPr/>
            </p:nvSpPr>
            <p:spPr bwMode="auto">
              <a:xfrm>
                <a:off x="4206875" y="3495675"/>
                <a:ext cx="300038" cy="323850"/>
              </a:xfrm>
              <a:custGeom>
                <a:avLst/>
                <a:gdLst>
                  <a:gd name="T0" fmla="*/ 102 w 172"/>
                  <a:gd name="T1" fmla="*/ 0 h 185"/>
                  <a:gd name="T2" fmla="*/ 87 w 172"/>
                  <a:gd name="T3" fmla="*/ 8 h 185"/>
                  <a:gd name="T4" fmla="*/ 87 w 172"/>
                  <a:gd name="T5" fmla="*/ 32 h 185"/>
                  <a:gd name="T6" fmla="*/ 58 w 172"/>
                  <a:gd name="T7" fmla="*/ 47 h 185"/>
                  <a:gd name="T8" fmla="*/ 52 w 172"/>
                  <a:gd name="T9" fmla="*/ 47 h 185"/>
                  <a:gd name="T10" fmla="*/ 45 w 172"/>
                  <a:gd name="T11" fmla="*/ 39 h 185"/>
                  <a:gd name="T12" fmla="*/ 37 w 172"/>
                  <a:gd name="T13" fmla="*/ 39 h 185"/>
                  <a:gd name="T14" fmla="*/ 45 w 172"/>
                  <a:gd name="T15" fmla="*/ 54 h 185"/>
                  <a:gd name="T16" fmla="*/ 30 w 172"/>
                  <a:gd name="T17" fmla="*/ 62 h 185"/>
                  <a:gd name="T18" fmla="*/ 30 w 172"/>
                  <a:gd name="T19" fmla="*/ 54 h 185"/>
                  <a:gd name="T20" fmla="*/ 0 w 172"/>
                  <a:gd name="T21" fmla="*/ 62 h 185"/>
                  <a:gd name="T22" fmla="*/ 0 w 172"/>
                  <a:gd name="T23" fmla="*/ 76 h 185"/>
                  <a:gd name="T24" fmla="*/ 37 w 172"/>
                  <a:gd name="T25" fmla="*/ 84 h 185"/>
                  <a:gd name="T26" fmla="*/ 52 w 172"/>
                  <a:gd name="T27" fmla="*/ 106 h 185"/>
                  <a:gd name="T28" fmla="*/ 45 w 172"/>
                  <a:gd name="T29" fmla="*/ 168 h 185"/>
                  <a:gd name="T30" fmla="*/ 58 w 172"/>
                  <a:gd name="T31" fmla="*/ 178 h 185"/>
                  <a:gd name="T32" fmla="*/ 102 w 172"/>
                  <a:gd name="T33" fmla="*/ 185 h 185"/>
                  <a:gd name="T34" fmla="*/ 102 w 172"/>
                  <a:gd name="T35" fmla="*/ 178 h 185"/>
                  <a:gd name="T36" fmla="*/ 124 w 172"/>
                  <a:gd name="T37" fmla="*/ 168 h 185"/>
                  <a:gd name="T38" fmla="*/ 150 w 172"/>
                  <a:gd name="T39" fmla="*/ 178 h 185"/>
                  <a:gd name="T40" fmla="*/ 161 w 172"/>
                  <a:gd name="T41" fmla="*/ 178 h 185"/>
                  <a:gd name="T42" fmla="*/ 166 w 172"/>
                  <a:gd name="T43" fmla="*/ 160 h 185"/>
                  <a:gd name="T44" fmla="*/ 161 w 172"/>
                  <a:gd name="T45" fmla="*/ 138 h 185"/>
                  <a:gd name="T46" fmla="*/ 161 w 172"/>
                  <a:gd name="T47" fmla="*/ 101 h 185"/>
                  <a:gd name="T48" fmla="*/ 150 w 172"/>
                  <a:gd name="T49" fmla="*/ 106 h 185"/>
                  <a:gd name="T50" fmla="*/ 150 w 172"/>
                  <a:gd name="T51" fmla="*/ 101 h 185"/>
                  <a:gd name="T52" fmla="*/ 161 w 172"/>
                  <a:gd name="T53" fmla="*/ 84 h 185"/>
                  <a:gd name="T54" fmla="*/ 166 w 172"/>
                  <a:gd name="T55" fmla="*/ 84 h 185"/>
                  <a:gd name="T56" fmla="*/ 172 w 172"/>
                  <a:gd name="T57" fmla="*/ 54 h 185"/>
                  <a:gd name="T58" fmla="*/ 150 w 172"/>
                  <a:gd name="T59" fmla="*/ 39 h 185"/>
                  <a:gd name="T60" fmla="*/ 130 w 172"/>
                  <a:gd name="T61" fmla="*/ 39 h 185"/>
                  <a:gd name="T62" fmla="*/ 130 w 172"/>
                  <a:gd name="T63" fmla="*/ 32 h 185"/>
                  <a:gd name="T64" fmla="*/ 124 w 172"/>
                  <a:gd name="T65" fmla="*/ 32 h 185"/>
                  <a:gd name="T66" fmla="*/ 124 w 172"/>
                  <a:gd name="T67" fmla="*/ 15 h 185"/>
                  <a:gd name="T68" fmla="*/ 102 w 172"/>
                  <a:gd name="T69" fmla="*/ 8 h 185"/>
                  <a:gd name="T70" fmla="*/ 102 w 172"/>
                  <a:gd name="T71" fmla="*/ 0 h 185"/>
                  <a:gd name="T72" fmla="*/ 102 w 172"/>
                  <a:gd name="T73" fmla="*/ 0 h 185"/>
                  <a:gd name="T74" fmla="*/ 102 w 172"/>
                  <a:gd name="T75" fmla="*/ 0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72" h="185">
                    <a:moveTo>
                      <a:pt x="102" y="0"/>
                    </a:moveTo>
                    <a:lnTo>
                      <a:pt x="87" y="8"/>
                    </a:lnTo>
                    <a:lnTo>
                      <a:pt x="87" y="32"/>
                    </a:lnTo>
                    <a:lnTo>
                      <a:pt x="58" y="47"/>
                    </a:lnTo>
                    <a:lnTo>
                      <a:pt x="52" y="47"/>
                    </a:lnTo>
                    <a:lnTo>
                      <a:pt x="45" y="39"/>
                    </a:lnTo>
                    <a:lnTo>
                      <a:pt x="37" y="39"/>
                    </a:lnTo>
                    <a:lnTo>
                      <a:pt x="45" y="54"/>
                    </a:lnTo>
                    <a:lnTo>
                      <a:pt x="30" y="62"/>
                    </a:lnTo>
                    <a:lnTo>
                      <a:pt x="30" y="54"/>
                    </a:lnTo>
                    <a:lnTo>
                      <a:pt x="0" y="62"/>
                    </a:lnTo>
                    <a:lnTo>
                      <a:pt x="0" y="76"/>
                    </a:lnTo>
                    <a:lnTo>
                      <a:pt x="37" y="84"/>
                    </a:lnTo>
                    <a:lnTo>
                      <a:pt x="52" y="106"/>
                    </a:lnTo>
                    <a:lnTo>
                      <a:pt x="45" y="168"/>
                    </a:lnTo>
                    <a:lnTo>
                      <a:pt x="58" y="178"/>
                    </a:lnTo>
                    <a:lnTo>
                      <a:pt x="102" y="185"/>
                    </a:lnTo>
                    <a:lnTo>
                      <a:pt x="102" y="178"/>
                    </a:lnTo>
                    <a:lnTo>
                      <a:pt x="124" y="168"/>
                    </a:lnTo>
                    <a:lnTo>
                      <a:pt x="150" y="178"/>
                    </a:lnTo>
                    <a:lnTo>
                      <a:pt x="161" y="178"/>
                    </a:lnTo>
                    <a:lnTo>
                      <a:pt x="166" y="160"/>
                    </a:lnTo>
                    <a:lnTo>
                      <a:pt x="161" y="138"/>
                    </a:lnTo>
                    <a:lnTo>
                      <a:pt x="161" y="101"/>
                    </a:lnTo>
                    <a:lnTo>
                      <a:pt x="150" y="106"/>
                    </a:lnTo>
                    <a:lnTo>
                      <a:pt x="150" y="101"/>
                    </a:lnTo>
                    <a:lnTo>
                      <a:pt x="161" y="84"/>
                    </a:lnTo>
                    <a:lnTo>
                      <a:pt x="166" y="84"/>
                    </a:lnTo>
                    <a:lnTo>
                      <a:pt x="172" y="54"/>
                    </a:lnTo>
                    <a:lnTo>
                      <a:pt x="150" y="39"/>
                    </a:lnTo>
                    <a:lnTo>
                      <a:pt x="130" y="39"/>
                    </a:lnTo>
                    <a:lnTo>
                      <a:pt x="130" y="32"/>
                    </a:lnTo>
                    <a:lnTo>
                      <a:pt x="124" y="32"/>
                    </a:lnTo>
                    <a:lnTo>
                      <a:pt x="124" y="15"/>
                    </a:lnTo>
                    <a:lnTo>
                      <a:pt x="102" y="8"/>
                    </a:lnTo>
                    <a:lnTo>
                      <a:pt x="102" y="0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77" name="Freeform 312"/>
              <p:cNvSpPr>
                <a:spLocks/>
              </p:cNvSpPr>
              <p:nvPr/>
            </p:nvSpPr>
            <p:spPr bwMode="auto">
              <a:xfrm>
                <a:off x="4105275" y="3765550"/>
                <a:ext cx="280988" cy="261938"/>
              </a:xfrm>
              <a:custGeom>
                <a:avLst/>
                <a:gdLst>
                  <a:gd name="T0" fmla="*/ 8 w 159"/>
                  <a:gd name="T1" fmla="*/ 42 h 149"/>
                  <a:gd name="T2" fmla="*/ 43 w 159"/>
                  <a:gd name="T3" fmla="*/ 42 h 149"/>
                  <a:gd name="T4" fmla="*/ 43 w 159"/>
                  <a:gd name="T5" fmla="*/ 48 h 149"/>
                  <a:gd name="T6" fmla="*/ 30 w 159"/>
                  <a:gd name="T7" fmla="*/ 57 h 149"/>
                  <a:gd name="T8" fmla="*/ 30 w 159"/>
                  <a:gd name="T9" fmla="*/ 79 h 149"/>
                  <a:gd name="T10" fmla="*/ 23 w 159"/>
                  <a:gd name="T11" fmla="*/ 87 h 149"/>
                  <a:gd name="T12" fmla="*/ 30 w 159"/>
                  <a:gd name="T13" fmla="*/ 117 h 149"/>
                  <a:gd name="T14" fmla="*/ 23 w 159"/>
                  <a:gd name="T15" fmla="*/ 136 h 149"/>
                  <a:gd name="T16" fmla="*/ 52 w 159"/>
                  <a:gd name="T17" fmla="*/ 149 h 149"/>
                  <a:gd name="T18" fmla="*/ 57 w 159"/>
                  <a:gd name="T19" fmla="*/ 141 h 149"/>
                  <a:gd name="T20" fmla="*/ 94 w 159"/>
                  <a:gd name="T21" fmla="*/ 141 h 149"/>
                  <a:gd name="T22" fmla="*/ 129 w 159"/>
                  <a:gd name="T23" fmla="*/ 102 h 149"/>
                  <a:gd name="T24" fmla="*/ 115 w 159"/>
                  <a:gd name="T25" fmla="*/ 87 h 149"/>
                  <a:gd name="T26" fmla="*/ 135 w 159"/>
                  <a:gd name="T27" fmla="*/ 57 h 149"/>
                  <a:gd name="T28" fmla="*/ 159 w 159"/>
                  <a:gd name="T29" fmla="*/ 42 h 149"/>
                  <a:gd name="T30" fmla="*/ 159 w 159"/>
                  <a:gd name="T31" fmla="*/ 25 h 149"/>
                  <a:gd name="T32" fmla="*/ 115 w 159"/>
                  <a:gd name="T33" fmla="*/ 18 h 149"/>
                  <a:gd name="T34" fmla="*/ 100 w 159"/>
                  <a:gd name="T35" fmla="*/ 10 h 149"/>
                  <a:gd name="T36" fmla="*/ 15 w 159"/>
                  <a:gd name="T37" fmla="*/ 0 h 149"/>
                  <a:gd name="T38" fmla="*/ 8 w 159"/>
                  <a:gd name="T39" fmla="*/ 10 h 149"/>
                  <a:gd name="T40" fmla="*/ 0 w 159"/>
                  <a:gd name="T41" fmla="*/ 10 h 149"/>
                  <a:gd name="T42" fmla="*/ 0 w 159"/>
                  <a:gd name="T43" fmla="*/ 18 h 149"/>
                  <a:gd name="T44" fmla="*/ 8 w 159"/>
                  <a:gd name="T45" fmla="*/ 42 h 149"/>
                  <a:gd name="T46" fmla="*/ 8 w 159"/>
                  <a:gd name="T47" fmla="*/ 42 h 149"/>
                  <a:gd name="T48" fmla="*/ 8 w 159"/>
                  <a:gd name="T49" fmla="*/ 42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59" h="149">
                    <a:moveTo>
                      <a:pt x="8" y="42"/>
                    </a:moveTo>
                    <a:lnTo>
                      <a:pt x="43" y="42"/>
                    </a:lnTo>
                    <a:lnTo>
                      <a:pt x="43" y="48"/>
                    </a:lnTo>
                    <a:lnTo>
                      <a:pt x="30" y="57"/>
                    </a:lnTo>
                    <a:lnTo>
                      <a:pt x="30" y="79"/>
                    </a:lnTo>
                    <a:lnTo>
                      <a:pt x="23" y="87"/>
                    </a:lnTo>
                    <a:lnTo>
                      <a:pt x="30" y="117"/>
                    </a:lnTo>
                    <a:lnTo>
                      <a:pt x="23" y="136"/>
                    </a:lnTo>
                    <a:lnTo>
                      <a:pt x="52" y="149"/>
                    </a:lnTo>
                    <a:lnTo>
                      <a:pt x="57" y="141"/>
                    </a:lnTo>
                    <a:lnTo>
                      <a:pt x="94" y="141"/>
                    </a:lnTo>
                    <a:lnTo>
                      <a:pt x="129" y="102"/>
                    </a:lnTo>
                    <a:lnTo>
                      <a:pt x="115" y="87"/>
                    </a:lnTo>
                    <a:lnTo>
                      <a:pt x="135" y="57"/>
                    </a:lnTo>
                    <a:lnTo>
                      <a:pt x="159" y="42"/>
                    </a:lnTo>
                    <a:lnTo>
                      <a:pt x="159" y="25"/>
                    </a:lnTo>
                    <a:lnTo>
                      <a:pt x="115" y="18"/>
                    </a:lnTo>
                    <a:lnTo>
                      <a:pt x="100" y="10"/>
                    </a:lnTo>
                    <a:lnTo>
                      <a:pt x="15" y="0"/>
                    </a:lnTo>
                    <a:lnTo>
                      <a:pt x="8" y="10"/>
                    </a:lnTo>
                    <a:lnTo>
                      <a:pt x="0" y="10"/>
                    </a:lnTo>
                    <a:lnTo>
                      <a:pt x="0" y="18"/>
                    </a:lnTo>
                    <a:lnTo>
                      <a:pt x="8" y="42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78" name="Freeform 313"/>
              <p:cNvSpPr>
                <a:spLocks/>
              </p:cNvSpPr>
              <p:nvPr/>
            </p:nvSpPr>
            <p:spPr bwMode="auto">
              <a:xfrm>
                <a:off x="4105275" y="3840163"/>
                <a:ext cx="79375" cy="163512"/>
              </a:xfrm>
              <a:custGeom>
                <a:avLst/>
                <a:gdLst>
                  <a:gd name="T0" fmla="*/ 23 w 45"/>
                  <a:gd name="T1" fmla="*/ 94 h 94"/>
                  <a:gd name="T2" fmla="*/ 28 w 45"/>
                  <a:gd name="T3" fmla="*/ 77 h 94"/>
                  <a:gd name="T4" fmla="*/ 23 w 45"/>
                  <a:gd name="T5" fmla="*/ 47 h 94"/>
                  <a:gd name="T6" fmla="*/ 28 w 45"/>
                  <a:gd name="T7" fmla="*/ 40 h 94"/>
                  <a:gd name="T8" fmla="*/ 28 w 45"/>
                  <a:gd name="T9" fmla="*/ 18 h 94"/>
                  <a:gd name="T10" fmla="*/ 45 w 45"/>
                  <a:gd name="T11" fmla="*/ 8 h 94"/>
                  <a:gd name="T12" fmla="*/ 45 w 45"/>
                  <a:gd name="T13" fmla="*/ 0 h 94"/>
                  <a:gd name="T14" fmla="*/ 8 w 45"/>
                  <a:gd name="T15" fmla="*/ 0 h 94"/>
                  <a:gd name="T16" fmla="*/ 0 w 45"/>
                  <a:gd name="T17" fmla="*/ 64 h 94"/>
                  <a:gd name="T18" fmla="*/ 8 w 45"/>
                  <a:gd name="T19" fmla="*/ 64 h 94"/>
                  <a:gd name="T20" fmla="*/ 0 w 45"/>
                  <a:gd name="T21" fmla="*/ 94 h 94"/>
                  <a:gd name="T22" fmla="*/ 23 w 45"/>
                  <a:gd name="T23" fmla="*/ 94 h 94"/>
                  <a:gd name="T24" fmla="*/ 23 w 45"/>
                  <a:gd name="T25" fmla="*/ 94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5" h="94">
                    <a:moveTo>
                      <a:pt x="23" y="94"/>
                    </a:moveTo>
                    <a:lnTo>
                      <a:pt x="28" y="77"/>
                    </a:lnTo>
                    <a:lnTo>
                      <a:pt x="23" y="47"/>
                    </a:lnTo>
                    <a:lnTo>
                      <a:pt x="28" y="40"/>
                    </a:lnTo>
                    <a:lnTo>
                      <a:pt x="28" y="18"/>
                    </a:lnTo>
                    <a:lnTo>
                      <a:pt x="45" y="8"/>
                    </a:lnTo>
                    <a:lnTo>
                      <a:pt x="45" y="0"/>
                    </a:lnTo>
                    <a:lnTo>
                      <a:pt x="8" y="0"/>
                    </a:lnTo>
                    <a:lnTo>
                      <a:pt x="0" y="64"/>
                    </a:lnTo>
                    <a:lnTo>
                      <a:pt x="8" y="64"/>
                    </a:lnTo>
                    <a:lnTo>
                      <a:pt x="0" y="94"/>
                    </a:lnTo>
                    <a:lnTo>
                      <a:pt x="23" y="94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79" name="Freeform 314"/>
              <p:cNvSpPr>
                <a:spLocks/>
              </p:cNvSpPr>
              <p:nvPr/>
            </p:nvSpPr>
            <p:spPr bwMode="auto">
              <a:xfrm>
                <a:off x="4484688" y="3654425"/>
                <a:ext cx="273050" cy="328613"/>
              </a:xfrm>
              <a:custGeom>
                <a:avLst/>
                <a:gdLst>
                  <a:gd name="T0" fmla="*/ 7 w 156"/>
                  <a:gd name="T1" fmla="*/ 69 h 188"/>
                  <a:gd name="T2" fmla="*/ 22 w 156"/>
                  <a:gd name="T3" fmla="*/ 59 h 188"/>
                  <a:gd name="T4" fmla="*/ 43 w 156"/>
                  <a:gd name="T5" fmla="*/ 69 h 188"/>
                  <a:gd name="T6" fmla="*/ 57 w 156"/>
                  <a:gd name="T7" fmla="*/ 91 h 188"/>
                  <a:gd name="T8" fmla="*/ 65 w 156"/>
                  <a:gd name="T9" fmla="*/ 91 h 188"/>
                  <a:gd name="T10" fmla="*/ 77 w 156"/>
                  <a:gd name="T11" fmla="*/ 112 h 188"/>
                  <a:gd name="T12" fmla="*/ 92 w 156"/>
                  <a:gd name="T13" fmla="*/ 122 h 188"/>
                  <a:gd name="T14" fmla="*/ 107 w 156"/>
                  <a:gd name="T15" fmla="*/ 144 h 188"/>
                  <a:gd name="T16" fmla="*/ 122 w 156"/>
                  <a:gd name="T17" fmla="*/ 144 h 188"/>
                  <a:gd name="T18" fmla="*/ 120 w 156"/>
                  <a:gd name="T19" fmla="*/ 165 h 188"/>
                  <a:gd name="T20" fmla="*/ 111 w 156"/>
                  <a:gd name="T21" fmla="*/ 188 h 188"/>
                  <a:gd name="T22" fmla="*/ 129 w 156"/>
                  <a:gd name="T23" fmla="*/ 181 h 188"/>
                  <a:gd name="T24" fmla="*/ 136 w 156"/>
                  <a:gd name="T25" fmla="*/ 166 h 188"/>
                  <a:gd name="T26" fmla="*/ 136 w 156"/>
                  <a:gd name="T27" fmla="*/ 129 h 188"/>
                  <a:gd name="T28" fmla="*/ 147 w 156"/>
                  <a:gd name="T29" fmla="*/ 151 h 188"/>
                  <a:gd name="T30" fmla="*/ 156 w 156"/>
                  <a:gd name="T31" fmla="*/ 144 h 188"/>
                  <a:gd name="T32" fmla="*/ 122 w 156"/>
                  <a:gd name="T33" fmla="*/ 112 h 188"/>
                  <a:gd name="T34" fmla="*/ 129 w 156"/>
                  <a:gd name="T35" fmla="*/ 106 h 188"/>
                  <a:gd name="T36" fmla="*/ 122 w 156"/>
                  <a:gd name="T37" fmla="*/ 106 h 188"/>
                  <a:gd name="T38" fmla="*/ 99 w 156"/>
                  <a:gd name="T39" fmla="*/ 91 h 188"/>
                  <a:gd name="T40" fmla="*/ 92 w 156"/>
                  <a:gd name="T41" fmla="*/ 77 h 188"/>
                  <a:gd name="T42" fmla="*/ 77 w 156"/>
                  <a:gd name="T43" fmla="*/ 59 h 188"/>
                  <a:gd name="T44" fmla="*/ 77 w 156"/>
                  <a:gd name="T45" fmla="*/ 30 h 188"/>
                  <a:gd name="T46" fmla="*/ 92 w 156"/>
                  <a:gd name="T47" fmla="*/ 30 h 188"/>
                  <a:gd name="T48" fmla="*/ 92 w 156"/>
                  <a:gd name="T49" fmla="*/ 8 h 188"/>
                  <a:gd name="T50" fmla="*/ 77 w 156"/>
                  <a:gd name="T51" fmla="*/ 0 h 188"/>
                  <a:gd name="T52" fmla="*/ 50 w 156"/>
                  <a:gd name="T53" fmla="*/ 0 h 188"/>
                  <a:gd name="T54" fmla="*/ 43 w 156"/>
                  <a:gd name="T55" fmla="*/ 15 h 188"/>
                  <a:gd name="T56" fmla="*/ 35 w 156"/>
                  <a:gd name="T57" fmla="*/ 8 h 188"/>
                  <a:gd name="T58" fmla="*/ 35 w 156"/>
                  <a:gd name="T59" fmla="*/ 15 h 188"/>
                  <a:gd name="T60" fmla="*/ 22 w 156"/>
                  <a:gd name="T61" fmla="*/ 15 h 188"/>
                  <a:gd name="T62" fmla="*/ 7 w 156"/>
                  <a:gd name="T63" fmla="*/ 30 h 188"/>
                  <a:gd name="T64" fmla="*/ 0 w 156"/>
                  <a:gd name="T65" fmla="*/ 30 h 188"/>
                  <a:gd name="T66" fmla="*/ 0 w 156"/>
                  <a:gd name="T67" fmla="*/ 47 h 188"/>
                  <a:gd name="T68" fmla="*/ 7 w 156"/>
                  <a:gd name="T69" fmla="*/ 69 h 188"/>
                  <a:gd name="T70" fmla="*/ 7 w 156"/>
                  <a:gd name="T71" fmla="*/ 69 h 188"/>
                  <a:gd name="T72" fmla="*/ 7 w 156"/>
                  <a:gd name="T73" fmla="*/ 69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56" h="188">
                    <a:moveTo>
                      <a:pt x="7" y="69"/>
                    </a:moveTo>
                    <a:lnTo>
                      <a:pt x="22" y="59"/>
                    </a:lnTo>
                    <a:lnTo>
                      <a:pt x="43" y="69"/>
                    </a:lnTo>
                    <a:lnTo>
                      <a:pt x="57" y="91"/>
                    </a:lnTo>
                    <a:lnTo>
                      <a:pt x="65" y="91"/>
                    </a:lnTo>
                    <a:lnTo>
                      <a:pt x="77" y="112"/>
                    </a:lnTo>
                    <a:lnTo>
                      <a:pt x="92" y="122"/>
                    </a:lnTo>
                    <a:lnTo>
                      <a:pt x="107" y="144"/>
                    </a:lnTo>
                    <a:lnTo>
                      <a:pt x="122" y="144"/>
                    </a:lnTo>
                    <a:lnTo>
                      <a:pt x="120" y="165"/>
                    </a:lnTo>
                    <a:lnTo>
                      <a:pt x="111" y="188"/>
                    </a:lnTo>
                    <a:lnTo>
                      <a:pt x="129" y="181"/>
                    </a:lnTo>
                    <a:lnTo>
                      <a:pt x="136" y="166"/>
                    </a:lnTo>
                    <a:lnTo>
                      <a:pt x="136" y="129"/>
                    </a:lnTo>
                    <a:lnTo>
                      <a:pt x="147" y="151"/>
                    </a:lnTo>
                    <a:lnTo>
                      <a:pt x="156" y="144"/>
                    </a:lnTo>
                    <a:lnTo>
                      <a:pt x="122" y="112"/>
                    </a:lnTo>
                    <a:lnTo>
                      <a:pt x="129" y="106"/>
                    </a:lnTo>
                    <a:lnTo>
                      <a:pt x="122" y="106"/>
                    </a:lnTo>
                    <a:lnTo>
                      <a:pt x="99" y="91"/>
                    </a:lnTo>
                    <a:lnTo>
                      <a:pt x="92" y="77"/>
                    </a:lnTo>
                    <a:lnTo>
                      <a:pt x="77" y="59"/>
                    </a:lnTo>
                    <a:lnTo>
                      <a:pt x="77" y="30"/>
                    </a:lnTo>
                    <a:lnTo>
                      <a:pt x="92" y="30"/>
                    </a:lnTo>
                    <a:lnTo>
                      <a:pt x="92" y="8"/>
                    </a:lnTo>
                    <a:lnTo>
                      <a:pt x="77" y="0"/>
                    </a:lnTo>
                    <a:lnTo>
                      <a:pt x="50" y="0"/>
                    </a:lnTo>
                    <a:lnTo>
                      <a:pt x="43" y="15"/>
                    </a:lnTo>
                    <a:lnTo>
                      <a:pt x="35" y="8"/>
                    </a:lnTo>
                    <a:lnTo>
                      <a:pt x="35" y="15"/>
                    </a:lnTo>
                    <a:lnTo>
                      <a:pt x="22" y="15"/>
                    </a:lnTo>
                    <a:lnTo>
                      <a:pt x="7" y="30"/>
                    </a:lnTo>
                    <a:lnTo>
                      <a:pt x="0" y="30"/>
                    </a:lnTo>
                    <a:lnTo>
                      <a:pt x="0" y="47"/>
                    </a:lnTo>
                    <a:lnTo>
                      <a:pt x="7" y="69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80" name="Freeform 315"/>
              <p:cNvSpPr>
                <a:spLocks/>
              </p:cNvSpPr>
              <p:nvPr/>
            </p:nvSpPr>
            <p:spPr bwMode="auto">
              <a:xfrm>
                <a:off x="4818062" y="3600449"/>
                <a:ext cx="228601" cy="187325"/>
              </a:xfrm>
              <a:custGeom>
                <a:avLst/>
                <a:gdLst>
                  <a:gd name="T0" fmla="*/ 15 w 130"/>
                  <a:gd name="T1" fmla="*/ 79 h 108"/>
                  <a:gd name="T2" fmla="*/ 38 w 130"/>
                  <a:gd name="T3" fmla="*/ 79 h 108"/>
                  <a:gd name="T4" fmla="*/ 38 w 130"/>
                  <a:gd name="T5" fmla="*/ 93 h 108"/>
                  <a:gd name="T6" fmla="*/ 43 w 130"/>
                  <a:gd name="T7" fmla="*/ 100 h 108"/>
                  <a:gd name="T8" fmla="*/ 50 w 130"/>
                  <a:gd name="T9" fmla="*/ 100 h 108"/>
                  <a:gd name="T10" fmla="*/ 80 w 130"/>
                  <a:gd name="T11" fmla="*/ 108 h 108"/>
                  <a:gd name="T12" fmla="*/ 92 w 130"/>
                  <a:gd name="T13" fmla="*/ 93 h 108"/>
                  <a:gd name="T14" fmla="*/ 114 w 130"/>
                  <a:gd name="T15" fmla="*/ 100 h 108"/>
                  <a:gd name="T16" fmla="*/ 114 w 130"/>
                  <a:gd name="T17" fmla="*/ 93 h 108"/>
                  <a:gd name="T18" fmla="*/ 130 w 130"/>
                  <a:gd name="T19" fmla="*/ 79 h 108"/>
                  <a:gd name="T20" fmla="*/ 130 w 130"/>
                  <a:gd name="T21" fmla="*/ 71 h 108"/>
                  <a:gd name="T22" fmla="*/ 107 w 130"/>
                  <a:gd name="T23" fmla="*/ 71 h 108"/>
                  <a:gd name="T24" fmla="*/ 107 w 130"/>
                  <a:gd name="T25" fmla="*/ 31 h 108"/>
                  <a:gd name="T26" fmla="*/ 92 w 130"/>
                  <a:gd name="T27" fmla="*/ 0 h 108"/>
                  <a:gd name="T28" fmla="*/ 85 w 130"/>
                  <a:gd name="T29" fmla="*/ 0 h 108"/>
                  <a:gd name="T30" fmla="*/ 63 w 130"/>
                  <a:gd name="T31" fmla="*/ 17 h 108"/>
                  <a:gd name="T32" fmla="*/ 23 w 130"/>
                  <a:gd name="T33" fmla="*/ 17 h 108"/>
                  <a:gd name="T34" fmla="*/ 15 w 130"/>
                  <a:gd name="T35" fmla="*/ 48 h 108"/>
                  <a:gd name="T36" fmla="*/ 0 w 130"/>
                  <a:gd name="T37" fmla="*/ 48 h 108"/>
                  <a:gd name="T38" fmla="*/ 15 w 130"/>
                  <a:gd name="T39" fmla="*/ 79 h 108"/>
                  <a:gd name="T40" fmla="*/ 15 w 130"/>
                  <a:gd name="T41" fmla="*/ 79 h 108"/>
                  <a:gd name="T42" fmla="*/ 15 w 130"/>
                  <a:gd name="T43" fmla="*/ 79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30" h="108">
                    <a:moveTo>
                      <a:pt x="15" y="79"/>
                    </a:moveTo>
                    <a:lnTo>
                      <a:pt x="38" y="79"/>
                    </a:lnTo>
                    <a:lnTo>
                      <a:pt x="38" y="93"/>
                    </a:lnTo>
                    <a:lnTo>
                      <a:pt x="43" y="100"/>
                    </a:lnTo>
                    <a:lnTo>
                      <a:pt x="50" y="100"/>
                    </a:lnTo>
                    <a:lnTo>
                      <a:pt x="80" y="108"/>
                    </a:lnTo>
                    <a:lnTo>
                      <a:pt x="92" y="93"/>
                    </a:lnTo>
                    <a:lnTo>
                      <a:pt x="114" y="100"/>
                    </a:lnTo>
                    <a:lnTo>
                      <a:pt x="114" y="93"/>
                    </a:lnTo>
                    <a:lnTo>
                      <a:pt x="130" y="79"/>
                    </a:lnTo>
                    <a:lnTo>
                      <a:pt x="130" y="71"/>
                    </a:lnTo>
                    <a:lnTo>
                      <a:pt x="107" y="71"/>
                    </a:lnTo>
                    <a:lnTo>
                      <a:pt x="107" y="31"/>
                    </a:lnTo>
                    <a:lnTo>
                      <a:pt x="92" y="0"/>
                    </a:lnTo>
                    <a:lnTo>
                      <a:pt x="85" y="0"/>
                    </a:lnTo>
                    <a:lnTo>
                      <a:pt x="63" y="17"/>
                    </a:lnTo>
                    <a:lnTo>
                      <a:pt x="23" y="17"/>
                    </a:lnTo>
                    <a:lnTo>
                      <a:pt x="15" y="48"/>
                    </a:lnTo>
                    <a:lnTo>
                      <a:pt x="0" y="48"/>
                    </a:lnTo>
                    <a:lnTo>
                      <a:pt x="15" y="79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81" name="Freeform 316"/>
              <p:cNvSpPr>
                <a:spLocks/>
              </p:cNvSpPr>
              <p:nvPr/>
            </p:nvSpPr>
            <p:spPr bwMode="auto">
              <a:xfrm>
                <a:off x="4818062" y="3851275"/>
                <a:ext cx="150812" cy="128587"/>
              </a:xfrm>
              <a:custGeom>
                <a:avLst/>
                <a:gdLst>
                  <a:gd name="T0" fmla="*/ 15 w 85"/>
                  <a:gd name="T1" fmla="*/ 10 h 74"/>
                  <a:gd name="T2" fmla="*/ 42 w 85"/>
                  <a:gd name="T3" fmla="*/ 0 h 74"/>
                  <a:gd name="T4" fmla="*/ 57 w 85"/>
                  <a:gd name="T5" fmla="*/ 0 h 74"/>
                  <a:gd name="T6" fmla="*/ 80 w 85"/>
                  <a:gd name="T7" fmla="*/ 10 h 74"/>
                  <a:gd name="T8" fmla="*/ 85 w 85"/>
                  <a:gd name="T9" fmla="*/ 0 h 74"/>
                  <a:gd name="T10" fmla="*/ 80 w 85"/>
                  <a:gd name="T11" fmla="*/ 17 h 74"/>
                  <a:gd name="T12" fmla="*/ 57 w 85"/>
                  <a:gd name="T13" fmla="*/ 10 h 74"/>
                  <a:gd name="T14" fmla="*/ 48 w 85"/>
                  <a:gd name="T15" fmla="*/ 17 h 74"/>
                  <a:gd name="T16" fmla="*/ 48 w 85"/>
                  <a:gd name="T17" fmla="*/ 32 h 74"/>
                  <a:gd name="T18" fmla="*/ 42 w 85"/>
                  <a:gd name="T19" fmla="*/ 32 h 74"/>
                  <a:gd name="T20" fmla="*/ 37 w 85"/>
                  <a:gd name="T21" fmla="*/ 17 h 74"/>
                  <a:gd name="T22" fmla="*/ 37 w 85"/>
                  <a:gd name="T23" fmla="*/ 32 h 74"/>
                  <a:gd name="T24" fmla="*/ 42 w 85"/>
                  <a:gd name="T25" fmla="*/ 46 h 74"/>
                  <a:gd name="T26" fmla="*/ 57 w 85"/>
                  <a:gd name="T27" fmla="*/ 68 h 74"/>
                  <a:gd name="T28" fmla="*/ 48 w 85"/>
                  <a:gd name="T29" fmla="*/ 68 h 74"/>
                  <a:gd name="T30" fmla="*/ 48 w 85"/>
                  <a:gd name="T31" fmla="*/ 74 h 74"/>
                  <a:gd name="T32" fmla="*/ 37 w 85"/>
                  <a:gd name="T33" fmla="*/ 68 h 74"/>
                  <a:gd name="T34" fmla="*/ 15 w 85"/>
                  <a:gd name="T35" fmla="*/ 68 h 74"/>
                  <a:gd name="T36" fmla="*/ 0 w 85"/>
                  <a:gd name="T37" fmla="*/ 39 h 74"/>
                  <a:gd name="T38" fmla="*/ 15 w 85"/>
                  <a:gd name="T39" fmla="*/ 17 h 74"/>
                  <a:gd name="T40" fmla="*/ 15 w 85"/>
                  <a:gd name="T41" fmla="*/ 10 h 74"/>
                  <a:gd name="T42" fmla="*/ 15 w 85"/>
                  <a:gd name="T43" fmla="*/ 10 h 74"/>
                  <a:gd name="T44" fmla="*/ 15 w 85"/>
                  <a:gd name="T45" fmla="*/ 1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85" h="74">
                    <a:moveTo>
                      <a:pt x="15" y="10"/>
                    </a:moveTo>
                    <a:lnTo>
                      <a:pt x="42" y="0"/>
                    </a:lnTo>
                    <a:lnTo>
                      <a:pt x="57" y="0"/>
                    </a:lnTo>
                    <a:lnTo>
                      <a:pt x="80" y="10"/>
                    </a:lnTo>
                    <a:lnTo>
                      <a:pt x="85" y="0"/>
                    </a:lnTo>
                    <a:lnTo>
                      <a:pt x="80" y="17"/>
                    </a:lnTo>
                    <a:lnTo>
                      <a:pt x="57" y="10"/>
                    </a:lnTo>
                    <a:lnTo>
                      <a:pt x="48" y="17"/>
                    </a:lnTo>
                    <a:lnTo>
                      <a:pt x="48" y="32"/>
                    </a:lnTo>
                    <a:lnTo>
                      <a:pt x="42" y="32"/>
                    </a:lnTo>
                    <a:lnTo>
                      <a:pt x="37" y="17"/>
                    </a:lnTo>
                    <a:lnTo>
                      <a:pt x="37" y="32"/>
                    </a:lnTo>
                    <a:lnTo>
                      <a:pt x="42" y="46"/>
                    </a:lnTo>
                    <a:lnTo>
                      <a:pt x="57" y="68"/>
                    </a:lnTo>
                    <a:lnTo>
                      <a:pt x="48" y="68"/>
                    </a:lnTo>
                    <a:lnTo>
                      <a:pt x="48" y="74"/>
                    </a:lnTo>
                    <a:lnTo>
                      <a:pt x="37" y="68"/>
                    </a:lnTo>
                    <a:lnTo>
                      <a:pt x="15" y="68"/>
                    </a:lnTo>
                    <a:lnTo>
                      <a:pt x="0" y="39"/>
                    </a:lnTo>
                    <a:lnTo>
                      <a:pt x="15" y="17"/>
                    </a:lnTo>
                    <a:lnTo>
                      <a:pt x="15" y="10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82" name="Freeform 317"/>
              <p:cNvSpPr>
                <a:spLocks/>
              </p:cNvSpPr>
              <p:nvPr/>
            </p:nvSpPr>
            <p:spPr bwMode="auto">
              <a:xfrm>
                <a:off x="4576763" y="3302000"/>
                <a:ext cx="47625" cy="41275"/>
              </a:xfrm>
              <a:custGeom>
                <a:avLst/>
                <a:gdLst>
                  <a:gd name="T0" fmla="*/ 0 w 26"/>
                  <a:gd name="T1" fmla="*/ 13 h 24"/>
                  <a:gd name="T2" fmla="*/ 0 w 26"/>
                  <a:gd name="T3" fmla="*/ 24 h 24"/>
                  <a:gd name="T4" fmla="*/ 26 w 26"/>
                  <a:gd name="T5" fmla="*/ 24 h 24"/>
                  <a:gd name="T6" fmla="*/ 26 w 26"/>
                  <a:gd name="T7" fmla="*/ 0 h 24"/>
                  <a:gd name="T8" fmla="*/ 0 w 26"/>
                  <a:gd name="T9" fmla="*/ 13 h 24"/>
                  <a:gd name="T10" fmla="*/ 0 w 26"/>
                  <a:gd name="T11" fmla="*/ 13 h 24"/>
                  <a:gd name="T12" fmla="*/ 0 w 26"/>
                  <a:gd name="T13" fmla="*/ 1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24">
                    <a:moveTo>
                      <a:pt x="0" y="13"/>
                    </a:moveTo>
                    <a:lnTo>
                      <a:pt x="0" y="24"/>
                    </a:lnTo>
                    <a:lnTo>
                      <a:pt x="26" y="24"/>
                    </a:lnTo>
                    <a:lnTo>
                      <a:pt x="26" y="0"/>
                    </a:lnTo>
                    <a:lnTo>
                      <a:pt x="0" y="13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83" name="Freeform 318"/>
              <p:cNvSpPr>
                <a:spLocks/>
              </p:cNvSpPr>
              <p:nvPr/>
            </p:nvSpPr>
            <p:spPr bwMode="auto">
              <a:xfrm>
                <a:off x="4576763" y="3343275"/>
                <a:ext cx="47625" cy="49213"/>
              </a:xfrm>
              <a:custGeom>
                <a:avLst/>
                <a:gdLst>
                  <a:gd name="T0" fmla="*/ 0 w 26"/>
                  <a:gd name="T1" fmla="*/ 0 h 28"/>
                  <a:gd name="T2" fmla="*/ 0 w 26"/>
                  <a:gd name="T3" fmla="*/ 28 h 28"/>
                  <a:gd name="T4" fmla="*/ 26 w 26"/>
                  <a:gd name="T5" fmla="*/ 0 h 28"/>
                  <a:gd name="T6" fmla="*/ 0 w 26"/>
                  <a:gd name="T7" fmla="*/ 0 h 28"/>
                  <a:gd name="T8" fmla="*/ 0 w 26"/>
                  <a:gd name="T9" fmla="*/ 0 h 28"/>
                  <a:gd name="T10" fmla="*/ 0 w 26"/>
                  <a:gd name="T11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28">
                    <a:moveTo>
                      <a:pt x="0" y="0"/>
                    </a:moveTo>
                    <a:lnTo>
                      <a:pt x="0" y="28"/>
                    </a:lnTo>
                    <a:lnTo>
                      <a:pt x="2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84" name="Freeform 319"/>
              <p:cNvSpPr>
                <a:spLocks/>
              </p:cNvSpPr>
              <p:nvPr/>
            </p:nvSpPr>
            <p:spPr bwMode="auto">
              <a:xfrm>
                <a:off x="4156075" y="3175000"/>
                <a:ext cx="198438" cy="373063"/>
              </a:xfrm>
              <a:custGeom>
                <a:avLst/>
                <a:gdLst>
                  <a:gd name="T0" fmla="*/ 24 w 114"/>
                  <a:gd name="T1" fmla="*/ 213 h 213"/>
                  <a:gd name="T2" fmla="*/ 29 w 114"/>
                  <a:gd name="T3" fmla="*/ 198 h 213"/>
                  <a:gd name="T4" fmla="*/ 44 w 114"/>
                  <a:gd name="T5" fmla="*/ 213 h 213"/>
                  <a:gd name="T6" fmla="*/ 44 w 114"/>
                  <a:gd name="T7" fmla="*/ 198 h 213"/>
                  <a:gd name="T8" fmla="*/ 61 w 114"/>
                  <a:gd name="T9" fmla="*/ 191 h 213"/>
                  <a:gd name="T10" fmla="*/ 67 w 114"/>
                  <a:gd name="T11" fmla="*/ 198 h 213"/>
                  <a:gd name="T12" fmla="*/ 74 w 114"/>
                  <a:gd name="T13" fmla="*/ 191 h 213"/>
                  <a:gd name="T14" fmla="*/ 107 w 114"/>
                  <a:gd name="T15" fmla="*/ 191 h 213"/>
                  <a:gd name="T16" fmla="*/ 114 w 114"/>
                  <a:gd name="T17" fmla="*/ 183 h 213"/>
                  <a:gd name="T18" fmla="*/ 102 w 114"/>
                  <a:gd name="T19" fmla="*/ 183 h 213"/>
                  <a:gd name="T20" fmla="*/ 114 w 114"/>
                  <a:gd name="T21" fmla="*/ 154 h 213"/>
                  <a:gd name="T22" fmla="*/ 107 w 114"/>
                  <a:gd name="T23" fmla="*/ 149 h 213"/>
                  <a:gd name="T24" fmla="*/ 87 w 114"/>
                  <a:gd name="T25" fmla="*/ 149 h 213"/>
                  <a:gd name="T26" fmla="*/ 102 w 114"/>
                  <a:gd name="T27" fmla="*/ 141 h 213"/>
                  <a:gd name="T28" fmla="*/ 102 w 114"/>
                  <a:gd name="T29" fmla="*/ 133 h 213"/>
                  <a:gd name="T30" fmla="*/ 87 w 114"/>
                  <a:gd name="T31" fmla="*/ 109 h 213"/>
                  <a:gd name="T32" fmla="*/ 81 w 114"/>
                  <a:gd name="T33" fmla="*/ 102 h 213"/>
                  <a:gd name="T34" fmla="*/ 67 w 114"/>
                  <a:gd name="T35" fmla="*/ 74 h 213"/>
                  <a:gd name="T36" fmla="*/ 44 w 114"/>
                  <a:gd name="T37" fmla="*/ 65 h 213"/>
                  <a:gd name="T38" fmla="*/ 74 w 114"/>
                  <a:gd name="T39" fmla="*/ 30 h 213"/>
                  <a:gd name="T40" fmla="*/ 67 w 114"/>
                  <a:gd name="T41" fmla="*/ 22 h 213"/>
                  <a:gd name="T42" fmla="*/ 37 w 114"/>
                  <a:gd name="T43" fmla="*/ 30 h 213"/>
                  <a:gd name="T44" fmla="*/ 37 w 114"/>
                  <a:gd name="T45" fmla="*/ 13 h 213"/>
                  <a:gd name="T46" fmla="*/ 61 w 114"/>
                  <a:gd name="T47" fmla="*/ 0 h 213"/>
                  <a:gd name="T48" fmla="*/ 29 w 114"/>
                  <a:gd name="T49" fmla="*/ 0 h 213"/>
                  <a:gd name="T50" fmla="*/ 17 w 114"/>
                  <a:gd name="T51" fmla="*/ 30 h 213"/>
                  <a:gd name="T52" fmla="*/ 0 w 114"/>
                  <a:gd name="T53" fmla="*/ 30 h 213"/>
                  <a:gd name="T54" fmla="*/ 17 w 114"/>
                  <a:gd name="T55" fmla="*/ 35 h 213"/>
                  <a:gd name="T56" fmla="*/ 24 w 114"/>
                  <a:gd name="T57" fmla="*/ 35 h 213"/>
                  <a:gd name="T58" fmla="*/ 17 w 114"/>
                  <a:gd name="T59" fmla="*/ 59 h 213"/>
                  <a:gd name="T60" fmla="*/ 24 w 114"/>
                  <a:gd name="T61" fmla="*/ 59 h 213"/>
                  <a:gd name="T62" fmla="*/ 24 w 114"/>
                  <a:gd name="T63" fmla="*/ 65 h 213"/>
                  <a:gd name="T64" fmla="*/ 17 w 114"/>
                  <a:gd name="T65" fmla="*/ 74 h 213"/>
                  <a:gd name="T66" fmla="*/ 24 w 114"/>
                  <a:gd name="T67" fmla="*/ 74 h 213"/>
                  <a:gd name="T68" fmla="*/ 29 w 114"/>
                  <a:gd name="T69" fmla="*/ 82 h 213"/>
                  <a:gd name="T70" fmla="*/ 24 w 114"/>
                  <a:gd name="T71" fmla="*/ 96 h 213"/>
                  <a:gd name="T72" fmla="*/ 29 w 114"/>
                  <a:gd name="T73" fmla="*/ 102 h 213"/>
                  <a:gd name="T74" fmla="*/ 44 w 114"/>
                  <a:gd name="T75" fmla="*/ 96 h 213"/>
                  <a:gd name="T76" fmla="*/ 44 w 114"/>
                  <a:gd name="T77" fmla="*/ 109 h 213"/>
                  <a:gd name="T78" fmla="*/ 61 w 114"/>
                  <a:gd name="T79" fmla="*/ 109 h 213"/>
                  <a:gd name="T80" fmla="*/ 61 w 114"/>
                  <a:gd name="T81" fmla="*/ 133 h 213"/>
                  <a:gd name="T82" fmla="*/ 29 w 114"/>
                  <a:gd name="T83" fmla="*/ 133 h 213"/>
                  <a:gd name="T84" fmla="*/ 37 w 114"/>
                  <a:gd name="T85" fmla="*/ 141 h 213"/>
                  <a:gd name="T86" fmla="*/ 29 w 114"/>
                  <a:gd name="T87" fmla="*/ 149 h 213"/>
                  <a:gd name="T88" fmla="*/ 37 w 114"/>
                  <a:gd name="T89" fmla="*/ 149 h 213"/>
                  <a:gd name="T90" fmla="*/ 37 w 114"/>
                  <a:gd name="T91" fmla="*/ 154 h 213"/>
                  <a:gd name="T92" fmla="*/ 24 w 114"/>
                  <a:gd name="T93" fmla="*/ 161 h 213"/>
                  <a:gd name="T94" fmla="*/ 29 w 114"/>
                  <a:gd name="T95" fmla="*/ 175 h 213"/>
                  <a:gd name="T96" fmla="*/ 37 w 114"/>
                  <a:gd name="T97" fmla="*/ 175 h 213"/>
                  <a:gd name="T98" fmla="*/ 44 w 114"/>
                  <a:gd name="T99" fmla="*/ 183 h 213"/>
                  <a:gd name="T100" fmla="*/ 61 w 114"/>
                  <a:gd name="T101" fmla="*/ 175 h 213"/>
                  <a:gd name="T102" fmla="*/ 61 w 114"/>
                  <a:gd name="T103" fmla="*/ 183 h 213"/>
                  <a:gd name="T104" fmla="*/ 37 w 114"/>
                  <a:gd name="T105" fmla="*/ 183 h 213"/>
                  <a:gd name="T106" fmla="*/ 24 w 114"/>
                  <a:gd name="T107" fmla="*/ 213 h 213"/>
                  <a:gd name="T108" fmla="*/ 24 w 114"/>
                  <a:gd name="T109" fmla="*/ 213 h 213"/>
                  <a:gd name="T110" fmla="*/ 24 w 114"/>
                  <a:gd name="T111" fmla="*/ 213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4" h="213">
                    <a:moveTo>
                      <a:pt x="24" y="213"/>
                    </a:moveTo>
                    <a:lnTo>
                      <a:pt x="29" y="198"/>
                    </a:lnTo>
                    <a:lnTo>
                      <a:pt x="44" y="213"/>
                    </a:lnTo>
                    <a:lnTo>
                      <a:pt x="44" y="198"/>
                    </a:lnTo>
                    <a:lnTo>
                      <a:pt x="61" y="191"/>
                    </a:lnTo>
                    <a:lnTo>
                      <a:pt x="67" y="198"/>
                    </a:lnTo>
                    <a:lnTo>
                      <a:pt x="74" y="191"/>
                    </a:lnTo>
                    <a:lnTo>
                      <a:pt x="107" y="191"/>
                    </a:lnTo>
                    <a:lnTo>
                      <a:pt x="114" y="183"/>
                    </a:lnTo>
                    <a:lnTo>
                      <a:pt x="102" y="183"/>
                    </a:lnTo>
                    <a:lnTo>
                      <a:pt x="114" y="154"/>
                    </a:lnTo>
                    <a:lnTo>
                      <a:pt x="107" y="149"/>
                    </a:lnTo>
                    <a:lnTo>
                      <a:pt x="87" y="149"/>
                    </a:lnTo>
                    <a:lnTo>
                      <a:pt x="102" y="141"/>
                    </a:lnTo>
                    <a:lnTo>
                      <a:pt x="102" y="133"/>
                    </a:lnTo>
                    <a:lnTo>
                      <a:pt x="87" y="109"/>
                    </a:lnTo>
                    <a:lnTo>
                      <a:pt x="81" y="102"/>
                    </a:lnTo>
                    <a:lnTo>
                      <a:pt x="67" y="74"/>
                    </a:lnTo>
                    <a:lnTo>
                      <a:pt x="44" y="65"/>
                    </a:lnTo>
                    <a:lnTo>
                      <a:pt x="74" y="30"/>
                    </a:lnTo>
                    <a:lnTo>
                      <a:pt x="67" y="22"/>
                    </a:lnTo>
                    <a:lnTo>
                      <a:pt x="37" y="30"/>
                    </a:lnTo>
                    <a:lnTo>
                      <a:pt x="37" y="13"/>
                    </a:lnTo>
                    <a:lnTo>
                      <a:pt x="61" y="0"/>
                    </a:lnTo>
                    <a:lnTo>
                      <a:pt x="29" y="0"/>
                    </a:lnTo>
                    <a:lnTo>
                      <a:pt x="17" y="30"/>
                    </a:lnTo>
                    <a:lnTo>
                      <a:pt x="0" y="30"/>
                    </a:lnTo>
                    <a:lnTo>
                      <a:pt x="17" y="35"/>
                    </a:lnTo>
                    <a:lnTo>
                      <a:pt x="24" y="35"/>
                    </a:lnTo>
                    <a:lnTo>
                      <a:pt x="17" y="59"/>
                    </a:lnTo>
                    <a:lnTo>
                      <a:pt x="24" y="59"/>
                    </a:lnTo>
                    <a:lnTo>
                      <a:pt x="24" y="65"/>
                    </a:lnTo>
                    <a:lnTo>
                      <a:pt x="17" y="74"/>
                    </a:lnTo>
                    <a:lnTo>
                      <a:pt x="24" y="74"/>
                    </a:lnTo>
                    <a:lnTo>
                      <a:pt x="29" y="82"/>
                    </a:lnTo>
                    <a:lnTo>
                      <a:pt x="24" y="96"/>
                    </a:lnTo>
                    <a:lnTo>
                      <a:pt x="29" y="102"/>
                    </a:lnTo>
                    <a:lnTo>
                      <a:pt x="44" y="96"/>
                    </a:lnTo>
                    <a:lnTo>
                      <a:pt x="44" y="109"/>
                    </a:lnTo>
                    <a:lnTo>
                      <a:pt x="61" y="109"/>
                    </a:lnTo>
                    <a:lnTo>
                      <a:pt x="61" y="133"/>
                    </a:lnTo>
                    <a:lnTo>
                      <a:pt x="29" y="133"/>
                    </a:lnTo>
                    <a:lnTo>
                      <a:pt x="37" y="141"/>
                    </a:lnTo>
                    <a:lnTo>
                      <a:pt x="29" y="149"/>
                    </a:lnTo>
                    <a:lnTo>
                      <a:pt x="37" y="149"/>
                    </a:lnTo>
                    <a:lnTo>
                      <a:pt x="37" y="154"/>
                    </a:lnTo>
                    <a:lnTo>
                      <a:pt x="24" y="161"/>
                    </a:lnTo>
                    <a:lnTo>
                      <a:pt x="29" y="175"/>
                    </a:lnTo>
                    <a:lnTo>
                      <a:pt x="37" y="175"/>
                    </a:lnTo>
                    <a:lnTo>
                      <a:pt x="44" y="183"/>
                    </a:lnTo>
                    <a:lnTo>
                      <a:pt x="61" y="175"/>
                    </a:lnTo>
                    <a:lnTo>
                      <a:pt x="61" y="183"/>
                    </a:lnTo>
                    <a:lnTo>
                      <a:pt x="37" y="183"/>
                    </a:lnTo>
                    <a:lnTo>
                      <a:pt x="24" y="213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85" name="Freeform 320"/>
              <p:cNvSpPr>
                <a:spLocks/>
              </p:cNvSpPr>
              <p:nvPr/>
            </p:nvSpPr>
            <p:spPr bwMode="auto">
              <a:xfrm>
                <a:off x="4522788" y="3802063"/>
                <a:ext cx="41275" cy="66675"/>
              </a:xfrm>
              <a:custGeom>
                <a:avLst/>
                <a:gdLst>
                  <a:gd name="T0" fmla="*/ 0 w 23"/>
                  <a:gd name="T1" fmla="*/ 7 h 38"/>
                  <a:gd name="T2" fmla="*/ 0 w 23"/>
                  <a:gd name="T3" fmla="*/ 30 h 38"/>
                  <a:gd name="T4" fmla="*/ 23 w 23"/>
                  <a:gd name="T5" fmla="*/ 38 h 38"/>
                  <a:gd name="T6" fmla="*/ 23 w 23"/>
                  <a:gd name="T7" fmla="*/ 0 h 38"/>
                  <a:gd name="T8" fmla="*/ 0 w 23"/>
                  <a:gd name="T9" fmla="*/ 7 h 38"/>
                  <a:gd name="T10" fmla="*/ 0 w 23"/>
                  <a:gd name="T11" fmla="*/ 7 h 38"/>
                  <a:gd name="T12" fmla="*/ 0 w 23"/>
                  <a:gd name="T13" fmla="*/ 7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" h="38">
                    <a:moveTo>
                      <a:pt x="0" y="7"/>
                    </a:moveTo>
                    <a:lnTo>
                      <a:pt x="0" y="30"/>
                    </a:lnTo>
                    <a:lnTo>
                      <a:pt x="23" y="38"/>
                    </a:lnTo>
                    <a:lnTo>
                      <a:pt x="23" y="0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86" name="Freeform 321"/>
              <p:cNvSpPr>
                <a:spLocks/>
              </p:cNvSpPr>
              <p:nvPr/>
            </p:nvSpPr>
            <p:spPr bwMode="auto">
              <a:xfrm>
                <a:off x="4506913" y="3868738"/>
                <a:ext cx="50800" cy="76200"/>
              </a:xfrm>
              <a:custGeom>
                <a:avLst/>
                <a:gdLst>
                  <a:gd name="T0" fmla="*/ 0 w 29"/>
                  <a:gd name="T1" fmla="*/ 0 h 44"/>
                  <a:gd name="T2" fmla="*/ 9 w 29"/>
                  <a:gd name="T3" fmla="*/ 36 h 44"/>
                  <a:gd name="T4" fmla="*/ 9 w 29"/>
                  <a:gd name="T5" fmla="*/ 44 h 44"/>
                  <a:gd name="T6" fmla="*/ 20 w 29"/>
                  <a:gd name="T7" fmla="*/ 36 h 44"/>
                  <a:gd name="T8" fmla="*/ 29 w 29"/>
                  <a:gd name="T9" fmla="*/ 7 h 44"/>
                  <a:gd name="T10" fmla="*/ 20 w 29"/>
                  <a:gd name="T11" fmla="*/ 0 h 44"/>
                  <a:gd name="T12" fmla="*/ 0 w 29"/>
                  <a:gd name="T13" fmla="*/ 0 h 44"/>
                  <a:gd name="T14" fmla="*/ 0 w 29"/>
                  <a:gd name="T15" fmla="*/ 0 h 44"/>
                  <a:gd name="T16" fmla="*/ 0 w 29"/>
                  <a:gd name="T17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9" h="44">
                    <a:moveTo>
                      <a:pt x="0" y="0"/>
                    </a:moveTo>
                    <a:lnTo>
                      <a:pt x="9" y="36"/>
                    </a:lnTo>
                    <a:lnTo>
                      <a:pt x="9" y="44"/>
                    </a:lnTo>
                    <a:lnTo>
                      <a:pt x="20" y="36"/>
                    </a:lnTo>
                    <a:lnTo>
                      <a:pt x="29" y="7"/>
                    </a:lnTo>
                    <a:lnTo>
                      <a:pt x="2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87" name="Freeform 322"/>
              <p:cNvSpPr>
                <a:spLocks/>
              </p:cNvSpPr>
              <p:nvPr/>
            </p:nvSpPr>
            <p:spPr bwMode="auto">
              <a:xfrm>
                <a:off x="4640262" y="3970338"/>
                <a:ext cx="79375" cy="50799"/>
              </a:xfrm>
              <a:custGeom>
                <a:avLst/>
                <a:gdLst>
                  <a:gd name="T0" fmla="*/ 0 w 45"/>
                  <a:gd name="T1" fmla="*/ 0 h 29"/>
                  <a:gd name="T2" fmla="*/ 0 w 45"/>
                  <a:gd name="T3" fmla="*/ 9 h 29"/>
                  <a:gd name="T4" fmla="*/ 31 w 45"/>
                  <a:gd name="T5" fmla="*/ 29 h 29"/>
                  <a:gd name="T6" fmla="*/ 45 w 45"/>
                  <a:gd name="T7" fmla="*/ 0 h 29"/>
                  <a:gd name="T8" fmla="*/ 0 w 45"/>
                  <a:gd name="T9" fmla="*/ 0 h 29"/>
                  <a:gd name="T10" fmla="*/ 0 w 45"/>
                  <a:gd name="T11" fmla="*/ 0 h 29"/>
                  <a:gd name="T12" fmla="*/ 0 w 45"/>
                  <a:gd name="T13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5" h="29">
                    <a:moveTo>
                      <a:pt x="0" y="0"/>
                    </a:moveTo>
                    <a:lnTo>
                      <a:pt x="0" y="9"/>
                    </a:lnTo>
                    <a:lnTo>
                      <a:pt x="31" y="29"/>
                    </a:lnTo>
                    <a:lnTo>
                      <a:pt x="4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88" name="Freeform 323"/>
              <p:cNvSpPr>
                <a:spLocks/>
              </p:cNvSpPr>
              <p:nvPr/>
            </p:nvSpPr>
            <p:spPr bwMode="auto">
              <a:xfrm>
                <a:off x="4816475" y="3970338"/>
                <a:ext cx="53975" cy="50800"/>
              </a:xfrm>
              <a:custGeom>
                <a:avLst/>
                <a:gdLst>
                  <a:gd name="T0" fmla="*/ 0 w 30"/>
                  <a:gd name="T1" fmla="*/ 9 h 29"/>
                  <a:gd name="T2" fmla="*/ 7 w 30"/>
                  <a:gd name="T3" fmla="*/ 9 h 29"/>
                  <a:gd name="T4" fmla="*/ 7 w 30"/>
                  <a:gd name="T5" fmla="*/ 29 h 29"/>
                  <a:gd name="T6" fmla="*/ 30 w 30"/>
                  <a:gd name="T7" fmla="*/ 29 h 29"/>
                  <a:gd name="T8" fmla="*/ 24 w 30"/>
                  <a:gd name="T9" fmla="*/ 9 h 29"/>
                  <a:gd name="T10" fmla="*/ 30 w 30"/>
                  <a:gd name="T11" fmla="*/ 20 h 29"/>
                  <a:gd name="T12" fmla="*/ 30 w 30"/>
                  <a:gd name="T13" fmla="*/ 9 h 29"/>
                  <a:gd name="T14" fmla="*/ 7 w 30"/>
                  <a:gd name="T15" fmla="*/ 0 h 29"/>
                  <a:gd name="T16" fmla="*/ 0 w 30"/>
                  <a:gd name="T17" fmla="*/ 9 h 29"/>
                  <a:gd name="T18" fmla="*/ 0 w 30"/>
                  <a:gd name="T19" fmla="*/ 9 h 29"/>
                  <a:gd name="T20" fmla="*/ 0 w 30"/>
                  <a:gd name="T21" fmla="*/ 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0" h="29">
                    <a:moveTo>
                      <a:pt x="0" y="9"/>
                    </a:moveTo>
                    <a:lnTo>
                      <a:pt x="7" y="9"/>
                    </a:lnTo>
                    <a:lnTo>
                      <a:pt x="7" y="29"/>
                    </a:lnTo>
                    <a:lnTo>
                      <a:pt x="30" y="29"/>
                    </a:lnTo>
                    <a:lnTo>
                      <a:pt x="24" y="9"/>
                    </a:lnTo>
                    <a:lnTo>
                      <a:pt x="30" y="20"/>
                    </a:lnTo>
                    <a:lnTo>
                      <a:pt x="30" y="9"/>
                    </a:lnTo>
                    <a:lnTo>
                      <a:pt x="7" y="0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89" name="Freeform 324"/>
              <p:cNvSpPr>
                <a:spLocks/>
              </p:cNvSpPr>
              <p:nvPr/>
            </p:nvSpPr>
            <p:spPr bwMode="auto">
              <a:xfrm>
                <a:off x="4371975" y="3906838"/>
                <a:ext cx="36513" cy="47625"/>
              </a:xfrm>
              <a:custGeom>
                <a:avLst/>
                <a:gdLst>
                  <a:gd name="T0" fmla="*/ 0 w 21"/>
                  <a:gd name="T1" fmla="*/ 14 h 27"/>
                  <a:gd name="T2" fmla="*/ 8 w 21"/>
                  <a:gd name="T3" fmla="*/ 27 h 27"/>
                  <a:gd name="T4" fmla="*/ 21 w 21"/>
                  <a:gd name="T5" fmla="*/ 14 h 27"/>
                  <a:gd name="T6" fmla="*/ 8 w 21"/>
                  <a:gd name="T7" fmla="*/ 0 h 27"/>
                  <a:gd name="T8" fmla="*/ 0 w 21"/>
                  <a:gd name="T9" fmla="*/ 14 h 27"/>
                  <a:gd name="T10" fmla="*/ 0 w 21"/>
                  <a:gd name="T11" fmla="*/ 14 h 27"/>
                  <a:gd name="T12" fmla="*/ 0 w 21"/>
                  <a:gd name="T13" fmla="*/ 1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" h="27">
                    <a:moveTo>
                      <a:pt x="0" y="14"/>
                    </a:moveTo>
                    <a:lnTo>
                      <a:pt x="8" y="27"/>
                    </a:lnTo>
                    <a:lnTo>
                      <a:pt x="21" y="14"/>
                    </a:lnTo>
                    <a:lnTo>
                      <a:pt x="8" y="0"/>
                    </a:lnTo>
                    <a:lnTo>
                      <a:pt x="0" y="14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90" name="Freeform 325"/>
              <p:cNvSpPr>
                <a:spLocks/>
              </p:cNvSpPr>
              <p:nvPr/>
            </p:nvSpPr>
            <p:spPr bwMode="auto">
              <a:xfrm>
                <a:off x="4781550" y="3819525"/>
                <a:ext cx="47625" cy="100013"/>
              </a:xfrm>
              <a:custGeom>
                <a:avLst/>
                <a:gdLst>
                  <a:gd name="T0" fmla="*/ 0 w 27"/>
                  <a:gd name="T1" fmla="*/ 0 h 57"/>
                  <a:gd name="T2" fmla="*/ 8 w 27"/>
                  <a:gd name="T3" fmla="*/ 0 h 57"/>
                  <a:gd name="T4" fmla="*/ 17 w 27"/>
                  <a:gd name="T5" fmla="*/ 13 h 57"/>
                  <a:gd name="T6" fmla="*/ 17 w 27"/>
                  <a:gd name="T7" fmla="*/ 22 h 57"/>
                  <a:gd name="T8" fmla="*/ 27 w 27"/>
                  <a:gd name="T9" fmla="*/ 30 h 57"/>
                  <a:gd name="T10" fmla="*/ 27 w 27"/>
                  <a:gd name="T11" fmla="*/ 35 h 57"/>
                  <a:gd name="T12" fmla="*/ 8 w 27"/>
                  <a:gd name="T13" fmla="*/ 57 h 57"/>
                  <a:gd name="T14" fmla="*/ 0 w 27"/>
                  <a:gd name="T15" fmla="*/ 50 h 57"/>
                  <a:gd name="T16" fmla="*/ 0 w 27"/>
                  <a:gd name="T17" fmla="*/ 0 h 57"/>
                  <a:gd name="T18" fmla="*/ 0 w 27"/>
                  <a:gd name="T19" fmla="*/ 0 h 57"/>
                  <a:gd name="T20" fmla="*/ 0 w 27"/>
                  <a:gd name="T21" fmla="*/ 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7" h="57">
                    <a:moveTo>
                      <a:pt x="0" y="0"/>
                    </a:moveTo>
                    <a:lnTo>
                      <a:pt x="8" y="0"/>
                    </a:lnTo>
                    <a:lnTo>
                      <a:pt x="17" y="13"/>
                    </a:lnTo>
                    <a:lnTo>
                      <a:pt x="17" y="22"/>
                    </a:lnTo>
                    <a:lnTo>
                      <a:pt x="27" y="30"/>
                    </a:lnTo>
                    <a:lnTo>
                      <a:pt x="27" y="35"/>
                    </a:lnTo>
                    <a:lnTo>
                      <a:pt x="8" y="57"/>
                    </a:lnTo>
                    <a:lnTo>
                      <a:pt x="0" y="5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91" name="Freeform 326"/>
              <p:cNvSpPr>
                <a:spLocks/>
              </p:cNvSpPr>
              <p:nvPr/>
            </p:nvSpPr>
            <p:spPr bwMode="auto">
              <a:xfrm>
                <a:off x="4859338" y="3759200"/>
                <a:ext cx="136525" cy="109538"/>
              </a:xfrm>
              <a:custGeom>
                <a:avLst/>
                <a:gdLst>
                  <a:gd name="T0" fmla="*/ 78 w 78"/>
                  <a:gd name="T1" fmla="*/ 9 h 62"/>
                  <a:gd name="T2" fmla="*/ 78 w 78"/>
                  <a:gd name="T3" fmla="*/ 17 h 62"/>
                  <a:gd name="T4" fmla="*/ 72 w 78"/>
                  <a:gd name="T5" fmla="*/ 17 h 62"/>
                  <a:gd name="T6" fmla="*/ 67 w 78"/>
                  <a:gd name="T7" fmla="*/ 32 h 62"/>
                  <a:gd name="T8" fmla="*/ 72 w 78"/>
                  <a:gd name="T9" fmla="*/ 47 h 62"/>
                  <a:gd name="T10" fmla="*/ 57 w 78"/>
                  <a:gd name="T11" fmla="*/ 47 h 62"/>
                  <a:gd name="T12" fmla="*/ 45 w 78"/>
                  <a:gd name="T13" fmla="*/ 62 h 62"/>
                  <a:gd name="T14" fmla="*/ 21 w 78"/>
                  <a:gd name="T15" fmla="*/ 56 h 62"/>
                  <a:gd name="T16" fmla="*/ 6 w 78"/>
                  <a:gd name="T17" fmla="*/ 56 h 62"/>
                  <a:gd name="T18" fmla="*/ 6 w 78"/>
                  <a:gd name="T19" fmla="*/ 47 h 62"/>
                  <a:gd name="T20" fmla="*/ 0 w 78"/>
                  <a:gd name="T21" fmla="*/ 32 h 62"/>
                  <a:gd name="T22" fmla="*/ 6 w 78"/>
                  <a:gd name="T23" fmla="*/ 25 h 62"/>
                  <a:gd name="T24" fmla="*/ 0 w 78"/>
                  <a:gd name="T25" fmla="*/ 9 h 62"/>
                  <a:gd name="T26" fmla="*/ 0 w 78"/>
                  <a:gd name="T27" fmla="*/ 0 h 62"/>
                  <a:gd name="T28" fmla="*/ 6 w 78"/>
                  <a:gd name="T29" fmla="*/ 9 h 62"/>
                  <a:gd name="T30" fmla="*/ 13 w 78"/>
                  <a:gd name="T31" fmla="*/ 9 h 62"/>
                  <a:gd name="T32" fmla="*/ 45 w 78"/>
                  <a:gd name="T33" fmla="*/ 17 h 62"/>
                  <a:gd name="T34" fmla="*/ 57 w 78"/>
                  <a:gd name="T35" fmla="*/ 0 h 62"/>
                  <a:gd name="T36" fmla="*/ 78 w 78"/>
                  <a:gd name="T37" fmla="*/ 9 h 62"/>
                  <a:gd name="T38" fmla="*/ 78 w 78"/>
                  <a:gd name="T39" fmla="*/ 9 h 62"/>
                  <a:gd name="T40" fmla="*/ 78 w 78"/>
                  <a:gd name="T41" fmla="*/ 9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8" h="62">
                    <a:moveTo>
                      <a:pt x="78" y="9"/>
                    </a:moveTo>
                    <a:lnTo>
                      <a:pt x="78" y="17"/>
                    </a:lnTo>
                    <a:lnTo>
                      <a:pt x="72" y="17"/>
                    </a:lnTo>
                    <a:lnTo>
                      <a:pt x="67" y="32"/>
                    </a:lnTo>
                    <a:lnTo>
                      <a:pt x="72" y="47"/>
                    </a:lnTo>
                    <a:lnTo>
                      <a:pt x="57" y="47"/>
                    </a:lnTo>
                    <a:lnTo>
                      <a:pt x="45" y="62"/>
                    </a:lnTo>
                    <a:lnTo>
                      <a:pt x="21" y="56"/>
                    </a:lnTo>
                    <a:lnTo>
                      <a:pt x="6" y="56"/>
                    </a:lnTo>
                    <a:lnTo>
                      <a:pt x="6" y="47"/>
                    </a:lnTo>
                    <a:lnTo>
                      <a:pt x="0" y="32"/>
                    </a:lnTo>
                    <a:lnTo>
                      <a:pt x="6" y="25"/>
                    </a:lnTo>
                    <a:lnTo>
                      <a:pt x="0" y="9"/>
                    </a:lnTo>
                    <a:lnTo>
                      <a:pt x="0" y="0"/>
                    </a:lnTo>
                    <a:lnTo>
                      <a:pt x="6" y="9"/>
                    </a:lnTo>
                    <a:lnTo>
                      <a:pt x="13" y="9"/>
                    </a:lnTo>
                    <a:lnTo>
                      <a:pt x="45" y="17"/>
                    </a:lnTo>
                    <a:lnTo>
                      <a:pt x="57" y="0"/>
                    </a:lnTo>
                    <a:lnTo>
                      <a:pt x="78" y="9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92" name="Freeform 327"/>
              <p:cNvSpPr>
                <a:spLocks/>
              </p:cNvSpPr>
              <p:nvPr/>
            </p:nvSpPr>
            <p:spPr bwMode="auto">
              <a:xfrm>
                <a:off x="4708525" y="3589338"/>
                <a:ext cx="150813" cy="120650"/>
              </a:xfrm>
              <a:custGeom>
                <a:avLst/>
                <a:gdLst>
                  <a:gd name="T0" fmla="*/ 29 w 86"/>
                  <a:gd name="T1" fmla="*/ 69 h 69"/>
                  <a:gd name="T2" fmla="*/ 49 w 86"/>
                  <a:gd name="T3" fmla="*/ 52 h 69"/>
                  <a:gd name="T4" fmla="*/ 64 w 86"/>
                  <a:gd name="T5" fmla="*/ 52 h 69"/>
                  <a:gd name="T6" fmla="*/ 71 w 86"/>
                  <a:gd name="T7" fmla="*/ 22 h 69"/>
                  <a:gd name="T8" fmla="*/ 86 w 86"/>
                  <a:gd name="T9" fmla="*/ 22 h 69"/>
                  <a:gd name="T10" fmla="*/ 71 w 86"/>
                  <a:gd name="T11" fmla="*/ 6 h 69"/>
                  <a:gd name="T12" fmla="*/ 55 w 86"/>
                  <a:gd name="T13" fmla="*/ 0 h 69"/>
                  <a:gd name="T14" fmla="*/ 20 w 86"/>
                  <a:gd name="T15" fmla="*/ 22 h 69"/>
                  <a:gd name="T16" fmla="*/ 7 w 86"/>
                  <a:gd name="T17" fmla="*/ 22 h 69"/>
                  <a:gd name="T18" fmla="*/ 0 w 86"/>
                  <a:gd name="T19" fmla="*/ 37 h 69"/>
                  <a:gd name="T20" fmla="*/ 0 w 86"/>
                  <a:gd name="T21" fmla="*/ 45 h 69"/>
                  <a:gd name="T22" fmla="*/ 20 w 86"/>
                  <a:gd name="T23" fmla="*/ 69 h 69"/>
                  <a:gd name="T24" fmla="*/ 29 w 86"/>
                  <a:gd name="T25" fmla="*/ 69 h 69"/>
                  <a:gd name="T26" fmla="*/ 29 w 86"/>
                  <a:gd name="T27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6" h="69">
                    <a:moveTo>
                      <a:pt x="29" y="69"/>
                    </a:moveTo>
                    <a:lnTo>
                      <a:pt x="49" y="52"/>
                    </a:lnTo>
                    <a:lnTo>
                      <a:pt x="64" y="52"/>
                    </a:lnTo>
                    <a:lnTo>
                      <a:pt x="71" y="22"/>
                    </a:lnTo>
                    <a:lnTo>
                      <a:pt x="86" y="22"/>
                    </a:lnTo>
                    <a:lnTo>
                      <a:pt x="71" y="6"/>
                    </a:lnTo>
                    <a:lnTo>
                      <a:pt x="55" y="0"/>
                    </a:lnTo>
                    <a:lnTo>
                      <a:pt x="20" y="22"/>
                    </a:lnTo>
                    <a:lnTo>
                      <a:pt x="7" y="22"/>
                    </a:lnTo>
                    <a:lnTo>
                      <a:pt x="0" y="37"/>
                    </a:lnTo>
                    <a:lnTo>
                      <a:pt x="0" y="45"/>
                    </a:lnTo>
                    <a:lnTo>
                      <a:pt x="20" y="69"/>
                    </a:lnTo>
                    <a:lnTo>
                      <a:pt x="29" y="69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93" name="Freeform 328"/>
              <p:cNvSpPr>
                <a:spLocks/>
              </p:cNvSpPr>
              <p:nvPr/>
            </p:nvSpPr>
            <p:spPr bwMode="auto">
              <a:xfrm>
                <a:off x="4641850" y="3671888"/>
                <a:ext cx="139700" cy="147637"/>
              </a:xfrm>
              <a:custGeom>
                <a:avLst/>
                <a:gdLst>
                  <a:gd name="T0" fmla="*/ 38 w 80"/>
                  <a:gd name="T1" fmla="*/ 0 h 84"/>
                  <a:gd name="T2" fmla="*/ 58 w 80"/>
                  <a:gd name="T3" fmla="*/ 23 h 84"/>
                  <a:gd name="T4" fmla="*/ 67 w 80"/>
                  <a:gd name="T5" fmla="*/ 23 h 84"/>
                  <a:gd name="T6" fmla="*/ 80 w 80"/>
                  <a:gd name="T7" fmla="*/ 30 h 84"/>
                  <a:gd name="T8" fmla="*/ 80 w 80"/>
                  <a:gd name="T9" fmla="*/ 38 h 84"/>
                  <a:gd name="T10" fmla="*/ 67 w 80"/>
                  <a:gd name="T11" fmla="*/ 38 h 84"/>
                  <a:gd name="T12" fmla="*/ 67 w 80"/>
                  <a:gd name="T13" fmla="*/ 30 h 84"/>
                  <a:gd name="T14" fmla="*/ 45 w 80"/>
                  <a:gd name="T15" fmla="*/ 23 h 84"/>
                  <a:gd name="T16" fmla="*/ 38 w 80"/>
                  <a:gd name="T17" fmla="*/ 30 h 84"/>
                  <a:gd name="T18" fmla="*/ 38 w 80"/>
                  <a:gd name="T19" fmla="*/ 23 h 84"/>
                  <a:gd name="T20" fmla="*/ 30 w 80"/>
                  <a:gd name="T21" fmla="*/ 30 h 84"/>
                  <a:gd name="T22" fmla="*/ 38 w 80"/>
                  <a:gd name="T23" fmla="*/ 38 h 84"/>
                  <a:gd name="T24" fmla="*/ 52 w 80"/>
                  <a:gd name="T25" fmla="*/ 69 h 84"/>
                  <a:gd name="T26" fmla="*/ 58 w 80"/>
                  <a:gd name="T27" fmla="*/ 77 h 84"/>
                  <a:gd name="T28" fmla="*/ 58 w 80"/>
                  <a:gd name="T29" fmla="*/ 84 h 84"/>
                  <a:gd name="T30" fmla="*/ 45 w 80"/>
                  <a:gd name="T31" fmla="*/ 69 h 84"/>
                  <a:gd name="T32" fmla="*/ 38 w 80"/>
                  <a:gd name="T33" fmla="*/ 69 h 84"/>
                  <a:gd name="T34" fmla="*/ 16 w 80"/>
                  <a:gd name="T35" fmla="*/ 52 h 84"/>
                  <a:gd name="T36" fmla="*/ 16 w 80"/>
                  <a:gd name="T37" fmla="*/ 30 h 84"/>
                  <a:gd name="T38" fmla="*/ 8 w 80"/>
                  <a:gd name="T39" fmla="*/ 30 h 84"/>
                  <a:gd name="T40" fmla="*/ 0 w 80"/>
                  <a:gd name="T41" fmla="*/ 38 h 84"/>
                  <a:gd name="T42" fmla="*/ 0 w 80"/>
                  <a:gd name="T43" fmla="*/ 23 h 84"/>
                  <a:gd name="T44" fmla="*/ 16 w 80"/>
                  <a:gd name="T45" fmla="*/ 23 h 84"/>
                  <a:gd name="T46" fmla="*/ 30 w 80"/>
                  <a:gd name="T47" fmla="*/ 0 h 84"/>
                  <a:gd name="T48" fmla="*/ 38 w 80"/>
                  <a:gd name="T49" fmla="*/ 0 h 84"/>
                  <a:gd name="T50" fmla="*/ 38 w 80"/>
                  <a:gd name="T51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80" h="84">
                    <a:moveTo>
                      <a:pt x="38" y="0"/>
                    </a:moveTo>
                    <a:lnTo>
                      <a:pt x="58" y="23"/>
                    </a:lnTo>
                    <a:lnTo>
                      <a:pt x="67" y="23"/>
                    </a:lnTo>
                    <a:lnTo>
                      <a:pt x="80" y="30"/>
                    </a:lnTo>
                    <a:lnTo>
                      <a:pt x="80" y="38"/>
                    </a:lnTo>
                    <a:lnTo>
                      <a:pt x="67" y="38"/>
                    </a:lnTo>
                    <a:lnTo>
                      <a:pt x="67" y="30"/>
                    </a:lnTo>
                    <a:lnTo>
                      <a:pt x="45" y="23"/>
                    </a:lnTo>
                    <a:lnTo>
                      <a:pt x="38" y="30"/>
                    </a:lnTo>
                    <a:lnTo>
                      <a:pt x="38" y="23"/>
                    </a:lnTo>
                    <a:lnTo>
                      <a:pt x="30" y="30"/>
                    </a:lnTo>
                    <a:lnTo>
                      <a:pt x="38" y="38"/>
                    </a:lnTo>
                    <a:lnTo>
                      <a:pt x="52" y="69"/>
                    </a:lnTo>
                    <a:lnTo>
                      <a:pt x="58" y="77"/>
                    </a:lnTo>
                    <a:lnTo>
                      <a:pt x="58" y="84"/>
                    </a:lnTo>
                    <a:lnTo>
                      <a:pt x="45" y="69"/>
                    </a:lnTo>
                    <a:lnTo>
                      <a:pt x="38" y="69"/>
                    </a:lnTo>
                    <a:lnTo>
                      <a:pt x="16" y="52"/>
                    </a:lnTo>
                    <a:lnTo>
                      <a:pt x="16" y="30"/>
                    </a:lnTo>
                    <a:lnTo>
                      <a:pt x="8" y="30"/>
                    </a:lnTo>
                    <a:lnTo>
                      <a:pt x="0" y="38"/>
                    </a:lnTo>
                    <a:lnTo>
                      <a:pt x="0" y="23"/>
                    </a:lnTo>
                    <a:lnTo>
                      <a:pt x="16" y="23"/>
                    </a:lnTo>
                    <a:lnTo>
                      <a:pt x="30" y="0"/>
                    </a:lnTo>
                    <a:lnTo>
                      <a:pt x="38" y="0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94" name="Freeform 329"/>
              <p:cNvSpPr>
                <a:spLocks/>
              </p:cNvSpPr>
              <p:nvPr/>
            </p:nvSpPr>
            <p:spPr bwMode="auto">
              <a:xfrm>
                <a:off x="4757738" y="3683000"/>
                <a:ext cx="112712" cy="158750"/>
              </a:xfrm>
              <a:custGeom>
                <a:avLst/>
                <a:gdLst>
                  <a:gd name="T0" fmla="*/ 13 w 63"/>
                  <a:gd name="T1" fmla="*/ 31 h 90"/>
                  <a:gd name="T2" fmla="*/ 13 w 63"/>
                  <a:gd name="T3" fmla="*/ 21 h 90"/>
                  <a:gd name="T4" fmla="*/ 0 w 63"/>
                  <a:gd name="T5" fmla="*/ 15 h 90"/>
                  <a:gd name="T6" fmla="*/ 20 w 63"/>
                  <a:gd name="T7" fmla="*/ 0 h 90"/>
                  <a:gd name="T8" fmla="*/ 35 w 63"/>
                  <a:gd name="T9" fmla="*/ 31 h 90"/>
                  <a:gd name="T10" fmla="*/ 57 w 63"/>
                  <a:gd name="T11" fmla="*/ 31 h 90"/>
                  <a:gd name="T12" fmla="*/ 57 w 63"/>
                  <a:gd name="T13" fmla="*/ 52 h 90"/>
                  <a:gd name="T14" fmla="*/ 63 w 63"/>
                  <a:gd name="T15" fmla="*/ 67 h 90"/>
                  <a:gd name="T16" fmla="*/ 57 w 63"/>
                  <a:gd name="T17" fmla="*/ 75 h 90"/>
                  <a:gd name="T18" fmla="*/ 35 w 63"/>
                  <a:gd name="T19" fmla="*/ 75 h 90"/>
                  <a:gd name="T20" fmla="*/ 26 w 63"/>
                  <a:gd name="T21" fmla="*/ 90 h 90"/>
                  <a:gd name="T22" fmla="*/ 20 w 63"/>
                  <a:gd name="T23" fmla="*/ 75 h 90"/>
                  <a:gd name="T24" fmla="*/ 20 w 63"/>
                  <a:gd name="T25" fmla="*/ 67 h 90"/>
                  <a:gd name="T26" fmla="*/ 13 w 63"/>
                  <a:gd name="T27" fmla="*/ 60 h 90"/>
                  <a:gd name="T28" fmla="*/ 13 w 63"/>
                  <a:gd name="T29" fmla="*/ 31 h 90"/>
                  <a:gd name="T30" fmla="*/ 13 w 63"/>
                  <a:gd name="T31" fmla="*/ 31 h 90"/>
                  <a:gd name="T32" fmla="*/ 13 w 63"/>
                  <a:gd name="T33" fmla="*/ 31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3" h="90">
                    <a:moveTo>
                      <a:pt x="13" y="31"/>
                    </a:moveTo>
                    <a:lnTo>
                      <a:pt x="13" y="21"/>
                    </a:lnTo>
                    <a:lnTo>
                      <a:pt x="0" y="15"/>
                    </a:lnTo>
                    <a:lnTo>
                      <a:pt x="20" y="0"/>
                    </a:lnTo>
                    <a:lnTo>
                      <a:pt x="35" y="31"/>
                    </a:lnTo>
                    <a:lnTo>
                      <a:pt x="57" y="31"/>
                    </a:lnTo>
                    <a:lnTo>
                      <a:pt x="57" y="52"/>
                    </a:lnTo>
                    <a:lnTo>
                      <a:pt x="63" y="67"/>
                    </a:lnTo>
                    <a:lnTo>
                      <a:pt x="57" y="75"/>
                    </a:lnTo>
                    <a:lnTo>
                      <a:pt x="35" y="75"/>
                    </a:lnTo>
                    <a:lnTo>
                      <a:pt x="26" y="90"/>
                    </a:lnTo>
                    <a:lnTo>
                      <a:pt x="20" y="75"/>
                    </a:lnTo>
                    <a:lnTo>
                      <a:pt x="20" y="67"/>
                    </a:lnTo>
                    <a:lnTo>
                      <a:pt x="13" y="60"/>
                    </a:lnTo>
                    <a:lnTo>
                      <a:pt x="13" y="31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95" name="Freeform 330"/>
              <p:cNvSpPr>
                <a:spLocks/>
              </p:cNvSpPr>
              <p:nvPr/>
            </p:nvSpPr>
            <p:spPr bwMode="auto">
              <a:xfrm>
                <a:off x="4806950" y="3819525"/>
                <a:ext cx="63500" cy="49213"/>
              </a:xfrm>
              <a:custGeom>
                <a:avLst/>
                <a:gdLst>
                  <a:gd name="T0" fmla="*/ 9 w 35"/>
                  <a:gd name="T1" fmla="*/ 28 h 28"/>
                  <a:gd name="T2" fmla="*/ 0 w 35"/>
                  <a:gd name="T3" fmla="*/ 20 h 28"/>
                  <a:gd name="T4" fmla="*/ 0 w 35"/>
                  <a:gd name="T5" fmla="*/ 13 h 28"/>
                  <a:gd name="T6" fmla="*/ 9 w 35"/>
                  <a:gd name="T7" fmla="*/ 0 h 28"/>
                  <a:gd name="T8" fmla="*/ 30 w 35"/>
                  <a:gd name="T9" fmla="*/ 0 h 28"/>
                  <a:gd name="T10" fmla="*/ 35 w 35"/>
                  <a:gd name="T11" fmla="*/ 13 h 28"/>
                  <a:gd name="T12" fmla="*/ 35 w 35"/>
                  <a:gd name="T13" fmla="*/ 20 h 28"/>
                  <a:gd name="T14" fmla="*/ 9 w 35"/>
                  <a:gd name="T15" fmla="*/ 28 h 28"/>
                  <a:gd name="T16" fmla="*/ 9 w 35"/>
                  <a:gd name="T17" fmla="*/ 28 h 28"/>
                  <a:gd name="T18" fmla="*/ 9 w 35"/>
                  <a:gd name="T19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5" h="28">
                    <a:moveTo>
                      <a:pt x="9" y="28"/>
                    </a:moveTo>
                    <a:lnTo>
                      <a:pt x="0" y="20"/>
                    </a:lnTo>
                    <a:lnTo>
                      <a:pt x="0" y="13"/>
                    </a:lnTo>
                    <a:lnTo>
                      <a:pt x="9" y="0"/>
                    </a:lnTo>
                    <a:lnTo>
                      <a:pt x="30" y="0"/>
                    </a:lnTo>
                    <a:lnTo>
                      <a:pt x="35" y="13"/>
                    </a:lnTo>
                    <a:lnTo>
                      <a:pt x="35" y="20"/>
                    </a:lnTo>
                    <a:lnTo>
                      <a:pt x="9" y="28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96" name="Freeform 331"/>
              <p:cNvSpPr>
                <a:spLocks/>
              </p:cNvSpPr>
              <p:nvPr/>
            </p:nvSpPr>
            <p:spPr bwMode="auto">
              <a:xfrm>
                <a:off x="4694238" y="3706813"/>
                <a:ext cx="87312" cy="92075"/>
              </a:xfrm>
              <a:custGeom>
                <a:avLst/>
                <a:gdLst>
                  <a:gd name="T0" fmla="*/ 10 w 50"/>
                  <a:gd name="T1" fmla="*/ 17 h 52"/>
                  <a:gd name="T2" fmla="*/ 22 w 50"/>
                  <a:gd name="T3" fmla="*/ 45 h 52"/>
                  <a:gd name="T4" fmla="*/ 28 w 50"/>
                  <a:gd name="T5" fmla="*/ 52 h 52"/>
                  <a:gd name="T6" fmla="*/ 37 w 50"/>
                  <a:gd name="T7" fmla="*/ 45 h 52"/>
                  <a:gd name="T8" fmla="*/ 50 w 50"/>
                  <a:gd name="T9" fmla="*/ 45 h 52"/>
                  <a:gd name="T10" fmla="*/ 50 w 50"/>
                  <a:gd name="T11" fmla="*/ 17 h 52"/>
                  <a:gd name="T12" fmla="*/ 37 w 50"/>
                  <a:gd name="T13" fmla="*/ 17 h 52"/>
                  <a:gd name="T14" fmla="*/ 37 w 50"/>
                  <a:gd name="T15" fmla="*/ 8 h 52"/>
                  <a:gd name="T16" fmla="*/ 15 w 50"/>
                  <a:gd name="T17" fmla="*/ 0 h 52"/>
                  <a:gd name="T18" fmla="*/ 10 w 50"/>
                  <a:gd name="T19" fmla="*/ 8 h 52"/>
                  <a:gd name="T20" fmla="*/ 10 w 50"/>
                  <a:gd name="T21" fmla="*/ 0 h 52"/>
                  <a:gd name="T22" fmla="*/ 0 w 50"/>
                  <a:gd name="T23" fmla="*/ 8 h 52"/>
                  <a:gd name="T24" fmla="*/ 10 w 50"/>
                  <a:gd name="T25" fmla="*/ 17 h 52"/>
                  <a:gd name="T26" fmla="*/ 10 w 50"/>
                  <a:gd name="T27" fmla="*/ 17 h 52"/>
                  <a:gd name="T28" fmla="*/ 10 w 50"/>
                  <a:gd name="T29" fmla="*/ 17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0" h="52">
                    <a:moveTo>
                      <a:pt x="10" y="17"/>
                    </a:moveTo>
                    <a:lnTo>
                      <a:pt x="22" y="45"/>
                    </a:lnTo>
                    <a:lnTo>
                      <a:pt x="28" y="52"/>
                    </a:lnTo>
                    <a:lnTo>
                      <a:pt x="37" y="45"/>
                    </a:lnTo>
                    <a:lnTo>
                      <a:pt x="50" y="45"/>
                    </a:lnTo>
                    <a:lnTo>
                      <a:pt x="50" y="17"/>
                    </a:lnTo>
                    <a:lnTo>
                      <a:pt x="37" y="17"/>
                    </a:lnTo>
                    <a:lnTo>
                      <a:pt x="37" y="8"/>
                    </a:lnTo>
                    <a:lnTo>
                      <a:pt x="15" y="0"/>
                    </a:lnTo>
                    <a:lnTo>
                      <a:pt x="10" y="8"/>
                    </a:lnTo>
                    <a:lnTo>
                      <a:pt x="10" y="0"/>
                    </a:lnTo>
                    <a:lnTo>
                      <a:pt x="0" y="8"/>
                    </a:lnTo>
                    <a:lnTo>
                      <a:pt x="10" y="17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97" name="Freeform 332"/>
              <p:cNvSpPr>
                <a:spLocks/>
              </p:cNvSpPr>
              <p:nvPr/>
            </p:nvSpPr>
            <p:spPr bwMode="auto">
              <a:xfrm>
                <a:off x="4603750" y="3498850"/>
                <a:ext cx="153988" cy="90488"/>
              </a:xfrm>
              <a:custGeom>
                <a:avLst/>
                <a:gdLst>
                  <a:gd name="T0" fmla="*/ 89 w 89"/>
                  <a:gd name="T1" fmla="*/ 37 h 52"/>
                  <a:gd name="T2" fmla="*/ 75 w 89"/>
                  <a:gd name="T3" fmla="*/ 15 h 52"/>
                  <a:gd name="T4" fmla="*/ 69 w 89"/>
                  <a:gd name="T5" fmla="*/ 15 h 52"/>
                  <a:gd name="T6" fmla="*/ 42 w 89"/>
                  <a:gd name="T7" fmla="*/ 0 h 52"/>
                  <a:gd name="T8" fmla="*/ 32 w 89"/>
                  <a:gd name="T9" fmla="*/ 0 h 52"/>
                  <a:gd name="T10" fmla="*/ 20 w 89"/>
                  <a:gd name="T11" fmla="*/ 8 h 52"/>
                  <a:gd name="T12" fmla="*/ 0 w 89"/>
                  <a:gd name="T13" fmla="*/ 15 h 52"/>
                  <a:gd name="T14" fmla="*/ 12 w 89"/>
                  <a:gd name="T15" fmla="*/ 37 h 52"/>
                  <a:gd name="T16" fmla="*/ 27 w 89"/>
                  <a:gd name="T17" fmla="*/ 52 h 52"/>
                  <a:gd name="T18" fmla="*/ 42 w 89"/>
                  <a:gd name="T19" fmla="*/ 52 h 52"/>
                  <a:gd name="T20" fmla="*/ 42 w 89"/>
                  <a:gd name="T21" fmla="*/ 45 h 52"/>
                  <a:gd name="T22" fmla="*/ 69 w 89"/>
                  <a:gd name="T23" fmla="*/ 52 h 52"/>
                  <a:gd name="T24" fmla="*/ 89 w 89"/>
                  <a:gd name="T25" fmla="*/ 37 h 52"/>
                  <a:gd name="T26" fmla="*/ 89 w 89"/>
                  <a:gd name="T27" fmla="*/ 37 h 52"/>
                  <a:gd name="T28" fmla="*/ 89 w 89"/>
                  <a:gd name="T29" fmla="*/ 37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89" h="52">
                    <a:moveTo>
                      <a:pt x="89" y="37"/>
                    </a:moveTo>
                    <a:lnTo>
                      <a:pt x="75" y="15"/>
                    </a:lnTo>
                    <a:lnTo>
                      <a:pt x="69" y="15"/>
                    </a:lnTo>
                    <a:lnTo>
                      <a:pt x="42" y="0"/>
                    </a:lnTo>
                    <a:lnTo>
                      <a:pt x="32" y="0"/>
                    </a:lnTo>
                    <a:lnTo>
                      <a:pt x="20" y="8"/>
                    </a:lnTo>
                    <a:lnTo>
                      <a:pt x="0" y="15"/>
                    </a:lnTo>
                    <a:lnTo>
                      <a:pt x="12" y="37"/>
                    </a:lnTo>
                    <a:lnTo>
                      <a:pt x="27" y="52"/>
                    </a:lnTo>
                    <a:lnTo>
                      <a:pt x="42" y="52"/>
                    </a:lnTo>
                    <a:lnTo>
                      <a:pt x="42" y="45"/>
                    </a:lnTo>
                    <a:lnTo>
                      <a:pt x="69" y="52"/>
                    </a:lnTo>
                    <a:lnTo>
                      <a:pt x="89" y="37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98" name="Freeform 333"/>
              <p:cNvSpPr>
                <a:spLocks/>
              </p:cNvSpPr>
              <p:nvPr/>
            </p:nvSpPr>
            <p:spPr bwMode="auto">
              <a:xfrm>
                <a:off x="4719638" y="3559175"/>
                <a:ext cx="139700" cy="69850"/>
              </a:xfrm>
              <a:custGeom>
                <a:avLst/>
                <a:gdLst>
                  <a:gd name="T0" fmla="*/ 79 w 79"/>
                  <a:gd name="T1" fmla="*/ 10 h 40"/>
                  <a:gd name="T2" fmla="*/ 57 w 79"/>
                  <a:gd name="T3" fmla="*/ 0 h 40"/>
                  <a:gd name="T4" fmla="*/ 42 w 79"/>
                  <a:gd name="T5" fmla="*/ 10 h 40"/>
                  <a:gd name="T6" fmla="*/ 35 w 79"/>
                  <a:gd name="T7" fmla="*/ 0 h 40"/>
                  <a:gd name="T8" fmla="*/ 22 w 79"/>
                  <a:gd name="T9" fmla="*/ 0 h 40"/>
                  <a:gd name="T10" fmla="*/ 0 w 79"/>
                  <a:gd name="T11" fmla="*/ 18 h 40"/>
                  <a:gd name="T12" fmla="*/ 0 w 79"/>
                  <a:gd name="T13" fmla="*/ 40 h 40"/>
                  <a:gd name="T14" fmla="*/ 13 w 79"/>
                  <a:gd name="T15" fmla="*/ 40 h 40"/>
                  <a:gd name="T16" fmla="*/ 48 w 79"/>
                  <a:gd name="T17" fmla="*/ 18 h 40"/>
                  <a:gd name="T18" fmla="*/ 64 w 79"/>
                  <a:gd name="T19" fmla="*/ 25 h 40"/>
                  <a:gd name="T20" fmla="*/ 79 w 79"/>
                  <a:gd name="T21" fmla="*/ 10 h 40"/>
                  <a:gd name="T22" fmla="*/ 79 w 79"/>
                  <a:gd name="T23" fmla="*/ 10 h 40"/>
                  <a:gd name="T24" fmla="*/ 79 w 79"/>
                  <a:gd name="T25" fmla="*/ 1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9" h="40">
                    <a:moveTo>
                      <a:pt x="79" y="10"/>
                    </a:moveTo>
                    <a:lnTo>
                      <a:pt x="57" y="0"/>
                    </a:lnTo>
                    <a:lnTo>
                      <a:pt x="42" y="10"/>
                    </a:lnTo>
                    <a:lnTo>
                      <a:pt x="35" y="0"/>
                    </a:lnTo>
                    <a:lnTo>
                      <a:pt x="22" y="0"/>
                    </a:lnTo>
                    <a:lnTo>
                      <a:pt x="0" y="18"/>
                    </a:lnTo>
                    <a:lnTo>
                      <a:pt x="0" y="40"/>
                    </a:lnTo>
                    <a:lnTo>
                      <a:pt x="13" y="40"/>
                    </a:lnTo>
                    <a:lnTo>
                      <a:pt x="48" y="18"/>
                    </a:lnTo>
                    <a:lnTo>
                      <a:pt x="64" y="25"/>
                    </a:lnTo>
                    <a:lnTo>
                      <a:pt x="79" y="10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699" name="Freeform 334"/>
              <p:cNvSpPr>
                <a:spLocks/>
              </p:cNvSpPr>
              <p:nvPr/>
            </p:nvSpPr>
            <p:spPr bwMode="auto">
              <a:xfrm>
                <a:off x="4471988" y="3644900"/>
                <a:ext cx="100012" cy="65088"/>
              </a:xfrm>
              <a:custGeom>
                <a:avLst/>
                <a:gdLst>
                  <a:gd name="T0" fmla="*/ 14 w 57"/>
                  <a:gd name="T1" fmla="*/ 37 h 37"/>
                  <a:gd name="T2" fmla="*/ 29 w 57"/>
                  <a:gd name="T3" fmla="*/ 20 h 37"/>
                  <a:gd name="T4" fmla="*/ 42 w 57"/>
                  <a:gd name="T5" fmla="*/ 20 h 37"/>
                  <a:gd name="T6" fmla="*/ 42 w 57"/>
                  <a:gd name="T7" fmla="*/ 15 h 37"/>
                  <a:gd name="T8" fmla="*/ 50 w 57"/>
                  <a:gd name="T9" fmla="*/ 20 h 37"/>
                  <a:gd name="T10" fmla="*/ 57 w 57"/>
                  <a:gd name="T11" fmla="*/ 6 h 37"/>
                  <a:gd name="T12" fmla="*/ 50 w 57"/>
                  <a:gd name="T13" fmla="*/ 6 h 37"/>
                  <a:gd name="T14" fmla="*/ 42 w 57"/>
                  <a:gd name="T15" fmla="*/ 0 h 37"/>
                  <a:gd name="T16" fmla="*/ 9 w 57"/>
                  <a:gd name="T17" fmla="*/ 0 h 37"/>
                  <a:gd name="T18" fmla="*/ 0 w 57"/>
                  <a:gd name="T19" fmla="*/ 15 h 37"/>
                  <a:gd name="T20" fmla="*/ 0 w 57"/>
                  <a:gd name="T21" fmla="*/ 20 h 37"/>
                  <a:gd name="T22" fmla="*/ 9 w 57"/>
                  <a:gd name="T23" fmla="*/ 15 h 37"/>
                  <a:gd name="T24" fmla="*/ 9 w 57"/>
                  <a:gd name="T25" fmla="*/ 37 h 37"/>
                  <a:gd name="T26" fmla="*/ 14 w 57"/>
                  <a:gd name="T27" fmla="*/ 37 h 37"/>
                  <a:gd name="T28" fmla="*/ 14 w 57"/>
                  <a:gd name="T2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7" h="37">
                    <a:moveTo>
                      <a:pt x="14" y="37"/>
                    </a:moveTo>
                    <a:lnTo>
                      <a:pt x="29" y="20"/>
                    </a:lnTo>
                    <a:lnTo>
                      <a:pt x="42" y="20"/>
                    </a:lnTo>
                    <a:lnTo>
                      <a:pt x="42" y="15"/>
                    </a:lnTo>
                    <a:lnTo>
                      <a:pt x="50" y="20"/>
                    </a:lnTo>
                    <a:lnTo>
                      <a:pt x="57" y="6"/>
                    </a:lnTo>
                    <a:lnTo>
                      <a:pt x="50" y="6"/>
                    </a:lnTo>
                    <a:lnTo>
                      <a:pt x="42" y="0"/>
                    </a:lnTo>
                    <a:lnTo>
                      <a:pt x="9" y="0"/>
                    </a:lnTo>
                    <a:lnTo>
                      <a:pt x="0" y="15"/>
                    </a:lnTo>
                    <a:lnTo>
                      <a:pt x="0" y="20"/>
                    </a:lnTo>
                    <a:lnTo>
                      <a:pt x="9" y="15"/>
                    </a:lnTo>
                    <a:lnTo>
                      <a:pt x="9" y="37"/>
                    </a:lnTo>
                    <a:lnTo>
                      <a:pt x="14" y="37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700" name="Freeform 335"/>
              <p:cNvSpPr>
                <a:spLocks/>
              </p:cNvSpPr>
              <p:nvPr/>
            </p:nvSpPr>
            <p:spPr bwMode="auto">
              <a:xfrm>
                <a:off x="4641850" y="3651250"/>
                <a:ext cx="66675" cy="55563"/>
              </a:xfrm>
              <a:custGeom>
                <a:avLst/>
                <a:gdLst>
                  <a:gd name="T0" fmla="*/ 38 w 38"/>
                  <a:gd name="T1" fmla="*/ 10 h 32"/>
                  <a:gd name="T2" fmla="*/ 30 w 38"/>
                  <a:gd name="T3" fmla="*/ 10 h 32"/>
                  <a:gd name="T4" fmla="*/ 15 w 38"/>
                  <a:gd name="T5" fmla="*/ 32 h 32"/>
                  <a:gd name="T6" fmla="*/ 0 w 38"/>
                  <a:gd name="T7" fmla="*/ 32 h 32"/>
                  <a:gd name="T8" fmla="*/ 0 w 38"/>
                  <a:gd name="T9" fmla="*/ 10 h 32"/>
                  <a:gd name="T10" fmla="*/ 38 w 38"/>
                  <a:gd name="T11" fmla="*/ 0 h 32"/>
                  <a:gd name="T12" fmla="*/ 38 w 38"/>
                  <a:gd name="T13" fmla="*/ 10 h 32"/>
                  <a:gd name="T14" fmla="*/ 38 w 38"/>
                  <a:gd name="T15" fmla="*/ 10 h 32"/>
                  <a:gd name="T16" fmla="*/ 38 w 38"/>
                  <a:gd name="T17" fmla="*/ 1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8" h="32">
                    <a:moveTo>
                      <a:pt x="38" y="10"/>
                    </a:moveTo>
                    <a:lnTo>
                      <a:pt x="30" y="10"/>
                    </a:lnTo>
                    <a:lnTo>
                      <a:pt x="15" y="32"/>
                    </a:lnTo>
                    <a:lnTo>
                      <a:pt x="0" y="32"/>
                    </a:lnTo>
                    <a:lnTo>
                      <a:pt x="0" y="10"/>
                    </a:lnTo>
                    <a:lnTo>
                      <a:pt x="38" y="0"/>
                    </a:lnTo>
                    <a:lnTo>
                      <a:pt x="38" y="10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701" name="Freeform 336"/>
              <p:cNvSpPr>
                <a:spLocks/>
              </p:cNvSpPr>
              <p:nvPr/>
            </p:nvSpPr>
            <p:spPr bwMode="auto">
              <a:xfrm>
                <a:off x="4740275" y="3790950"/>
                <a:ext cx="52388" cy="50800"/>
              </a:xfrm>
              <a:custGeom>
                <a:avLst/>
                <a:gdLst>
                  <a:gd name="T0" fmla="*/ 0 w 30"/>
                  <a:gd name="T1" fmla="*/ 13 h 28"/>
                  <a:gd name="T2" fmla="*/ 21 w 30"/>
                  <a:gd name="T3" fmla="*/ 28 h 28"/>
                  <a:gd name="T4" fmla="*/ 21 w 30"/>
                  <a:gd name="T5" fmla="*/ 13 h 28"/>
                  <a:gd name="T6" fmla="*/ 30 w 30"/>
                  <a:gd name="T7" fmla="*/ 13 h 28"/>
                  <a:gd name="T8" fmla="*/ 30 w 30"/>
                  <a:gd name="T9" fmla="*/ 6 h 28"/>
                  <a:gd name="T10" fmla="*/ 21 w 30"/>
                  <a:gd name="T11" fmla="*/ 0 h 28"/>
                  <a:gd name="T12" fmla="*/ 8 w 30"/>
                  <a:gd name="T13" fmla="*/ 0 h 28"/>
                  <a:gd name="T14" fmla="*/ 0 w 30"/>
                  <a:gd name="T15" fmla="*/ 6 h 28"/>
                  <a:gd name="T16" fmla="*/ 0 w 30"/>
                  <a:gd name="T17" fmla="*/ 13 h 28"/>
                  <a:gd name="T18" fmla="*/ 0 w 30"/>
                  <a:gd name="T19" fmla="*/ 13 h 28"/>
                  <a:gd name="T20" fmla="*/ 0 w 30"/>
                  <a:gd name="T21" fmla="*/ 13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0" h="28">
                    <a:moveTo>
                      <a:pt x="0" y="13"/>
                    </a:moveTo>
                    <a:lnTo>
                      <a:pt x="21" y="28"/>
                    </a:lnTo>
                    <a:lnTo>
                      <a:pt x="21" y="13"/>
                    </a:lnTo>
                    <a:lnTo>
                      <a:pt x="30" y="13"/>
                    </a:lnTo>
                    <a:lnTo>
                      <a:pt x="30" y="6"/>
                    </a:lnTo>
                    <a:lnTo>
                      <a:pt x="21" y="0"/>
                    </a:lnTo>
                    <a:lnTo>
                      <a:pt x="8" y="0"/>
                    </a:lnTo>
                    <a:lnTo>
                      <a:pt x="0" y="6"/>
                    </a:lnTo>
                    <a:lnTo>
                      <a:pt x="0" y="13"/>
                    </a:lnTo>
                    <a:close/>
                  </a:path>
                </a:pathLst>
              </a:custGeom>
              <a:solidFill>
                <a:srgbClr val="00529C"/>
              </a:solidFill>
              <a:ln w="6350">
                <a:solidFill>
                  <a:srgbClr val="BCBD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dirty="0"/>
              </a:p>
            </p:txBody>
          </p:sp>
        </p:grpSp>
        <p:sp>
          <p:nvSpPr>
            <p:cNvPr id="473" name="Freeform 281"/>
            <p:cNvSpPr>
              <a:spLocks/>
            </p:cNvSpPr>
            <p:nvPr/>
          </p:nvSpPr>
          <p:spPr bwMode="auto">
            <a:xfrm>
              <a:off x="6644107" y="2964561"/>
              <a:ext cx="295237" cy="296145"/>
            </a:xfrm>
            <a:custGeom>
              <a:avLst/>
              <a:gdLst>
                <a:gd name="T0" fmla="*/ 245 w 294"/>
                <a:gd name="T1" fmla="*/ 242 h 296"/>
                <a:gd name="T2" fmla="*/ 252 w 294"/>
                <a:gd name="T3" fmla="*/ 233 h 296"/>
                <a:gd name="T4" fmla="*/ 268 w 294"/>
                <a:gd name="T5" fmla="*/ 228 h 296"/>
                <a:gd name="T6" fmla="*/ 274 w 294"/>
                <a:gd name="T7" fmla="*/ 212 h 296"/>
                <a:gd name="T8" fmla="*/ 287 w 294"/>
                <a:gd name="T9" fmla="*/ 198 h 296"/>
                <a:gd name="T10" fmla="*/ 294 w 294"/>
                <a:gd name="T11" fmla="*/ 198 h 296"/>
                <a:gd name="T12" fmla="*/ 294 w 294"/>
                <a:gd name="T13" fmla="*/ 168 h 296"/>
                <a:gd name="T14" fmla="*/ 280 w 294"/>
                <a:gd name="T15" fmla="*/ 153 h 296"/>
                <a:gd name="T16" fmla="*/ 268 w 294"/>
                <a:gd name="T17" fmla="*/ 153 h 296"/>
                <a:gd name="T18" fmla="*/ 268 w 294"/>
                <a:gd name="T19" fmla="*/ 159 h 296"/>
                <a:gd name="T20" fmla="*/ 223 w 294"/>
                <a:gd name="T21" fmla="*/ 159 h 296"/>
                <a:gd name="T22" fmla="*/ 210 w 294"/>
                <a:gd name="T23" fmla="*/ 153 h 296"/>
                <a:gd name="T24" fmla="*/ 223 w 294"/>
                <a:gd name="T25" fmla="*/ 138 h 296"/>
                <a:gd name="T26" fmla="*/ 210 w 294"/>
                <a:gd name="T27" fmla="*/ 119 h 296"/>
                <a:gd name="T28" fmla="*/ 210 w 294"/>
                <a:gd name="T29" fmla="*/ 91 h 296"/>
                <a:gd name="T30" fmla="*/ 190 w 294"/>
                <a:gd name="T31" fmla="*/ 60 h 296"/>
                <a:gd name="T32" fmla="*/ 161 w 294"/>
                <a:gd name="T33" fmla="*/ 55 h 296"/>
                <a:gd name="T34" fmla="*/ 146 w 294"/>
                <a:gd name="T35" fmla="*/ 60 h 296"/>
                <a:gd name="T36" fmla="*/ 139 w 294"/>
                <a:gd name="T37" fmla="*/ 55 h 296"/>
                <a:gd name="T38" fmla="*/ 121 w 294"/>
                <a:gd name="T39" fmla="*/ 43 h 296"/>
                <a:gd name="T40" fmla="*/ 121 w 294"/>
                <a:gd name="T41" fmla="*/ 37 h 296"/>
                <a:gd name="T42" fmla="*/ 83 w 294"/>
                <a:gd name="T43" fmla="*/ 8 h 296"/>
                <a:gd name="T44" fmla="*/ 64 w 294"/>
                <a:gd name="T45" fmla="*/ 0 h 296"/>
                <a:gd name="T46" fmla="*/ 36 w 294"/>
                <a:gd name="T47" fmla="*/ 22 h 296"/>
                <a:gd name="T48" fmla="*/ 42 w 294"/>
                <a:gd name="T49" fmla="*/ 30 h 296"/>
                <a:gd name="T50" fmla="*/ 36 w 294"/>
                <a:gd name="T51" fmla="*/ 43 h 296"/>
                <a:gd name="T52" fmla="*/ 27 w 294"/>
                <a:gd name="T53" fmla="*/ 43 h 296"/>
                <a:gd name="T54" fmla="*/ 21 w 294"/>
                <a:gd name="T55" fmla="*/ 55 h 296"/>
                <a:gd name="T56" fmla="*/ 0 w 294"/>
                <a:gd name="T57" fmla="*/ 55 h 296"/>
                <a:gd name="T58" fmla="*/ 0 w 294"/>
                <a:gd name="T59" fmla="*/ 75 h 296"/>
                <a:gd name="T60" fmla="*/ 14 w 294"/>
                <a:gd name="T61" fmla="*/ 75 h 296"/>
                <a:gd name="T62" fmla="*/ 42 w 294"/>
                <a:gd name="T63" fmla="*/ 129 h 296"/>
                <a:gd name="T64" fmla="*/ 57 w 294"/>
                <a:gd name="T65" fmla="*/ 138 h 296"/>
                <a:gd name="T66" fmla="*/ 64 w 294"/>
                <a:gd name="T67" fmla="*/ 159 h 296"/>
                <a:gd name="T68" fmla="*/ 64 w 294"/>
                <a:gd name="T69" fmla="*/ 181 h 296"/>
                <a:gd name="T70" fmla="*/ 83 w 294"/>
                <a:gd name="T71" fmla="*/ 205 h 296"/>
                <a:gd name="T72" fmla="*/ 106 w 294"/>
                <a:gd name="T73" fmla="*/ 250 h 296"/>
                <a:gd name="T74" fmla="*/ 113 w 294"/>
                <a:gd name="T75" fmla="*/ 257 h 296"/>
                <a:gd name="T76" fmla="*/ 121 w 294"/>
                <a:gd name="T77" fmla="*/ 250 h 296"/>
                <a:gd name="T78" fmla="*/ 146 w 294"/>
                <a:gd name="T79" fmla="*/ 279 h 296"/>
                <a:gd name="T80" fmla="*/ 153 w 294"/>
                <a:gd name="T81" fmla="*/ 296 h 296"/>
                <a:gd name="T82" fmla="*/ 210 w 294"/>
                <a:gd name="T83" fmla="*/ 250 h 296"/>
                <a:gd name="T84" fmla="*/ 245 w 294"/>
                <a:gd name="T85" fmla="*/ 242 h 296"/>
                <a:gd name="T86" fmla="*/ 245 w 294"/>
                <a:gd name="T87" fmla="*/ 242 h 296"/>
                <a:gd name="T88" fmla="*/ 245 w 294"/>
                <a:gd name="T89" fmla="*/ 242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94" h="296">
                  <a:moveTo>
                    <a:pt x="245" y="242"/>
                  </a:moveTo>
                  <a:lnTo>
                    <a:pt x="252" y="233"/>
                  </a:lnTo>
                  <a:lnTo>
                    <a:pt x="268" y="228"/>
                  </a:lnTo>
                  <a:lnTo>
                    <a:pt x="274" y="212"/>
                  </a:lnTo>
                  <a:lnTo>
                    <a:pt x="287" y="198"/>
                  </a:lnTo>
                  <a:lnTo>
                    <a:pt x="294" y="198"/>
                  </a:lnTo>
                  <a:lnTo>
                    <a:pt x="294" y="168"/>
                  </a:lnTo>
                  <a:lnTo>
                    <a:pt x="280" y="153"/>
                  </a:lnTo>
                  <a:lnTo>
                    <a:pt x="268" y="153"/>
                  </a:lnTo>
                  <a:lnTo>
                    <a:pt x="268" y="159"/>
                  </a:lnTo>
                  <a:lnTo>
                    <a:pt x="223" y="159"/>
                  </a:lnTo>
                  <a:lnTo>
                    <a:pt x="210" y="153"/>
                  </a:lnTo>
                  <a:lnTo>
                    <a:pt x="223" y="138"/>
                  </a:lnTo>
                  <a:lnTo>
                    <a:pt x="210" y="119"/>
                  </a:lnTo>
                  <a:lnTo>
                    <a:pt x="210" y="91"/>
                  </a:lnTo>
                  <a:lnTo>
                    <a:pt x="190" y="60"/>
                  </a:lnTo>
                  <a:lnTo>
                    <a:pt x="161" y="55"/>
                  </a:lnTo>
                  <a:lnTo>
                    <a:pt x="146" y="60"/>
                  </a:lnTo>
                  <a:lnTo>
                    <a:pt x="139" y="55"/>
                  </a:lnTo>
                  <a:lnTo>
                    <a:pt x="121" y="43"/>
                  </a:lnTo>
                  <a:lnTo>
                    <a:pt x="121" y="37"/>
                  </a:lnTo>
                  <a:lnTo>
                    <a:pt x="83" y="8"/>
                  </a:lnTo>
                  <a:lnTo>
                    <a:pt x="64" y="0"/>
                  </a:lnTo>
                  <a:lnTo>
                    <a:pt x="36" y="22"/>
                  </a:lnTo>
                  <a:lnTo>
                    <a:pt x="42" y="30"/>
                  </a:lnTo>
                  <a:lnTo>
                    <a:pt x="36" y="43"/>
                  </a:lnTo>
                  <a:lnTo>
                    <a:pt x="27" y="43"/>
                  </a:lnTo>
                  <a:lnTo>
                    <a:pt x="21" y="55"/>
                  </a:lnTo>
                  <a:lnTo>
                    <a:pt x="0" y="55"/>
                  </a:lnTo>
                  <a:lnTo>
                    <a:pt x="0" y="75"/>
                  </a:lnTo>
                  <a:lnTo>
                    <a:pt x="14" y="75"/>
                  </a:lnTo>
                  <a:lnTo>
                    <a:pt x="42" y="129"/>
                  </a:lnTo>
                  <a:lnTo>
                    <a:pt x="57" y="138"/>
                  </a:lnTo>
                  <a:lnTo>
                    <a:pt x="64" y="159"/>
                  </a:lnTo>
                  <a:lnTo>
                    <a:pt x="64" y="181"/>
                  </a:lnTo>
                  <a:lnTo>
                    <a:pt x="83" y="205"/>
                  </a:lnTo>
                  <a:lnTo>
                    <a:pt x="106" y="250"/>
                  </a:lnTo>
                  <a:lnTo>
                    <a:pt x="113" y="257"/>
                  </a:lnTo>
                  <a:lnTo>
                    <a:pt x="121" y="250"/>
                  </a:lnTo>
                  <a:lnTo>
                    <a:pt x="146" y="279"/>
                  </a:lnTo>
                  <a:lnTo>
                    <a:pt x="153" y="296"/>
                  </a:lnTo>
                  <a:lnTo>
                    <a:pt x="210" y="250"/>
                  </a:lnTo>
                  <a:lnTo>
                    <a:pt x="245" y="242"/>
                  </a:lnTo>
                  <a:close/>
                </a:path>
              </a:pathLst>
            </a:custGeom>
            <a:solidFill>
              <a:srgbClr val="00529C"/>
            </a:solidFill>
            <a:ln w="6350">
              <a:solidFill>
                <a:srgbClr val="BCBDC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GB" dirty="0"/>
            </a:p>
          </p:txBody>
        </p:sp>
      </p:grpSp>
      <p:graphicFrame>
        <p:nvGraphicFramePr>
          <p:cNvPr id="27728" name="Group 8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0513065"/>
              </p:ext>
            </p:extLst>
          </p:nvPr>
        </p:nvGraphicFramePr>
        <p:xfrm>
          <a:off x="414809" y="1385324"/>
          <a:ext cx="3509119" cy="4745127"/>
        </p:xfrm>
        <a:graphic>
          <a:graphicData uri="http://schemas.openxmlformats.org/drawingml/2006/table">
            <a:tbl>
              <a:tblPr/>
              <a:tblGrid>
                <a:gridCol w="2236730"/>
                <a:gridCol w="1272389"/>
              </a:tblGrid>
              <a:tr h="328068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Airports</a:t>
                      </a:r>
                      <a:endParaRPr kumimoji="0" lang="tr-TR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52A4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014 (m pax)</a:t>
                      </a:r>
                      <a:endParaRPr kumimoji="0" lang="tr-TR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52A45"/>
                    </a:solidFill>
                  </a:tcPr>
                </a:tc>
              </a:tr>
              <a:tr h="338009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1.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 </a:t>
                      </a:r>
                      <a:r>
                        <a:rPr kumimoji="0" lang="de-DE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Atlanta</a:t>
                      </a: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 (ATL)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254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2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96.2</a:t>
                      </a:r>
                      <a:endParaRPr kumimoji="0" lang="de-DE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254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38009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2.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 </a:t>
                      </a: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Beijing (PEK)</a:t>
                      </a:r>
                      <a:r>
                        <a:rPr kumimoji="0" lang="de-DE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 </a:t>
                      </a:r>
                      <a:endParaRPr kumimoji="0" lang="tr-TR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2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86.1</a:t>
                      </a:r>
                      <a:endParaRPr kumimoji="0" lang="de-DE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38009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3.</a:t>
                      </a:r>
                      <a:r>
                        <a:rPr kumimoji="0" lang="de-DE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 London Heathrow </a:t>
                      </a: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(LHR)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2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73.4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38009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4. Tokyo Int.</a:t>
                      </a:r>
                      <a:r>
                        <a:rPr kumimoji="0" lang="de-DE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 </a:t>
                      </a: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(HND) 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2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72.8</a:t>
                      </a:r>
                      <a:endParaRPr kumimoji="0" lang="de-DE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17921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5.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 </a:t>
                      </a: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Los angeles (LAX)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70.7</a:t>
                      </a:r>
                      <a:r>
                        <a:rPr kumimoji="0" lang="de-DE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 </a:t>
                      </a:r>
                      <a:endParaRPr kumimoji="0" lang="tr-TR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17921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6. 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 </a:t>
                      </a: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Dubai (DXB)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70.5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38009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7. Chicago (ORD) 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ts val="2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70.1</a:t>
                      </a:r>
                      <a:endParaRPr kumimoji="0" lang="de-DE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17921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8. Paris (CDG)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 </a:t>
                      </a:r>
                      <a:endParaRPr kumimoji="0" lang="tr-TR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63.8</a:t>
                      </a:r>
                      <a:r>
                        <a:rPr kumimoji="0" lang="de-DE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 </a:t>
                      </a:r>
                      <a:endParaRPr kumimoji="0" lang="tr-TR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17921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9.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 </a:t>
                      </a: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Hong Kong (HKG)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63.4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17921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10. Dallas (DFW)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62.9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98244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11. Frankfurt (FRA)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Arial" charset="0"/>
                        </a:rPr>
                        <a:t>59.6</a:t>
                      </a:r>
                      <a:endParaRPr kumimoji="0" lang="en-US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17921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13.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 </a:t>
                      </a: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Istanbul (IST)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56.9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     ...</a:t>
                      </a:r>
                    </a:p>
                  </a:txBody>
                  <a:tcPr marL="0" marR="0" marT="0" marB="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17921">
                <a:tc>
                  <a:txBody>
                    <a:bodyPr/>
                    <a:lstStyle/>
                    <a:p>
                      <a:pPr marL="0" marR="0" lvl="0" indent="0" algn="l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56.</a:t>
                      </a: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 </a:t>
                      </a: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Antalya (AYT)</a:t>
                      </a:r>
                      <a:endParaRPr kumimoji="0" lang="de-DE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t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cs typeface="Arial" charset="0"/>
                        </a:rPr>
                        <a:t>28.0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48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91ECD-3C5D-4903-BA94-648BA1B5202F}" type="slidenum">
              <a:rPr lang="tr-TR" smtClean="0"/>
              <a:pPr/>
              <a:t>14</a:t>
            </a:fld>
            <a:endParaRPr lang="tr-TR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Antalya Airport in the World</a:t>
            </a:r>
            <a:endParaRPr lang="en-GB" dirty="0"/>
          </a:p>
        </p:txBody>
      </p:sp>
      <p:sp>
        <p:nvSpPr>
          <p:cNvPr id="42" name="Freeform 19"/>
          <p:cNvSpPr>
            <a:spLocks/>
          </p:cNvSpPr>
          <p:nvPr/>
        </p:nvSpPr>
        <p:spPr bwMode="auto">
          <a:xfrm rot="18413292">
            <a:off x="3066606" y="4139849"/>
            <a:ext cx="4147642" cy="547350"/>
          </a:xfrm>
          <a:custGeom>
            <a:avLst/>
            <a:gdLst>
              <a:gd name="T0" fmla="*/ 2147483647 w 2732"/>
              <a:gd name="T1" fmla="*/ 2147483647 h 1794"/>
              <a:gd name="T2" fmla="*/ 2147483647 w 2732"/>
              <a:gd name="T3" fmla="*/ 2147483647 h 1794"/>
              <a:gd name="T4" fmla="*/ 2147483647 w 2732"/>
              <a:gd name="T5" fmla="*/ 2147483647 h 1794"/>
              <a:gd name="T6" fmla="*/ 2147483647 w 2732"/>
              <a:gd name="T7" fmla="*/ 2147483647 h 1794"/>
              <a:gd name="T8" fmla="*/ 2147483647 w 2732"/>
              <a:gd name="T9" fmla="*/ 2147483647 h 1794"/>
              <a:gd name="T10" fmla="*/ 2147483647 w 2732"/>
              <a:gd name="T11" fmla="*/ 2147483647 h 1794"/>
              <a:gd name="T12" fmla="*/ 2147483647 w 2732"/>
              <a:gd name="T13" fmla="*/ 2147483647 h 1794"/>
              <a:gd name="T14" fmla="*/ 2147483647 w 2732"/>
              <a:gd name="T15" fmla="*/ 2147483647 h 1794"/>
              <a:gd name="T16" fmla="*/ 2147483647 w 2732"/>
              <a:gd name="T17" fmla="*/ 2147483647 h 1794"/>
              <a:gd name="T18" fmla="*/ 2147483647 w 2732"/>
              <a:gd name="T19" fmla="*/ 2147483647 h 1794"/>
              <a:gd name="T20" fmla="*/ 2147483647 w 2732"/>
              <a:gd name="T21" fmla="*/ 2147483647 h 1794"/>
              <a:gd name="T22" fmla="*/ 2147483647 w 2732"/>
              <a:gd name="T23" fmla="*/ 2147483647 h 1794"/>
              <a:gd name="T24" fmla="*/ 2147483647 w 2732"/>
              <a:gd name="T25" fmla="*/ 2147483647 h 1794"/>
              <a:gd name="T26" fmla="*/ 2147483647 w 2732"/>
              <a:gd name="T27" fmla="*/ 2147483647 h 1794"/>
              <a:gd name="T28" fmla="*/ 2147483647 w 2732"/>
              <a:gd name="T29" fmla="*/ 2147483647 h 1794"/>
              <a:gd name="T30" fmla="*/ 2147483647 w 2732"/>
              <a:gd name="T31" fmla="*/ 2147483647 h 1794"/>
              <a:gd name="T32" fmla="*/ 2147483647 w 2732"/>
              <a:gd name="T33" fmla="*/ 0 h 1794"/>
              <a:gd name="T34" fmla="*/ 2147483647 w 2732"/>
              <a:gd name="T35" fmla="*/ 2147483647 h 1794"/>
              <a:gd name="T36" fmla="*/ 2147483647 w 2732"/>
              <a:gd name="T37" fmla="*/ 2147483647 h 1794"/>
              <a:gd name="T38" fmla="*/ 2147483647 w 2732"/>
              <a:gd name="T39" fmla="*/ 2147483647 h 1794"/>
              <a:gd name="T40" fmla="*/ 2147483647 w 2732"/>
              <a:gd name="T41" fmla="*/ 2147483647 h 1794"/>
              <a:gd name="T42" fmla="*/ 2147483647 w 2732"/>
              <a:gd name="T43" fmla="*/ 2147483647 h 1794"/>
              <a:gd name="T44" fmla="*/ 2147483647 w 2732"/>
              <a:gd name="T45" fmla="*/ 2147483647 h 1794"/>
              <a:gd name="T46" fmla="*/ 2147483647 w 2732"/>
              <a:gd name="T47" fmla="*/ 2147483647 h 1794"/>
              <a:gd name="T48" fmla="*/ 2147483647 w 2732"/>
              <a:gd name="T49" fmla="*/ 2147483647 h 1794"/>
              <a:gd name="T50" fmla="*/ 2147483647 w 2732"/>
              <a:gd name="T51" fmla="*/ 2147483647 h 1794"/>
              <a:gd name="T52" fmla="*/ 2147483647 w 2732"/>
              <a:gd name="T53" fmla="*/ 2147483647 h 1794"/>
              <a:gd name="T54" fmla="*/ 2147483647 w 2732"/>
              <a:gd name="T55" fmla="*/ 2147483647 h 1794"/>
              <a:gd name="T56" fmla="*/ 2147483647 w 2732"/>
              <a:gd name="T57" fmla="*/ 2147483647 h 1794"/>
              <a:gd name="T58" fmla="*/ 2147483647 w 2732"/>
              <a:gd name="T59" fmla="*/ 2147483647 h 1794"/>
              <a:gd name="T60" fmla="*/ 2147483647 w 2732"/>
              <a:gd name="T61" fmla="*/ 2147483647 h 1794"/>
              <a:gd name="T62" fmla="*/ 2147483647 w 2732"/>
              <a:gd name="T63" fmla="*/ 2147483647 h 1794"/>
              <a:gd name="T64" fmla="*/ 2147483647 w 2732"/>
              <a:gd name="T65" fmla="*/ 2147483647 h 179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2732"/>
              <a:gd name="T100" fmla="*/ 0 h 1794"/>
              <a:gd name="T101" fmla="*/ 2732 w 2732"/>
              <a:gd name="T102" fmla="*/ 1794 h 1794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2732" h="1794">
                <a:moveTo>
                  <a:pt x="2732" y="1794"/>
                </a:moveTo>
                <a:lnTo>
                  <a:pt x="2732" y="1794"/>
                </a:lnTo>
                <a:lnTo>
                  <a:pt x="2678" y="1728"/>
                </a:lnTo>
                <a:lnTo>
                  <a:pt x="2614" y="1654"/>
                </a:lnTo>
                <a:lnTo>
                  <a:pt x="2528" y="1556"/>
                </a:lnTo>
                <a:lnTo>
                  <a:pt x="2422" y="1440"/>
                </a:lnTo>
                <a:lnTo>
                  <a:pt x="2300" y="1310"/>
                </a:lnTo>
                <a:lnTo>
                  <a:pt x="2232" y="1242"/>
                </a:lnTo>
                <a:lnTo>
                  <a:pt x="2160" y="1172"/>
                </a:lnTo>
                <a:lnTo>
                  <a:pt x="2086" y="1102"/>
                </a:lnTo>
                <a:lnTo>
                  <a:pt x="2010" y="1030"/>
                </a:lnTo>
                <a:lnTo>
                  <a:pt x="1930" y="958"/>
                </a:lnTo>
                <a:lnTo>
                  <a:pt x="1848" y="886"/>
                </a:lnTo>
                <a:lnTo>
                  <a:pt x="1764" y="816"/>
                </a:lnTo>
                <a:lnTo>
                  <a:pt x="1678" y="748"/>
                </a:lnTo>
                <a:lnTo>
                  <a:pt x="1590" y="682"/>
                </a:lnTo>
                <a:lnTo>
                  <a:pt x="1500" y="618"/>
                </a:lnTo>
                <a:lnTo>
                  <a:pt x="1410" y="558"/>
                </a:lnTo>
                <a:lnTo>
                  <a:pt x="1320" y="500"/>
                </a:lnTo>
                <a:lnTo>
                  <a:pt x="1230" y="448"/>
                </a:lnTo>
                <a:lnTo>
                  <a:pt x="1138" y="402"/>
                </a:lnTo>
                <a:lnTo>
                  <a:pt x="1092" y="380"/>
                </a:lnTo>
                <a:lnTo>
                  <a:pt x="1046" y="360"/>
                </a:lnTo>
                <a:lnTo>
                  <a:pt x="1002" y="342"/>
                </a:lnTo>
                <a:lnTo>
                  <a:pt x="956" y="324"/>
                </a:lnTo>
                <a:lnTo>
                  <a:pt x="912" y="310"/>
                </a:lnTo>
                <a:lnTo>
                  <a:pt x="866" y="296"/>
                </a:lnTo>
                <a:lnTo>
                  <a:pt x="822" y="284"/>
                </a:lnTo>
                <a:lnTo>
                  <a:pt x="778" y="274"/>
                </a:lnTo>
                <a:lnTo>
                  <a:pt x="734" y="266"/>
                </a:lnTo>
                <a:lnTo>
                  <a:pt x="690" y="260"/>
                </a:lnTo>
                <a:lnTo>
                  <a:pt x="646" y="256"/>
                </a:lnTo>
                <a:lnTo>
                  <a:pt x="604" y="254"/>
                </a:lnTo>
                <a:lnTo>
                  <a:pt x="604" y="0"/>
                </a:lnTo>
                <a:lnTo>
                  <a:pt x="0" y="724"/>
                </a:lnTo>
                <a:lnTo>
                  <a:pt x="590" y="1460"/>
                </a:lnTo>
                <a:lnTo>
                  <a:pt x="590" y="1124"/>
                </a:lnTo>
                <a:lnTo>
                  <a:pt x="598" y="1122"/>
                </a:lnTo>
                <a:lnTo>
                  <a:pt x="626" y="1114"/>
                </a:lnTo>
                <a:lnTo>
                  <a:pt x="672" y="1106"/>
                </a:lnTo>
                <a:lnTo>
                  <a:pt x="734" y="1096"/>
                </a:lnTo>
                <a:lnTo>
                  <a:pt x="772" y="1092"/>
                </a:lnTo>
                <a:lnTo>
                  <a:pt x="814" y="1088"/>
                </a:lnTo>
                <a:lnTo>
                  <a:pt x="860" y="1086"/>
                </a:lnTo>
                <a:lnTo>
                  <a:pt x="912" y="1086"/>
                </a:lnTo>
                <a:lnTo>
                  <a:pt x="966" y="1088"/>
                </a:lnTo>
                <a:lnTo>
                  <a:pt x="1024" y="1090"/>
                </a:lnTo>
                <a:lnTo>
                  <a:pt x="1088" y="1096"/>
                </a:lnTo>
                <a:lnTo>
                  <a:pt x="1154" y="1104"/>
                </a:lnTo>
                <a:lnTo>
                  <a:pt x="1224" y="1114"/>
                </a:lnTo>
                <a:lnTo>
                  <a:pt x="1300" y="1128"/>
                </a:lnTo>
                <a:lnTo>
                  <a:pt x="1378" y="1144"/>
                </a:lnTo>
                <a:lnTo>
                  <a:pt x="1460" y="1164"/>
                </a:lnTo>
                <a:lnTo>
                  <a:pt x="1546" y="1190"/>
                </a:lnTo>
                <a:lnTo>
                  <a:pt x="1636" y="1218"/>
                </a:lnTo>
                <a:lnTo>
                  <a:pt x="1730" y="1252"/>
                </a:lnTo>
                <a:lnTo>
                  <a:pt x="1828" y="1288"/>
                </a:lnTo>
                <a:lnTo>
                  <a:pt x="1928" y="1332"/>
                </a:lnTo>
                <a:lnTo>
                  <a:pt x="2032" y="1380"/>
                </a:lnTo>
                <a:lnTo>
                  <a:pt x="2140" y="1434"/>
                </a:lnTo>
                <a:lnTo>
                  <a:pt x="2252" y="1492"/>
                </a:lnTo>
                <a:lnTo>
                  <a:pt x="2368" y="1558"/>
                </a:lnTo>
                <a:lnTo>
                  <a:pt x="2486" y="1630"/>
                </a:lnTo>
                <a:lnTo>
                  <a:pt x="2608" y="1710"/>
                </a:lnTo>
                <a:lnTo>
                  <a:pt x="2732" y="1794"/>
                </a:lnTo>
                <a:close/>
              </a:path>
            </a:pathLst>
          </a:custGeom>
          <a:solidFill>
            <a:srgbClr val="152A45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76" name="Oval 275"/>
          <p:cNvSpPr>
            <a:spLocks noChangeAspect="1"/>
          </p:cNvSpPr>
          <p:nvPr/>
        </p:nvSpPr>
        <p:spPr>
          <a:xfrm>
            <a:off x="6579133" y="2853081"/>
            <a:ext cx="62627" cy="62627"/>
          </a:xfrm>
          <a:prstGeom prst="ellipse">
            <a:avLst/>
          </a:prstGeom>
          <a:solidFill>
            <a:srgbClr val="C0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7896" name="Title 1"/>
          <p:cNvSpPr txBox="1">
            <a:spLocks/>
          </p:cNvSpPr>
          <p:nvPr/>
        </p:nvSpPr>
        <p:spPr bwMode="auto">
          <a:xfrm>
            <a:off x="5174281" y="4653136"/>
            <a:ext cx="3741119" cy="15576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>
            <a:defPPr>
              <a:defRPr lang="tr-TR"/>
            </a:defPPr>
            <a:lvl1pPr algn="ctr">
              <a:defRPr sz="2600" b="1">
                <a:solidFill>
                  <a:srgbClr val="10253F"/>
                </a:solidFill>
                <a:latin typeface="Arial Narrow" pitchFamily="34" charset="0"/>
              </a:defRPr>
            </a:lvl1pPr>
          </a:lstStyle>
          <a:p>
            <a:r>
              <a:rPr lang="tr-TR" dirty="0"/>
              <a:t>Antalya Airport is </a:t>
            </a:r>
            <a:r>
              <a:rPr lang="en-US" dirty="0"/>
              <a:t>the </a:t>
            </a:r>
            <a:r>
              <a:rPr lang="tr-TR" dirty="0" smtClean="0"/>
              <a:t>56</a:t>
            </a:r>
            <a:r>
              <a:rPr lang="tr-TR" baseline="30000" dirty="0" smtClean="0"/>
              <a:t>t</a:t>
            </a:r>
            <a:r>
              <a:rPr lang="en-US" baseline="30000" dirty="0"/>
              <a:t>h</a:t>
            </a:r>
            <a:endParaRPr lang="tr-TR" baseline="30000" dirty="0"/>
          </a:p>
          <a:p>
            <a:r>
              <a:rPr lang="en-US" dirty="0"/>
              <a:t>biggest airport </a:t>
            </a:r>
            <a:r>
              <a:rPr lang="tr-TR" dirty="0"/>
              <a:t>in the World in </a:t>
            </a:r>
            <a:r>
              <a:rPr lang="tr-TR" dirty="0" smtClean="0"/>
              <a:t>2014 </a:t>
            </a:r>
            <a:r>
              <a:rPr lang="tr-TR" dirty="0"/>
              <a:t>in terms of total pax</a:t>
            </a:r>
            <a:r>
              <a:rPr lang="en-US" dirty="0"/>
              <a:t> </a:t>
            </a:r>
            <a:r>
              <a:rPr lang="tr-TR" dirty="0"/>
              <a:t/>
            </a:r>
            <a:br>
              <a:rPr lang="tr-TR" dirty="0"/>
            </a:br>
            <a:r>
              <a:rPr lang="en-US" sz="2400" b="0" dirty="0" smtClean="0"/>
              <a:t>(</a:t>
            </a:r>
            <a:r>
              <a:rPr lang="tr-TR" sz="2400" b="0" dirty="0" smtClean="0"/>
              <a:t>In </a:t>
            </a:r>
            <a:r>
              <a:rPr lang="en-US" sz="2400" b="0" dirty="0" smtClean="0"/>
              <a:t>201</a:t>
            </a:r>
            <a:r>
              <a:rPr lang="tr-TR" sz="2400" b="0" dirty="0" smtClean="0"/>
              <a:t>3, AYT  rank for 58</a:t>
            </a:r>
            <a:r>
              <a:rPr lang="tr-TR" sz="2400" b="0" baseline="30000" dirty="0" smtClean="0"/>
              <a:t>th</a:t>
            </a:r>
            <a:r>
              <a:rPr lang="en-US" sz="2400" b="0" dirty="0" smtClean="0"/>
              <a:t>)</a:t>
            </a:r>
            <a:endParaRPr lang="tr-TR" dirty="0" smtClean="0"/>
          </a:p>
        </p:txBody>
      </p:sp>
      <p:sp>
        <p:nvSpPr>
          <p:cNvPr id="242" name="Textfeld 56"/>
          <p:cNvSpPr txBox="1"/>
          <p:nvPr/>
        </p:nvSpPr>
        <p:spPr>
          <a:xfrm>
            <a:off x="46611" y="6345717"/>
            <a:ext cx="5514097" cy="220807"/>
          </a:xfrm>
          <a:prstGeom prst="rect">
            <a:avLst/>
          </a:prstGeom>
          <a:noFill/>
        </p:spPr>
        <p:txBody>
          <a:bodyPr wrap="square" lIns="0" tIns="48376" rIns="96751" bIns="48376" rtlCol="0">
            <a:spAutoFit/>
          </a:bodyPr>
          <a:lstStyle/>
          <a:p>
            <a:pPr indent="-237744" fontAlgn="auto">
              <a:spcBef>
                <a:spcPts val="0"/>
              </a:spcBef>
              <a:spcAft>
                <a:spcPts val="0"/>
              </a:spcAft>
            </a:pPr>
            <a:r>
              <a:rPr lang="tr-TR" sz="800" dirty="0">
                <a:solidFill>
                  <a:schemeClr val="bg1"/>
                </a:solidFill>
                <a:latin typeface="Arial"/>
              </a:rPr>
              <a:t>Source</a:t>
            </a:r>
            <a:r>
              <a:rPr lang="de-DE" sz="800" dirty="0">
                <a:solidFill>
                  <a:schemeClr val="bg1"/>
                </a:solidFill>
                <a:latin typeface="Arial"/>
              </a:rPr>
              <a:t>: </a:t>
            </a:r>
            <a:r>
              <a:rPr lang="tr-TR" sz="800" dirty="0" smtClean="0">
                <a:solidFill>
                  <a:schemeClr val="bg1"/>
                </a:solidFill>
                <a:latin typeface="Arial"/>
              </a:rPr>
              <a:t>ACI; ICF internal data for AYT pax</a:t>
            </a:r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9425564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51520" y="1447800"/>
            <a:ext cx="8640960" cy="44294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971550" lvl="3" indent="-514350">
              <a:lnSpc>
                <a:spcPct val="200000"/>
              </a:lnSpc>
              <a:buClr>
                <a:srgbClr val="C00000"/>
              </a:buClr>
              <a:buFont typeface="+mj-lt"/>
              <a:buAutoNum type="romanUcPeriod"/>
              <a:defRPr/>
            </a:pPr>
            <a:r>
              <a:rPr lang="tr-TR" sz="2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cs typeface="Arial" charset="0"/>
              </a:rPr>
              <a:t>ICF Airports in brief</a:t>
            </a:r>
          </a:p>
          <a:p>
            <a:pPr marL="971550" lvl="3" indent="-514350">
              <a:lnSpc>
                <a:spcPct val="200000"/>
              </a:lnSpc>
              <a:buClr>
                <a:srgbClr val="C00000"/>
              </a:buClr>
              <a:buFont typeface="+mj-lt"/>
              <a:buAutoNum type="romanUcPeriod"/>
              <a:defRPr/>
            </a:pPr>
            <a:r>
              <a:rPr lang="tr-TR" sz="2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cs typeface="Arial" charset="0"/>
              </a:rPr>
              <a:t>Tourism &amp; Aviation </a:t>
            </a:r>
            <a:r>
              <a:rPr lang="tr-TR" sz="2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cs typeface="Arial" charset="0"/>
              </a:rPr>
              <a:t>Relationship </a:t>
            </a:r>
            <a:endParaRPr lang="tr-TR" sz="2200" dirty="0">
              <a:solidFill>
                <a:schemeClr val="tx1">
                  <a:lumMod val="65000"/>
                  <a:lumOff val="35000"/>
                </a:schemeClr>
              </a:solidFill>
              <a:latin typeface="Arial" charset="0"/>
              <a:cs typeface="Arial" charset="0"/>
            </a:endParaRPr>
          </a:p>
          <a:p>
            <a:pPr marL="971550" lvl="3" indent="-514350">
              <a:lnSpc>
                <a:spcPct val="200000"/>
              </a:lnSpc>
              <a:buClr>
                <a:srgbClr val="C00000"/>
              </a:buClr>
              <a:buFont typeface="+mj-lt"/>
              <a:buAutoNum type="romanUcPeriod"/>
              <a:defRPr/>
            </a:pPr>
            <a:r>
              <a:rPr lang="tr-TR" sz="2200" b="1" dirty="0">
                <a:solidFill>
                  <a:srgbClr val="152A45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  <a:cs typeface="Arial" charset="0"/>
              </a:rPr>
              <a:t>ICF Airports contribution to Antalya Tourism</a:t>
            </a:r>
          </a:p>
          <a:p>
            <a:pPr marL="971550" lvl="3" indent="-514350">
              <a:lnSpc>
                <a:spcPct val="200000"/>
              </a:lnSpc>
              <a:buClr>
                <a:srgbClr val="C00000"/>
              </a:buClr>
              <a:buFont typeface="+mj-lt"/>
              <a:buAutoNum type="romanUcPeriod"/>
              <a:defRPr/>
            </a:pPr>
            <a:r>
              <a:rPr lang="tr-TR" sz="2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cs typeface="Arial" charset="0"/>
              </a:rPr>
              <a:t>Conclusion</a:t>
            </a:r>
            <a:endParaRPr lang="tr-TR" sz="2200" dirty="0">
              <a:solidFill>
                <a:schemeClr val="tx1">
                  <a:lumMod val="65000"/>
                  <a:lumOff val="35000"/>
                </a:schemeClr>
              </a:solidFill>
              <a:latin typeface="Arial" charset="0"/>
              <a:cs typeface="Arial" charset="0"/>
            </a:endParaRPr>
          </a:p>
          <a:p>
            <a:pPr lvl="1">
              <a:lnSpc>
                <a:spcPct val="125000"/>
              </a:lnSpc>
              <a:buClr>
                <a:srgbClr val="D9D9D9"/>
              </a:buClr>
              <a:buFontTx/>
              <a:buAutoNum type="arabicPeriod"/>
              <a:defRPr/>
            </a:pPr>
            <a:endParaRPr lang="en-US" sz="2400" dirty="0">
              <a:solidFill>
                <a:srgbClr val="D9D9D9"/>
              </a:solidFill>
              <a:latin typeface="Arial Narrow" pitchFamily="34" charset="0"/>
              <a:cs typeface="Arial" charset="0"/>
            </a:endParaRP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91ECD-3C5D-4903-BA94-648BA1B5202F}" type="slidenum">
              <a:rPr lang="tr-TR" smtClean="0"/>
              <a:pPr/>
              <a:t>15</a:t>
            </a:fld>
            <a:endParaRPr lang="tr-TR" dirty="0"/>
          </a:p>
        </p:txBody>
      </p:sp>
      <p:pic>
        <p:nvPicPr>
          <p:cNvPr id="8" name="Picture 126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367"/>
          <a:stretch/>
        </p:blipFill>
        <p:spPr bwMode="auto">
          <a:xfrm>
            <a:off x="2962296" y="179496"/>
            <a:ext cx="6056908" cy="5852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66099156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Title 1"/>
          <p:cNvSpPr>
            <a:spLocks noGrp="1"/>
          </p:cNvSpPr>
          <p:nvPr>
            <p:ph type="title"/>
          </p:nvPr>
        </p:nvSpPr>
        <p:spPr>
          <a:xfrm>
            <a:off x="3419475" y="101600"/>
            <a:ext cx="5662613" cy="663575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eaLnBrk="1" hangingPunct="1">
              <a:defRPr/>
            </a:pPr>
            <a:r>
              <a:rPr lang="tr-TR" altLang="tr-TR" sz="2400" kern="1200" dirty="0" smtClean="0">
                <a:latin typeface="Arial" charset="0"/>
                <a:ea typeface="+mn-ea"/>
                <a:cs typeface="+mn-cs"/>
              </a:rPr>
              <a:t>Route Development</a:t>
            </a:r>
            <a:endParaRPr lang="en-GB" altLang="tr-TR" sz="2400" kern="1200" dirty="0">
              <a:latin typeface="Arial" charset="0"/>
              <a:ea typeface="+mn-ea"/>
              <a:cs typeface="+mn-cs"/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467544" y="3458790"/>
            <a:ext cx="2423616" cy="1871663"/>
          </a:xfrm>
          <a:prstGeom prst="roundRect">
            <a:avLst/>
          </a:prstGeom>
          <a:gradFill>
            <a:gsLst>
              <a:gs pos="0">
                <a:srgbClr val="5E9EFF"/>
              </a:gs>
              <a:gs pos="7000">
                <a:srgbClr val="85C2FF"/>
              </a:gs>
              <a:gs pos="12000">
                <a:srgbClr val="C4D6EB">
                  <a:lumMod val="60000"/>
                  <a:lumOff val="40000"/>
                </a:srgbClr>
              </a:gs>
              <a:gs pos="100000">
                <a:srgbClr val="FFEBFA"/>
              </a:gs>
            </a:gsLst>
            <a:lin ang="5400000" scaled="0"/>
          </a:gradFill>
          <a:ln w="38100">
            <a:solidFill>
              <a:srgbClr val="00206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r>
              <a:rPr lang="tr-TR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Airlines</a:t>
            </a:r>
            <a:endParaRPr lang="en-US" b="1" u="sng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5796408" y="3458790"/>
            <a:ext cx="3024064" cy="1871663"/>
          </a:xfrm>
          <a:prstGeom prst="roundRect">
            <a:avLst/>
          </a:prstGeom>
          <a:gradFill>
            <a:gsLst>
              <a:gs pos="0">
                <a:srgbClr val="5E9EFF"/>
              </a:gs>
              <a:gs pos="7000">
                <a:srgbClr val="85C2FF"/>
              </a:gs>
              <a:gs pos="12000">
                <a:srgbClr val="C4D6EB">
                  <a:lumMod val="60000"/>
                  <a:lumOff val="40000"/>
                </a:srgbClr>
              </a:gs>
              <a:gs pos="100000">
                <a:srgbClr val="FFEBFA"/>
              </a:gs>
            </a:gsLst>
            <a:lin ang="5400000" scaled="0"/>
          </a:gradFill>
          <a:ln w="38100">
            <a:solidFill>
              <a:srgbClr val="00206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r>
              <a:rPr lang="tr-TR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isting Airlines,  </a:t>
            </a:r>
          </a:p>
          <a:p>
            <a:endParaRPr lang="tr-TR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tr-TR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isting Destinations</a:t>
            </a:r>
          </a:p>
          <a:p>
            <a:endParaRPr lang="tr-TR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tr-TR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 Additional frequencies </a:t>
            </a:r>
            <a:endParaRPr lang="en-US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3001268" y="3458790"/>
            <a:ext cx="2688779" cy="1871663"/>
          </a:xfrm>
          <a:prstGeom prst="roundRect">
            <a:avLst/>
          </a:prstGeom>
          <a:gradFill>
            <a:gsLst>
              <a:gs pos="0">
                <a:srgbClr val="5E9EFF"/>
              </a:gs>
              <a:gs pos="7000">
                <a:srgbClr val="85C2FF"/>
              </a:gs>
              <a:gs pos="12000">
                <a:srgbClr val="C4D6EB">
                  <a:lumMod val="60000"/>
                  <a:lumOff val="40000"/>
                </a:srgbClr>
              </a:gs>
              <a:gs pos="100000">
                <a:srgbClr val="FFEBFA"/>
              </a:gs>
            </a:gsLst>
            <a:lin ang="5400000" scaled="0"/>
          </a:gradFill>
          <a:ln w="38100">
            <a:solidFill>
              <a:srgbClr val="00206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r>
              <a:rPr lang="tr-TR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isting Airlines </a:t>
            </a:r>
          </a:p>
          <a:p>
            <a:endParaRPr lang="tr-TR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tr-TR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New Destinations </a:t>
            </a:r>
            <a:endParaRPr lang="en-US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949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672" y="2920354"/>
            <a:ext cx="792088" cy="5261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312" y="2924944"/>
            <a:ext cx="792088" cy="5261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7984" y="2924944"/>
            <a:ext cx="792088" cy="5261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8024" y="3212976"/>
            <a:ext cx="576064" cy="3826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8344" y="3212977"/>
            <a:ext cx="542799" cy="3605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2360" y="3478912"/>
            <a:ext cx="398783" cy="264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743520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49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255404"/>
              </p:ext>
            </p:extLst>
          </p:nvPr>
        </p:nvGraphicFramePr>
        <p:xfrm>
          <a:off x="1008061" y="2379945"/>
          <a:ext cx="2078040" cy="977048"/>
        </p:xfrm>
        <a:graphic>
          <a:graphicData uri="http://schemas.openxmlformats.org/drawingml/2006/table">
            <a:tbl>
              <a:tblPr/>
              <a:tblGrid>
                <a:gridCol w="1039020"/>
                <a:gridCol w="1039020"/>
              </a:tblGrid>
              <a:tr h="274286"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Country</a:t>
                      </a:r>
                    </a:p>
                  </a:txBody>
                  <a:tcPr marL="9525" marR="9525" marT="95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Pax</a:t>
                      </a:r>
                    </a:p>
                  </a:txBody>
                  <a:tcPr marL="9525" marR="9525" marT="9534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</a:tr>
              <a:tr h="234254"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U.K</a:t>
                      </a:r>
                      <a:endParaRPr lang="tr-TR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7.070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34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  <a:tr h="234254"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Switzerland</a:t>
                      </a:r>
                      <a:endParaRPr lang="tr-TR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.770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34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1"/>
                    </a:solidFill>
                  </a:tcPr>
                </a:tc>
              </a:tr>
              <a:tr h="234254">
                <a:tc>
                  <a:txBody>
                    <a:bodyPr/>
                    <a:lstStyle/>
                    <a:p>
                      <a:pPr algn="l" rtl="0" fontAlgn="ctr"/>
                      <a:r>
                        <a:rPr lang="tr-TR" sz="11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Calibri"/>
                        </a:rPr>
                        <a:t> Total</a:t>
                      </a:r>
                      <a:endParaRPr lang="tr-TR" sz="1100" b="1" i="0" u="none" strike="noStrike" dirty="0">
                        <a:solidFill>
                          <a:srgbClr val="C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tr-TR" sz="1100" b="1" i="0" u="none" strike="noStrike" dirty="0" smtClean="0">
                          <a:solidFill>
                            <a:srgbClr val="C00000"/>
                          </a:solidFill>
                          <a:effectLst/>
                          <a:latin typeface="Calibri"/>
                        </a:rPr>
                        <a:t>44.840</a:t>
                      </a:r>
                      <a:endParaRPr lang="tr-TR" sz="1100" b="1" i="0" u="none" strike="noStrike" dirty="0">
                        <a:solidFill>
                          <a:srgbClr val="C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34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</a:tbl>
          </a:graphicData>
        </a:graphic>
      </p:graphicFrame>
      <p:sp>
        <p:nvSpPr>
          <p:cNvPr id="38932" name="Rectangle 18"/>
          <p:cNvSpPr>
            <a:spLocks noChangeArrowheads="1"/>
          </p:cNvSpPr>
          <p:nvPr/>
        </p:nvSpPr>
        <p:spPr bwMode="auto">
          <a:xfrm>
            <a:off x="998538" y="2010024"/>
            <a:ext cx="2087562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hangingPunct="1">
              <a:lnSpc>
                <a:spcPct val="200000"/>
              </a:lnSpc>
              <a:spcBef>
                <a:spcPct val="0"/>
              </a:spcBef>
              <a:buFontTx/>
              <a:buNone/>
            </a:pPr>
            <a:r>
              <a:rPr lang="tr-TR" altLang="tr-TR" sz="1000" b="1" dirty="0">
                <a:latin typeface="Arial" charset="0"/>
                <a:cs typeface="Arial" charset="0"/>
              </a:rPr>
              <a:t>New Airlines</a:t>
            </a:r>
          </a:p>
        </p:txBody>
      </p:sp>
      <p:pic>
        <p:nvPicPr>
          <p:cNvPr id="3893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0263" y="1982728"/>
            <a:ext cx="2498710" cy="41105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8934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8224" y="2010583"/>
            <a:ext cx="2224829" cy="35066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998538" y="1475492"/>
            <a:ext cx="76779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b="1" dirty="0" smtClean="0">
                <a:solidFill>
                  <a:srgbClr val="002060"/>
                </a:solidFill>
              </a:rPr>
              <a:t>Almost 400.000 additional passenger achieved in 2015</a:t>
            </a:r>
            <a:endParaRPr lang="en-US" b="1" dirty="0">
              <a:solidFill>
                <a:srgbClr val="002060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419475" y="101600"/>
            <a:ext cx="5662613" cy="663575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eaLnBrk="1" hangingPunct="1">
              <a:defRPr/>
            </a:pPr>
            <a:r>
              <a:rPr lang="tr-TR" altLang="tr-TR" sz="2400" kern="1200" dirty="0" smtClean="0">
                <a:latin typeface="Arial" charset="0"/>
                <a:ea typeface="+mn-ea"/>
                <a:cs typeface="+mn-cs"/>
              </a:rPr>
              <a:t>Route Development</a:t>
            </a:r>
            <a:endParaRPr lang="en-GB" altLang="tr-TR" sz="2400" kern="1200" dirty="0"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8250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A691ECD-3C5D-4903-BA94-648BA1B5202F}" type="slidenum">
              <a:rPr lang="tr-TR" smtClean="0"/>
              <a:pPr>
                <a:defRPr/>
              </a:pPr>
              <a:t>18</a:t>
            </a:fld>
            <a:endParaRPr lang="tr-TR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99992" y="-53262"/>
            <a:ext cx="4618856" cy="926319"/>
          </a:xfrm>
        </p:spPr>
        <p:txBody>
          <a:bodyPr>
            <a:normAutofit fontScale="90000"/>
          </a:bodyPr>
          <a:lstStyle/>
          <a:p>
            <a:pPr algn="r"/>
            <a:r>
              <a:rPr lang="tr-TR" dirty="0" smtClean="0"/>
              <a:t>Promotion of Antalya Destination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611560" y="1349896"/>
            <a:ext cx="3456384" cy="120032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sz="24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Advertisement campaigns </a:t>
            </a:r>
          </a:p>
          <a:p>
            <a:pPr algn="ctr"/>
            <a:r>
              <a:rPr lang="tr-TR" sz="24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in                                                 Frankfurt Airport Terminals</a:t>
            </a:r>
          </a:p>
        </p:txBody>
      </p:sp>
      <p:pic>
        <p:nvPicPr>
          <p:cNvPr id="297987" name="Picture 3" descr="C:\Users\melihd\AppData\Local\Microsoft\Windows\Temporary Internet Files\Content.Outlook\BKNIDE47\100_2754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89" r="1"/>
          <a:stretch/>
        </p:blipFill>
        <p:spPr bwMode="auto">
          <a:xfrm>
            <a:off x="6430790" y="1097448"/>
            <a:ext cx="2461296" cy="2511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7988" name="Picture 4" descr="C:\Users\melihd\AppData\Local\Microsoft\Windows\Temporary Internet Files\Content.Outlook\BKNIDE47\100_3649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791" t="6594" r="10821"/>
          <a:stretch/>
        </p:blipFill>
        <p:spPr bwMode="auto">
          <a:xfrm>
            <a:off x="548977" y="2636913"/>
            <a:ext cx="3532615" cy="3672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7986" name="Picture 2" descr="C:\Users\melihd\AppData\Local\Microsoft\Windows\Temporary Internet Files\Content.Outlook\BKNIDE47\100_2753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97" r="12611"/>
          <a:stretch/>
        </p:blipFill>
        <p:spPr bwMode="auto">
          <a:xfrm>
            <a:off x="6430790" y="3717032"/>
            <a:ext cx="2471050" cy="2592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7989" name="Picture 5" descr="C:\Users\melihd\AppData\Local\Microsoft\Windows\Temporary Internet Files\Content.Outlook\BKNIDE47\100_3643.jp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26"/>
          <a:stretch/>
        </p:blipFill>
        <p:spPr bwMode="auto">
          <a:xfrm>
            <a:off x="4223782" y="3717032"/>
            <a:ext cx="2076410" cy="2592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7990" name="Picture 6" descr="C:\Users\melihd\AppData\Local\Microsoft\Windows\Temporary Internet Files\Content.Outlook\BKNIDE47\100_2760.jp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761"/>
          <a:stretch/>
        </p:blipFill>
        <p:spPr bwMode="auto">
          <a:xfrm>
            <a:off x="4250753" y="1308952"/>
            <a:ext cx="2049439" cy="22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422142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A691ECD-3C5D-4903-BA94-648BA1B5202F}" type="slidenum">
              <a:rPr lang="tr-TR" smtClean="0"/>
              <a:pPr>
                <a:defRPr/>
              </a:pPr>
              <a:t>19</a:t>
            </a:fld>
            <a:endParaRPr lang="tr-TR" dirty="0"/>
          </a:p>
        </p:txBody>
      </p:sp>
      <p:pic>
        <p:nvPicPr>
          <p:cNvPr id="294914" name="Picture 2" descr="C:\Users\melihd\AppData\Local\Microsoft\Windows\Temporary Internet Files\Content.Outlook\BKNIDE47\DSC_0547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1229156"/>
            <a:ext cx="7488832" cy="50081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2"/>
          <p:cNvSpPr>
            <a:spLocks noGrp="1"/>
          </p:cNvSpPr>
          <p:nvPr>
            <p:ph type="title"/>
          </p:nvPr>
        </p:nvSpPr>
        <p:spPr>
          <a:xfrm>
            <a:off x="4499992" y="-53262"/>
            <a:ext cx="4618856" cy="926319"/>
          </a:xfrm>
        </p:spPr>
        <p:txBody>
          <a:bodyPr>
            <a:normAutofit fontScale="90000"/>
          </a:bodyPr>
          <a:lstStyle/>
          <a:p>
            <a:pPr algn="r"/>
            <a:r>
              <a:rPr lang="tr-TR" dirty="0" smtClean="0"/>
              <a:t>Promotion of Antalya Destin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8286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51520" y="1447800"/>
            <a:ext cx="8640960" cy="44294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971550" lvl="3" indent="-514350">
              <a:lnSpc>
                <a:spcPct val="200000"/>
              </a:lnSpc>
              <a:buClr>
                <a:srgbClr val="C00000"/>
              </a:buClr>
              <a:buFont typeface="+mj-lt"/>
              <a:buAutoNum type="romanUcPeriod"/>
              <a:defRPr/>
            </a:pPr>
            <a:r>
              <a:rPr lang="tr-TR" sz="2200" b="1" dirty="0" smtClean="0">
                <a:solidFill>
                  <a:srgbClr val="152A45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  <a:cs typeface="Arial" charset="0"/>
              </a:rPr>
              <a:t>ICF Airports in brief</a:t>
            </a:r>
            <a:endParaRPr lang="tr-TR" sz="2200" b="1" dirty="0">
              <a:solidFill>
                <a:srgbClr val="152A45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charset="0"/>
              <a:cs typeface="Arial" charset="0"/>
            </a:endParaRPr>
          </a:p>
          <a:p>
            <a:pPr marL="971550" lvl="3" indent="-514350">
              <a:lnSpc>
                <a:spcPct val="200000"/>
              </a:lnSpc>
              <a:buClr>
                <a:srgbClr val="C00000"/>
              </a:buClr>
              <a:buFont typeface="+mj-lt"/>
              <a:buAutoNum type="romanUcPeriod"/>
              <a:defRPr/>
            </a:pPr>
            <a:r>
              <a:rPr lang="tr-TR" sz="2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cs typeface="Arial" charset="0"/>
              </a:rPr>
              <a:t>Tourism &amp; Aviation Relationship </a:t>
            </a:r>
          </a:p>
          <a:p>
            <a:pPr marL="971550" lvl="3" indent="-514350">
              <a:lnSpc>
                <a:spcPct val="200000"/>
              </a:lnSpc>
              <a:buClr>
                <a:srgbClr val="C00000"/>
              </a:buClr>
              <a:buFont typeface="+mj-lt"/>
              <a:buAutoNum type="romanUcPeriod"/>
              <a:defRPr/>
            </a:pPr>
            <a:r>
              <a:rPr lang="tr-TR" sz="2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cs typeface="Arial" charset="0"/>
              </a:rPr>
              <a:t>ICF Airports contribution to Antalya Tourism</a:t>
            </a:r>
            <a:endParaRPr lang="tr-TR" sz="2200" dirty="0">
              <a:solidFill>
                <a:schemeClr val="tx1">
                  <a:lumMod val="65000"/>
                  <a:lumOff val="35000"/>
                </a:schemeClr>
              </a:solidFill>
              <a:latin typeface="Arial" charset="0"/>
              <a:cs typeface="Arial" charset="0"/>
            </a:endParaRPr>
          </a:p>
          <a:p>
            <a:pPr marL="971550" lvl="3" indent="-514350">
              <a:lnSpc>
                <a:spcPct val="200000"/>
              </a:lnSpc>
              <a:buClr>
                <a:srgbClr val="C00000"/>
              </a:buClr>
              <a:buFont typeface="+mj-lt"/>
              <a:buAutoNum type="romanUcPeriod"/>
              <a:defRPr/>
            </a:pPr>
            <a:r>
              <a:rPr lang="tr-TR" sz="2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cs typeface="Arial" charset="0"/>
              </a:rPr>
              <a:t>Conclusion</a:t>
            </a:r>
            <a:endParaRPr lang="tr-TR" sz="2200" dirty="0">
              <a:solidFill>
                <a:schemeClr val="tx1">
                  <a:lumMod val="65000"/>
                  <a:lumOff val="35000"/>
                </a:schemeClr>
              </a:solidFill>
              <a:latin typeface="Arial" charset="0"/>
              <a:cs typeface="Arial" charset="0"/>
            </a:endParaRPr>
          </a:p>
          <a:p>
            <a:pPr lvl="1">
              <a:lnSpc>
                <a:spcPct val="125000"/>
              </a:lnSpc>
              <a:buClr>
                <a:srgbClr val="D9D9D9"/>
              </a:buClr>
              <a:buFontTx/>
              <a:buAutoNum type="arabicPeriod"/>
              <a:defRPr/>
            </a:pPr>
            <a:endParaRPr lang="en-US" sz="2400" dirty="0">
              <a:solidFill>
                <a:srgbClr val="D9D9D9"/>
              </a:solidFill>
              <a:latin typeface="Arial Narrow" pitchFamily="34" charset="0"/>
              <a:cs typeface="Arial" charset="0"/>
            </a:endParaRP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91ECD-3C5D-4903-BA94-648BA1B5202F}" type="slidenum">
              <a:rPr lang="tr-TR" smtClean="0"/>
              <a:pPr/>
              <a:t>2</a:t>
            </a:fld>
            <a:endParaRPr lang="tr-TR" dirty="0"/>
          </a:p>
        </p:txBody>
      </p:sp>
      <p:pic>
        <p:nvPicPr>
          <p:cNvPr id="8" name="Picture 126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367"/>
          <a:stretch/>
        </p:blipFill>
        <p:spPr bwMode="auto">
          <a:xfrm>
            <a:off x="2962296" y="179496"/>
            <a:ext cx="6056908" cy="5852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A691ECD-3C5D-4903-BA94-648BA1B5202F}" type="slidenum">
              <a:rPr lang="tr-TR" smtClean="0"/>
              <a:pPr>
                <a:defRPr/>
              </a:pPr>
              <a:t>20</a:t>
            </a:fld>
            <a:endParaRPr lang="tr-TR" dirty="0"/>
          </a:p>
        </p:txBody>
      </p:sp>
      <p:pic>
        <p:nvPicPr>
          <p:cNvPr id="296962" name="Picture 2" descr="C:\Users\melihd\AppData\Local\Microsoft\Windows\Temporary Internet Files\Content.Outlook\BKNIDE47\DSC_0553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592" y="1196752"/>
            <a:ext cx="7480882" cy="5002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4499992" y="-53262"/>
            <a:ext cx="4618856" cy="926319"/>
          </a:xfrm>
        </p:spPr>
        <p:txBody>
          <a:bodyPr>
            <a:normAutofit fontScale="90000"/>
          </a:bodyPr>
          <a:lstStyle/>
          <a:p>
            <a:pPr algn="r"/>
            <a:r>
              <a:rPr lang="tr-TR" dirty="0" smtClean="0"/>
              <a:t>Promotion of Antalya Destin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55260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A691ECD-3C5D-4903-BA94-648BA1B5202F}" type="slidenum">
              <a:rPr lang="tr-TR" smtClean="0"/>
              <a:pPr>
                <a:defRPr/>
              </a:pPr>
              <a:t>21</a:t>
            </a:fld>
            <a:endParaRPr lang="tr-TR" dirty="0"/>
          </a:p>
        </p:txBody>
      </p:sp>
      <p:pic>
        <p:nvPicPr>
          <p:cNvPr id="30105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8144" y="2888645"/>
            <a:ext cx="3055536" cy="2052523"/>
          </a:xfrm>
          <a:prstGeom prst="rect">
            <a:avLst/>
          </a:prstGeom>
          <a:noFill/>
          <a:ln>
            <a:noFill/>
          </a:ln>
          <a:effectLst>
            <a:outerShdw dist="101600" dir="3720000" algn="tl" rotWithShape="0">
              <a:schemeClr val="bg1">
                <a:lumMod val="50000"/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/>
        </p:nvSpPr>
        <p:spPr>
          <a:xfrm>
            <a:off x="827584" y="1484784"/>
            <a:ext cx="565212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First Ever Routes Tourism Mediterranean </a:t>
            </a:r>
            <a:r>
              <a:rPr lang="tr-TR" sz="24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e</a:t>
            </a:r>
            <a:r>
              <a:rPr lang="en-US" sz="24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vent </a:t>
            </a:r>
            <a:r>
              <a:rPr lang="tr-TR" sz="24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held </a:t>
            </a:r>
            <a:r>
              <a:rPr lang="tr-TR" sz="24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in Antalya, </a:t>
            </a:r>
            <a:r>
              <a:rPr lang="tr-TR" sz="24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hosted by ICF </a:t>
            </a:r>
            <a:r>
              <a:rPr lang="tr-TR" sz="24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Airports</a:t>
            </a:r>
            <a:endParaRPr lang="en-US" sz="24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8" name="Title 2"/>
          <p:cNvSpPr>
            <a:spLocks noGrp="1"/>
          </p:cNvSpPr>
          <p:nvPr>
            <p:ph type="title"/>
          </p:nvPr>
        </p:nvSpPr>
        <p:spPr>
          <a:xfrm>
            <a:off x="3851920" y="-53262"/>
            <a:ext cx="5266928" cy="926319"/>
          </a:xfrm>
        </p:spPr>
        <p:txBody>
          <a:bodyPr>
            <a:normAutofit fontScale="90000"/>
          </a:bodyPr>
          <a:lstStyle/>
          <a:p>
            <a:pPr algn="r"/>
            <a:r>
              <a:rPr lang="en-US" dirty="0" smtClean="0"/>
              <a:t>Bridging</a:t>
            </a:r>
            <a:r>
              <a:rPr lang="tr-TR" dirty="0" smtClean="0"/>
              <a:t> Aviation and Tourism Sectors</a:t>
            </a:r>
            <a:endParaRPr lang="en-US" dirty="0"/>
          </a:p>
        </p:txBody>
      </p:sp>
      <p:pic>
        <p:nvPicPr>
          <p:cNvPr id="301060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760" y="2564904"/>
            <a:ext cx="5472608" cy="2736304"/>
          </a:xfrm>
          <a:prstGeom prst="rect">
            <a:avLst/>
          </a:prstGeom>
          <a:noFill/>
          <a:ln>
            <a:noFill/>
          </a:ln>
          <a:effectLst>
            <a:outerShdw dist="101600" dir="3720000" algn="tl" rotWithShape="0">
              <a:schemeClr val="bg1">
                <a:lumMod val="50000"/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98443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A691ECD-3C5D-4903-BA94-648BA1B5202F}" type="slidenum">
              <a:rPr lang="tr-TR" smtClean="0"/>
              <a:pPr>
                <a:defRPr/>
              </a:pPr>
              <a:t>22</a:t>
            </a:fld>
            <a:endParaRPr lang="tr-TR" dirty="0"/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2910136" y="4110038"/>
            <a:ext cx="5843339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tr-TR" altLang="tr-TR" sz="1600" b="1" dirty="0">
                <a:solidFill>
                  <a:srgbClr val="002060"/>
                </a:solidFill>
                <a:latin typeface="Arial" charset="0"/>
                <a:cs typeface="Arial" charset="0"/>
              </a:rPr>
              <a:t>Green Airport Company 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tr-TR" altLang="tr-TR" sz="1600" dirty="0">
                <a:solidFill>
                  <a:srgbClr val="002060"/>
                </a:solidFill>
                <a:latin typeface="Arial" charset="0"/>
                <a:cs typeface="Arial" charset="0"/>
              </a:rPr>
              <a:t>Certification by Turkish Civil Aviation Authority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endParaRPr lang="tr-TR" altLang="tr-TR" sz="1600" b="1" u="sng" dirty="0">
              <a:latin typeface="Arial" charset="0"/>
              <a:cs typeface="Arial" charset="0"/>
            </a:endParaRPr>
          </a:p>
        </p:txBody>
      </p:sp>
      <p:pic>
        <p:nvPicPr>
          <p:cNvPr id="8" name="Pictur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674" y="2526240"/>
            <a:ext cx="841686" cy="10535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075" y="4022725"/>
            <a:ext cx="1003300" cy="55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tangle 1"/>
          <p:cNvSpPr>
            <a:spLocks noChangeArrowheads="1"/>
          </p:cNvSpPr>
          <p:nvPr/>
        </p:nvSpPr>
        <p:spPr bwMode="auto">
          <a:xfrm>
            <a:off x="2910136" y="2741563"/>
            <a:ext cx="6121400" cy="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tr-TR" altLang="tr-TR" sz="1600" b="1" dirty="0">
                <a:solidFill>
                  <a:srgbClr val="002060"/>
                </a:solidFill>
                <a:latin typeface="Arial" charset="0"/>
                <a:cs typeface="Arial" charset="0"/>
              </a:rPr>
              <a:t>ACI - Airport Carbon Accreditation for Level 3+ (Neutrality)       </a:t>
            </a:r>
            <a:r>
              <a:rPr lang="tr-TR" altLang="tr-TR" sz="1100" dirty="0">
                <a:solidFill>
                  <a:srgbClr val="002060"/>
                </a:solidFill>
                <a:latin typeface="Arial" charset="0"/>
                <a:cs typeface="Arial" charset="0"/>
              </a:rPr>
              <a:t>(One of the first  two airports in Turkey and o</a:t>
            </a:r>
            <a:r>
              <a:rPr lang="en-US" altLang="tr-TR" sz="1100" dirty="0">
                <a:solidFill>
                  <a:srgbClr val="002060"/>
                </a:solidFill>
                <a:latin typeface="Arial" charset="0"/>
                <a:cs typeface="Arial" charset="0"/>
              </a:rPr>
              <a:t>ne of </a:t>
            </a:r>
            <a:r>
              <a:rPr lang="tr-TR" altLang="tr-TR" sz="1100" dirty="0">
                <a:solidFill>
                  <a:srgbClr val="002060"/>
                </a:solidFill>
                <a:latin typeface="Arial" charset="0"/>
                <a:cs typeface="Arial" charset="0"/>
              </a:rPr>
              <a:t>20</a:t>
            </a:r>
            <a:r>
              <a:rPr lang="en-US" altLang="tr-TR" sz="1100" dirty="0">
                <a:solidFill>
                  <a:srgbClr val="002060"/>
                </a:solidFill>
                <a:latin typeface="Arial" charset="0"/>
                <a:cs typeface="Arial" charset="0"/>
              </a:rPr>
              <a:t> airports in Europe accredited for Level </a:t>
            </a:r>
            <a:r>
              <a:rPr lang="tr-TR" altLang="tr-TR" sz="1100" dirty="0">
                <a:solidFill>
                  <a:srgbClr val="002060"/>
                </a:solidFill>
                <a:latin typeface="Arial" charset="0"/>
                <a:cs typeface="Arial" charset="0"/>
              </a:rPr>
              <a:t>3+)</a:t>
            </a:r>
            <a:endParaRPr lang="en-US" altLang="tr-TR" sz="1100" dirty="0">
              <a:solidFill>
                <a:srgbClr val="002060"/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Title 2"/>
          <p:cNvSpPr>
            <a:spLocks noGrp="1"/>
          </p:cNvSpPr>
          <p:nvPr>
            <p:ph type="title"/>
          </p:nvPr>
        </p:nvSpPr>
        <p:spPr>
          <a:xfrm>
            <a:off x="5004048" y="-53262"/>
            <a:ext cx="4114800" cy="926319"/>
          </a:xfrm>
        </p:spPr>
        <p:txBody>
          <a:bodyPr>
            <a:normAutofit fontScale="90000"/>
          </a:bodyPr>
          <a:lstStyle/>
          <a:p>
            <a:pPr algn="r"/>
            <a:r>
              <a:rPr lang="tr-TR" dirty="0" smtClean="0"/>
              <a:t>Environment Friendly Airport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395536" y="2420888"/>
            <a:ext cx="8636000" cy="1182688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395536" y="3717032"/>
            <a:ext cx="8636000" cy="1224856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00034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7119"/>
          <a:stretch/>
        </p:blipFill>
        <p:spPr bwMode="auto">
          <a:xfrm>
            <a:off x="1518044" y="3779664"/>
            <a:ext cx="1037732" cy="10652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0035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5656" y="2420889"/>
            <a:ext cx="1302731" cy="1182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88854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A691ECD-3C5D-4903-BA94-648BA1B5202F}" type="slidenum">
              <a:rPr lang="tr-TR" smtClean="0"/>
              <a:pPr>
                <a:defRPr/>
              </a:pPr>
              <a:t>23</a:t>
            </a:fld>
            <a:endParaRPr lang="tr-TR" dirty="0"/>
          </a:p>
        </p:txBody>
      </p:sp>
      <p:pic>
        <p:nvPicPr>
          <p:cNvPr id="5" name="Pictur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13" y="1664841"/>
            <a:ext cx="719137" cy="900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4950" y="1664841"/>
            <a:ext cx="3597275" cy="649288"/>
          </a:xfrm>
          <a:prstGeom prst="rect">
            <a:avLst/>
          </a:pr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5148263" y="1698179"/>
            <a:ext cx="3887787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tr-TR" altLang="tr-TR" sz="1600" b="1">
                <a:latin typeface="Arial" charset="0"/>
                <a:cs typeface="Arial" charset="0"/>
              </a:rPr>
              <a:t>Best Airport in Europe 2011</a:t>
            </a:r>
            <a:endParaRPr lang="tr-TR" altLang="tr-TR" sz="1600" b="1" u="sng">
              <a:latin typeface="Arial" charset="0"/>
              <a:cs typeface="Arial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tr-TR" altLang="tr-TR" sz="1600" b="1" i="1">
                <a:latin typeface="Arial" charset="0"/>
                <a:cs typeface="Arial" charset="0"/>
              </a:rPr>
              <a:t>in </a:t>
            </a:r>
            <a:r>
              <a:rPr lang="tr-TR" altLang="en-US" sz="1600" b="1" i="1">
                <a:latin typeface="Arial" charset="0"/>
                <a:cs typeface="Arial" charset="0"/>
              </a:rPr>
              <a:t>“</a:t>
            </a:r>
            <a:r>
              <a:rPr lang="tr-TR" altLang="tr-TR" sz="1600" b="1" i="1">
                <a:latin typeface="Arial" charset="0"/>
                <a:cs typeface="Arial" charset="0"/>
              </a:rPr>
              <a:t>10-25 million passenger</a:t>
            </a:r>
            <a:r>
              <a:rPr lang="tr-TR" altLang="en-US" sz="1600" b="1" i="1">
                <a:latin typeface="Arial" charset="0"/>
                <a:cs typeface="Arial" charset="0"/>
              </a:rPr>
              <a:t>”</a:t>
            </a:r>
            <a:r>
              <a:rPr lang="tr-TR" altLang="tr-TR" sz="1600" b="1" i="1">
                <a:latin typeface="Arial" charset="0"/>
                <a:cs typeface="Arial" charset="0"/>
              </a:rPr>
              <a:t> category</a:t>
            </a:r>
          </a:p>
        </p:txBody>
      </p:sp>
      <p:sp>
        <p:nvSpPr>
          <p:cNvPr id="8" name="Rectangle 7"/>
          <p:cNvSpPr/>
          <p:nvPr/>
        </p:nvSpPr>
        <p:spPr>
          <a:xfrm>
            <a:off x="395536" y="1454224"/>
            <a:ext cx="8636000" cy="1182688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itle 2"/>
          <p:cNvSpPr>
            <a:spLocks noGrp="1"/>
          </p:cNvSpPr>
          <p:nvPr>
            <p:ph type="title"/>
          </p:nvPr>
        </p:nvSpPr>
        <p:spPr>
          <a:xfrm>
            <a:off x="5004048" y="-53262"/>
            <a:ext cx="4114800" cy="926319"/>
          </a:xfrm>
        </p:spPr>
        <p:txBody>
          <a:bodyPr>
            <a:normAutofit/>
          </a:bodyPr>
          <a:lstStyle/>
          <a:p>
            <a:pPr algn="r"/>
            <a:r>
              <a:rPr lang="tr-TR" dirty="0" smtClean="0"/>
              <a:t>Best Airport in Europe</a:t>
            </a:r>
            <a:endParaRPr lang="en-US" dirty="0"/>
          </a:p>
        </p:txBody>
      </p:sp>
      <p:pic>
        <p:nvPicPr>
          <p:cNvPr id="302084" name="Picture 4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3386"/>
          <a:stretch/>
        </p:blipFill>
        <p:spPr bwMode="auto">
          <a:xfrm>
            <a:off x="1838375" y="2780928"/>
            <a:ext cx="5037881" cy="42493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21023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51520" y="1447800"/>
            <a:ext cx="8640960" cy="44294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971550" lvl="3" indent="-514350">
              <a:lnSpc>
                <a:spcPct val="200000"/>
              </a:lnSpc>
              <a:buClr>
                <a:srgbClr val="C00000"/>
              </a:buClr>
              <a:buFont typeface="+mj-lt"/>
              <a:buAutoNum type="romanUcPeriod"/>
              <a:defRPr/>
            </a:pPr>
            <a:r>
              <a:rPr lang="tr-TR" sz="2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cs typeface="Arial" charset="0"/>
              </a:rPr>
              <a:t>ICF Airports in brief</a:t>
            </a:r>
          </a:p>
          <a:p>
            <a:pPr marL="971550" lvl="3" indent="-514350">
              <a:lnSpc>
                <a:spcPct val="200000"/>
              </a:lnSpc>
              <a:buClr>
                <a:srgbClr val="C00000"/>
              </a:buClr>
              <a:buFont typeface="+mj-lt"/>
              <a:buAutoNum type="romanUcPeriod"/>
              <a:defRPr/>
            </a:pPr>
            <a:r>
              <a:rPr lang="tr-TR" sz="2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cs typeface="Arial" charset="0"/>
              </a:rPr>
              <a:t>Tourism &amp; Aviation </a:t>
            </a:r>
            <a:r>
              <a:rPr lang="tr-TR" sz="2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cs typeface="Arial" charset="0"/>
              </a:rPr>
              <a:t>Relationship</a:t>
            </a:r>
            <a:r>
              <a:rPr lang="tr-TR" sz="2200" b="1" dirty="0" smtClean="0">
                <a:solidFill>
                  <a:srgbClr val="152A45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  <a:cs typeface="Arial" charset="0"/>
              </a:rPr>
              <a:t> </a:t>
            </a:r>
            <a:endParaRPr lang="tr-TR" sz="2200" b="1" dirty="0">
              <a:solidFill>
                <a:srgbClr val="152A45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charset="0"/>
              <a:cs typeface="Arial" charset="0"/>
            </a:endParaRPr>
          </a:p>
          <a:p>
            <a:pPr marL="971550" lvl="3" indent="-514350">
              <a:lnSpc>
                <a:spcPct val="200000"/>
              </a:lnSpc>
              <a:buClr>
                <a:srgbClr val="C00000"/>
              </a:buClr>
              <a:buFont typeface="+mj-lt"/>
              <a:buAutoNum type="romanUcPeriod"/>
              <a:defRPr/>
            </a:pPr>
            <a:r>
              <a:rPr lang="tr-TR" sz="2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cs typeface="Arial" charset="0"/>
              </a:rPr>
              <a:t>ICF Airports contribution to Antalya Tourism</a:t>
            </a:r>
            <a:endParaRPr lang="tr-TR" sz="2200" dirty="0">
              <a:solidFill>
                <a:schemeClr val="tx1">
                  <a:lumMod val="65000"/>
                  <a:lumOff val="35000"/>
                </a:schemeClr>
              </a:solidFill>
              <a:latin typeface="Arial" charset="0"/>
              <a:cs typeface="Arial" charset="0"/>
            </a:endParaRPr>
          </a:p>
          <a:p>
            <a:pPr marL="971550" lvl="3" indent="-514350">
              <a:lnSpc>
                <a:spcPct val="200000"/>
              </a:lnSpc>
              <a:buClr>
                <a:srgbClr val="C00000"/>
              </a:buClr>
              <a:buFont typeface="+mj-lt"/>
              <a:buAutoNum type="romanUcPeriod"/>
              <a:defRPr/>
            </a:pPr>
            <a:r>
              <a:rPr lang="tr-TR" sz="2200" b="1" dirty="0">
                <a:solidFill>
                  <a:srgbClr val="152A45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  <a:cs typeface="Arial" charset="0"/>
              </a:rPr>
              <a:t>Conclusion</a:t>
            </a:r>
          </a:p>
          <a:p>
            <a:pPr lvl="1">
              <a:lnSpc>
                <a:spcPct val="125000"/>
              </a:lnSpc>
              <a:buClr>
                <a:srgbClr val="D9D9D9"/>
              </a:buClr>
              <a:buFontTx/>
              <a:buAutoNum type="arabicPeriod"/>
              <a:defRPr/>
            </a:pPr>
            <a:endParaRPr lang="en-US" sz="2400" dirty="0">
              <a:solidFill>
                <a:srgbClr val="D9D9D9"/>
              </a:solidFill>
              <a:latin typeface="Arial Narrow" pitchFamily="34" charset="0"/>
              <a:cs typeface="Arial" charset="0"/>
            </a:endParaRP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91ECD-3C5D-4903-BA94-648BA1B5202F}" type="slidenum">
              <a:rPr lang="tr-TR" smtClean="0"/>
              <a:pPr/>
              <a:t>24</a:t>
            </a:fld>
            <a:endParaRPr lang="tr-TR" dirty="0"/>
          </a:p>
        </p:txBody>
      </p:sp>
      <p:pic>
        <p:nvPicPr>
          <p:cNvPr id="8" name="Picture 126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367"/>
          <a:stretch/>
        </p:blipFill>
        <p:spPr bwMode="auto">
          <a:xfrm>
            <a:off x="2962296" y="179496"/>
            <a:ext cx="6056908" cy="5852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66099156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A691ECD-3C5D-4903-BA94-648BA1B5202F}" type="slidenum">
              <a:rPr lang="tr-TR" smtClean="0"/>
              <a:pPr>
                <a:defRPr/>
              </a:pPr>
              <a:t>25</a:t>
            </a:fld>
            <a:endParaRPr lang="tr-TR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r"/>
            <a:r>
              <a:rPr lang="tr-TR" dirty="0" smtClean="0"/>
              <a:t>Conclusion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619672" y="2420888"/>
            <a:ext cx="648072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sz="2000" dirty="0" smtClean="0"/>
              <a:t>The relationship between tourism and </a:t>
            </a:r>
            <a:r>
              <a:rPr lang="tr-TR" sz="2000" dirty="0" smtClean="0"/>
              <a:t>aviation is </a:t>
            </a:r>
            <a:r>
              <a:rPr lang="tr-TR" sz="2000" dirty="0" smtClean="0"/>
              <a:t>mutually reinforcing and interdependent 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619672" y="3212976"/>
            <a:ext cx="648072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sz="2000" dirty="0" smtClean="0"/>
              <a:t>Policy and decision makers of both sectors have to work closely together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619672" y="4077072"/>
            <a:ext cx="648072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sz="2000" dirty="0" smtClean="0"/>
              <a:t>ICF Airports is </a:t>
            </a:r>
            <a:r>
              <a:rPr lang="tr-TR" sz="2000" dirty="0" smtClean="0"/>
              <a:t>committed to </a:t>
            </a:r>
            <a:r>
              <a:rPr lang="tr-TR" sz="2000" dirty="0" smtClean="0"/>
              <a:t>continue </a:t>
            </a:r>
            <a:r>
              <a:rPr lang="tr-TR" sz="2000" dirty="0" smtClean="0"/>
              <a:t>supporting the sustainable development </a:t>
            </a:r>
            <a:r>
              <a:rPr lang="tr-TR" sz="2000" dirty="0" smtClean="0"/>
              <a:t>of aviation and tourism sectors in Antalya.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4171093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56662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47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4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16" descr="\\icfserv2\home$\budget\02 - REPORTING\09 - 3rd Parties &amp; Audit &amp; Presentations\_ICF Standard Presentation\Standard Presentation YE 2014\Standard Presentation 2014 H1\backup\New advertisement campaign\ICF-2014-3_Antalya-02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80728"/>
            <a:ext cx="9144000" cy="52565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3175" y="1325702"/>
            <a:ext cx="9142413" cy="41764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tr-TR" sz="4000" b="1" i="1" dirty="0" smtClean="0">
              <a:solidFill>
                <a:schemeClr val="bg1"/>
              </a:solidFill>
              <a:latin typeface="Arial Narrow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tr-TR" sz="4000" b="1" i="1" dirty="0">
              <a:solidFill>
                <a:schemeClr val="bg1"/>
              </a:solidFill>
              <a:latin typeface="Arial Narrow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tr-TR" sz="2400" b="1" i="1" dirty="0" smtClean="0">
              <a:solidFill>
                <a:schemeClr val="bg1"/>
              </a:solidFill>
              <a:latin typeface="Arial Narrow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r-TR" sz="3600" b="1" dirty="0" smtClean="0">
                <a:solidFill>
                  <a:schemeClr val="bg1"/>
                </a:solidFill>
                <a:latin typeface="Arial Narrow" pitchFamily="34" charset="0"/>
              </a:rPr>
              <a:t>THANK YOU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r-TR" sz="3600" b="1" dirty="0" smtClean="0">
                <a:solidFill>
                  <a:schemeClr val="bg1"/>
                </a:solidFill>
                <a:latin typeface="Arial Narrow" pitchFamily="34" charset="0"/>
              </a:rPr>
              <a:t>FOR YOUR ATTENTION</a:t>
            </a:r>
            <a:endParaRPr lang="tr-TR" sz="36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91ECD-3C5D-4903-BA94-648BA1B5202F}" type="slidenum">
              <a:rPr lang="tr-TR" smtClean="0"/>
              <a:pPr/>
              <a:t>26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4205499035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539750" y="2349500"/>
            <a:ext cx="8208714" cy="3887812"/>
          </a:xfrm>
          <a:solidFill>
            <a:schemeClr val="bg1">
              <a:lumMod val="95000"/>
            </a:schemeClr>
          </a:solidFill>
          <a:ln>
            <a:noFill/>
            <a:miter lim="800000"/>
            <a:headEnd/>
            <a:tailEnd/>
          </a:ln>
        </p:spPr>
        <p:txBody>
          <a:bodyPr/>
          <a:lstStyle/>
          <a:p>
            <a:pPr algn="ctr" eaLnBrk="1" hangingPunct="1">
              <a:lnSpc>
                <a:spcPct val="90000"/>
              </a:lnSpc>
              <a:buFontTx/>
              <a:buNone/>
            </a:pPr>
            <a:r>
              <a:rPr lang="tr-TR" altLang="tr-TR" dirty="0" smtClean="0"/>
              <a:t>	</a:t>
            </a:r>
            <a:r>
              <a:rPr lang="tr-TR" altLang="tr-TR" sz="2000" b="1" dirty="0" smtClean="0">
                <a:latin typeface="Arial" charset="0"/>
              </a:rPr>
              <a:t>ANTALYA AIRPORT </a:t>
            </a:r>
          </a:p>
          <a:p>
            <a:pPr algn="ctr" eaLnBrk="1" hangingPunct="1">
              <a:lnSpc>
                <a:spcPct val="90000"/>
              </a:lnSpc>
              <a:buFontTx/>
              <a:buNone/>
            </a:pPr>
            <a:r>
              <a:rPr lang="tr-TR" altLang="tr-TR" sz="2000" b="1" dirty="0" smtClean="0">
                <a:latin typeface="Arial" charset="0"/>
              </a:rPr>
              <a:t>INTERNATIONAL TERMINAL PROJECT</a:t>
            </a:r>
            <a:r>
              <a:rPr lang="tr-TR" altLang="tr-TR" sz="2000" dirty="0" smtClean="0"/>
              <a:t> </a:t>
            </a:r>
          </a:p>
          <a:p>
            <a:pPr marL="0" indent="0" algn="ctr" eaLnBrk="1" hangingPunct="1">
              <a:lnSpc>
                <a:spcPct val="90000"/>
              </a:lnSpc>
              <a:buNone/>
            </a:pPr>
            <a:endParaRPr lang="tr-TR" altLang="tr-TR" dirty="0"/>
          </a:p>
          <a:p>
            <a:pPr eaLnBrk="1" hangingPunct="1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altLang="tr-TR" sz="2200" dirty="0" smtClean="0">
                <a:latin typeface="Arial" charset="0"/>
              </a:rPr>
              <a:t>The first PPP project in aviation sector in Turkey, privatized through Built Operate Transfer (BOT) model inaugurated in 1998. </a:t>
            </a:r>
          </a:p>
          <a:p>
            <a:pPr marL="0" indent="0" eaLnBrk="1" hangingPunct="1">
              <a:lnSpc>
                <a:spcPct val="90000"/>
              </a:lnSpc>
              <a:buNone/>
            </a:pPr>
            <a:endParaRPr lang="en-US" altLang="tr-TR" sz="800" dirty="0" smtClean="0">
              <a:latin typeface="Arial" charset="0"/>
            </a:endParaRPr>
          </a:p>
          <a:p>
            <a:pPr eaLnBrk="1" hangingPunct="1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altLang="tr-TR" sz="2200" dirty="0" smtClean="0">
                <a:latin typeface="Arial" charset="0"/>
              </a:rPr>
              <a:t>Upon completion of BOT period, ICF Airports </a:t>
            </a:r>
            <a:r>
              <a:rPr lang="tr-TR" altLang="tr-TR" sz="2200" dirty="0" smtClean="0">
                <a:latin typeface="Arial" charset="0"/>
              </a:rPr>
              <a:t>awarded </a:t>
            </a:r>
            <a:r>
              <a:rPr lang="en-US" altLang="tr-TR" sz="2200" dirty="0" smtClean="0">
                <a:latin typeface="Arial" charset="0"/>
              </a:rPr>
              <a:t>operational </a:t>
            </a:r>
            <a:r>
              <a:rPr lang="en-US" altLang="tr-TR" sz="2200" dirty="0" smtClean="0">
                <a:latin typeface="Arial" charset="0"/>
              </a:rPr>
              <a:t>rights until 2024 with a concession fee of 3.2 billion USD. </a:t>
            </a:r>
          </a:p>
          <a:p>
            <a:pPr eaLnBrk="1" hangingPunct="1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altLang="tr-TR" sz="800" dirty="0" smtClean="0">
              <a:latin typeface="Arial" charset="0"/>
            </a:endParaRPr>
          </a:p>
          <a:p>
            <a:pPr eaLnBrk="1" hangingPunct="1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altLang="tr-TR" sz="2200" dirty="0" smtClean="0">
                <a:latin typeface="Arial" charset="0"/>
              </a:rPr>
              <a:t>Success of Antalya project both for private and public sectors motivated and encouraged for the following PPP</a:t>
            </a:r>
            <a:r>
              <a:rPr lang="tr-TR" altLang="tr-TR" sz="2200" dirty="0" smtClean="0">
                <a:latin typeface="Arial" charset="0"/>
              </a:rPr>
              <a:t> project</a:t>
            </a:r>
            <a:r>
              <a:rPr lang="en-US" altLang="tr-TR" sz="2200" dirty="0" smtClean="0">
                <a:latin typeface="Arial" charset="0"/>
              </a:rPr>
              <a:t>s. </a:t>
            </a:r>
          </a:p>
        </p:txBody>
      </p:sp>
      <p:pic>
        <p:nvPicPr>
          <p:cNvPr id="12291" name="Picture 3" descr="termview_up0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565" y="1052736"/>
            <a:ext cx="1967187" cy="1479364"/>
          </a:xfrm>
          <a:prstGeom prst="rect">
            <a:avLst/>
          </a:prstGeom>
          <a:solidFill>
            <a:schemeClr val="accent1">
              <a:alpha val="5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le 6"/>
          <p:cNvSpPr>
            <a:spLocks noGrp="1"/>
          </p:cNvSpPr>
          <p:nvPr>
            <p:ph type="title"/>
          </p:nvPr>
        </p:nvSpPr>
        <p:spPr>
          <a:xfrm>
            <a:off x="5004048" y="28159"/>
            <a:ext cx="4114800" cy="848141"/>
          </a:xfrm>
        </p:spPr>
        <p:txBody>
          <a:bodyPr>
            <a:normAutofit/>
          </a:bodyPr>
          <a:lstStyle/>
          <a:p>
            <a:pPr algn="r"/>
            <a:r>
              <a:rPr lang="tr-TR" dirty="0" smtClean="0"/>
              <a:t>Antalya Airport privatization</a:t>
            </a:r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35594775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Rectangle 58"/>
          <p:cNvSpPr/>
          <p:nvPr/>
        </p:nvSpPr>
        <p:spPr>
          <a:xfrm>
            <a:off x="-3175" y="1412775"/>
            <a:ext cx="9144000" cy="48483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tr-TR" dirty="0"/>
          </a:p>
        </p:txBody>
      </p:sp>
      <p:cxnSp>
        <p:nvCxnSpPr>
          <p:cNvPr id="46" name="Elbow Connector 45"/>
          <p:cNvCxnSpPr/>
          <p:nvPr/>
        </p:nvCxnSpPr>
        <p:spPr>
          <a:xfrm rot="5400000">
            <a:off x="5942469" y="3868738"/>
            <a:ext cx="1374775" cy="900112"/>
          </a:xfrm>
          <a:prstGeom prst="bentConnector2">
            <a:avLst/>
          </a:prstGeom>
          <a:ln w="28575">
            <a:solidFill>
              <a:srgbClr val="152A45"/>
            </a:solidFill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6" name="Rounded Rectangle 25"/>
          <p:cNvSpPr/>
          <p:nvPr/>
        </p:nvSpPr>
        <p:spPr>
          <a:xfrm>
            <a:off x="6702088" y="4117181"/>
            <a:ext cx="762000" cy="381000"/>
          </a:xfrm>
          <a:prstGeom prst="roundRect">
            <a:avLst/>
          </a:prstGeom>
          <a:solidFill>
            <a:schemeClr val="bg1"/>
          </a:solidFill>
          <a:ln>
            <a:solidFill>
              <a:srgbClr val="152A4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r-TR" sz="2000" b="1" dirty="0">
                <a:solidFill>
                  <a:srgbClr val="182A47"/>
                </a:solidFill>
              </a:rPr>
              <a:t>50%</a:t>
            </a:r>
          </a:p>
        </p:txBody>
      </p:sp>
      <p:sp>
        <p:nvSpPr>
          <p:cNvPr id="20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91ECD-3C5D-4903-BA94-648BA1B5202F}" type="slidenum">
              <a:rPr lang="tr-TR" smtClean="0"/>
              <a:pPr/>
              <a:t>4</a:t>
            </a:fld>
            <a:endParaRPr lang="tr-TR" dirty="0"/>
          </a:p>
        </p:txBody>
      </p:sp>
      <p:grpSp>
        <p:nvGrpSpPr>
          <p:cNvPr id="2" name="Group 1"/>
          <p:cNvGrpSpPr/>
          <p:nvPr/>
        </p:nvGrpSpPr>
        <p:grpSpPr>
          <a:xfrm>
            <a:off x="504488" y="2264569"/>
            <a:ext cx="3101975" cy="1395412"/>
            <a:chOff x="631825" y="2185988"/>
            <a:chExt cx="3101975" cy="1395412"/>
          </a:xfrm>
        </p:grpSpPr>
        <p:sp>
          <p:nvSpPr>
            <p:cNvPr id="30" name="Rounded Rectangle 29"/>
            <p:cNvSpPr/>
            <p:nvPr/>
          </p:nvSpPr>
          <p:spPr bwMode="auto">
            <a:xfrm>
              <a:off x="631825" y="2185988"/>
              <a:ext cx="3101975" cy="1395412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152A45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tr-TR"/>
            </a:p>
          </p:txBody>
        </p:sp>
        <p:pic>
          <p:nvPicPr>
            <p:cNvPr id="31" name="Picture 22"/>
            <p:cNvPicPr>
              <a:picLocks noChangeAspect="1" noChangeArrowheads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8341" t="6507" r="5621" b="19686"/>
            <a:stretch/>
          </p:blipFill>
          <p:spPr bwMode="auto">
            <a:xfrm>
              <a:off x="971601" y="2274818"/>
              <a:ext cx="2362726" cy="12379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3" name="Group 2"/>
          <p:cNvGrpSpPr/>
          <p:nvPr/>
        </p:nvGrpSpPr>
        <p:grpSpPr>
          <a:xfrm>
            <a:off x="5457488" y="2228056"/>
            <a:ext cx="3101975" cy="1395413"/>
            <a:chOff x="5584825" y="2149475"/>
            <a:chExt cx="3101975" cy="1395413"/>
          </a:xfrm>
        </p:grpSpPr>
        <p:sp>
          <p:nvSpPr>
            <p:cNvPr id="33" name="Rounded Rectangle 32"/>
            <p:cNvSpPr/>
            <p:nvPr/>
          </p:nvSpPr>
          <p:spPr bwMode="auto">
            <a:xfrm>
              <a:off x="5584825" y="2149475"/>
              <a:ext cx="3101975" cy="1395413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152A45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tr-TR"/>
            </a:p>
          </p:txBody>
        </p:sp>
        <p:pic>
          <p:nvPicPr>
            <p:cNvPr id="34" name="Picture 5" descr="New Picture"/>
            <p:cNvPicPr>
              <a:picLocks noChangeAspect="1" noChangeArrowheads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5947507" y="2438399"/>
              <a:ext cx="2307973" cy="942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cxnSp>
        <p:nvCxnSpPr>
          <p:cNvPr id="25" name="Elbow Connector 24"/>
          <p:cNvCxnSpPr/>
          <p:nvPr/>
        </p:nvCxnSpPr>
        <p:spPr>
          <a:xfrm rot="16200000" flipH="1">
            <a:off x="1879263" y="3826669"/>
            <a:ext cx="1374775" cy="1022350"/>
          </a:xfrm>
          <a:prstGeom prst="bentConnector2">
            <a:avLst/>
          </a:prstGeom>
          <a:ln w="28575">
            <a:solidFill>
              <a:srgbClr val="152A45"/>
            </a:solidFill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4" name="Rounded Rectangle 3"/>
          <p:cNvSpPr/>
          <p:nvPr/>
        </p:nvSpPr>
        <p:spPr>
          <a:xfrm>
            <a:off x="1669713" y="4117181"/>
            <a:ext cx="762000" cy="381000"/>
          </a:xfrm>
          <a:prstGeom prst="roundRect">
            <a:avLst/>
          </a:prstGeom>
          <a:solidFill>
            <a:schemeClr val="bg1"/>
          </a:solidFill>
          <a:ln>
            <a:solidFill>
              <a:srgbClr val="152A4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r-TR" sz="2000" b="1" dirty="0">
                <a:solidFill>
                  <a:srgbClr val="182A47"/>
                </a:solidFill>
              </a:rPr>
              <a:t>50%</a:t>
            </a:r>
          </a:p>
        </p:txBody>
      </p:sp>
      <p:sp>
        <p:nvSpPr>
          <p:cNvPr id="55" name="Rectangle 54"/>
          <p:cNvSpPr/>
          <p:nvPr/>
        </p:nvSpPr>
        <p:spPr>
          <a:xfrm>
            <a:off x="6327346" y="6261100"/>
            <a:ext cx="2798182" cy="6107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6" name="Group 5"/>
          <p:cNvGrpSpPr/>
          <p:nvPr/>
        </p:nvGrpSpPr>
        <p:grpSpPr>
          <a:xfrm>
            <a:off x="3077826" y="4336256"/>
            <a:ext cx="3101975" cy="1397000"/>
            <a:chOff x="3077826" y="3980732"/>
            <a:chExt cx="3101975" cy="1397000"/>
          </a:xfrm>
        </p:grpSpPr>
        <p:sp>
          <p:nvSpPr>
            <p:cNvPr id="36" name="Rounded Rectangle 35"/>
            <p:cNvSpPr/>
            <p:nvPr/>
          </p:nvSpPr>
          <p:spPr bwMode="auto">
            <a:xfrm>
              <a:off x="3077826" y="3980732"/>
              <a:ext cx="3101975" cy="1397000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152A45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tr-TR"/>
            </a:p>
          </p:txBody>
        </p:sp>
        <p:pic>
          <p:nvPicPr>
            <p:cNvPr id="21" name="Picture 2" descr="icf_antetli_logo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34970" y="4286673"/>
              <a:ext cx="2786426" cy="7985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2" name="Title 6"/>
          <p:cNvSpPr>
            <a:spLocks noGrp="1"/>
          </p:cNvSpPr>
          <p:nvPr>
            <p:ph type="title"/>
          </p:nvPr>
        </p:nvSpPr>
        <p:spPr>
          <a:xfrm>
            <a:off x="5004048" y="28159"/>
            <a:ext cx="4114800" cy="848141"/>
          </a:xfrm>
        </p:spPr>
        <p:txBody>
          <a:bodyPr/>
          <a:lstStyle/>
          <a:p>
            <a:pPr algn="r"/>
            <a:r>
              <a:rPr lang="tr-TR" dirty="0" smtClean="0"/>
              <a:t>ICF Airports shareholding </a:t>
            </a:r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4266680381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06690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42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6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/>
        </p:nvSpPr>
        <p:spPr>
          <a:xfrm>
            <a:off x="-3175" y="1412777"/>
            <a:ext cx="9144000" cy="48356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tr-TR">
              <a:solidFill>
                <a:srgbClr val="182A47"/>
              </a:solidFill>
            </a:endParaRPr>
          </a:p>
        </p:txBody>
      </p:sp>
      <p:sp>
        <p:nvSpPr>
          <p:cNvPr id="21509" name="Rectangle 13"/>
          <p:cNvSpPr>
            <a:spLocks noChangeArrowheads="1"/>
          </p:cNvSpPr>
          <p:nvPr/>
        </p:nvSpPr>
        <p:spPr bwMode="auto">
          <a:xfrm>
            <a:off x="217488" y="1124744"/>
            <a:ext cx="8697912" cy="46819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/>
          <a:lstStyle/>
          <a:p>
            <a:pPr ea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2400" b="1" dirty="0">
                <a:solidFill>
                  <a:srgbClr val="152A45"/>
                </a:solidFill>
                <a:latin typeface="Arial Narrow" pitchFamily="34" charset="0"/>
              </a:rPr>
              <a:t>From Asia To South America </a:t>
            </a:r>
            <a:r>
              <a:rPr lang="tr-TR" sz="2400" b="1" dirty="0" smtClean="0">
                <a:solidFill>
                  <a:srgbClr val="152A45"/>
                </a:solidFill>
                <a:latin typeface="Arial Narrow" pitchFamily="34" charset="0"/>
              </a:rPr>
              <a:t>– </a:t>
            </a:r>
          </a:p>
          <a:p>
            <a:pPr ea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tr-TR" sz="2400" b="1" dirty="0" smtClean="0">
                <a:solidFill>
                  <a:srgbClr val="152A45"/>
                </a:solidFill>
                <a:latin typeface="Arial Narrow" pitchFamily="34" charset="0"/>
              </a:rPr>
              <a:t>Fraport’s</a:t>
            </a:r>
            <a:r>
              <a:rPr lang="en-US" sz="2400" b="1" dirty="0" smtClean="0">
                <a:solidFill>
                  <a:srgbClr val="152A45"/>
                </a:solidFill>
                <a:latin typeface="Arial Narrow" pitchFamily="34" charset="0"/>
              </a:rPr>
              <a:t> </a:t>
            </a:r>
            <a:r>
              <a:rPr lang="tr-TR" sz="2400" b="1" dirty="0" smtClean="0">
                <a:solidFill>
                  <a:srgbClr val="152A45"/>
                </a:solidFill>
                <a:latin typeface="Arial Narrow" pitchFamily="34" charset="0"/>
              </a:rPr>
              <a:t>k</a:t>
            </a:r>
            <a:r>
              <a:rPr lang="en-US" sz="2400" b="1" dirty="0" smtClean="0">
                <a:solidFill>
                  <a:srgbClr val="152A45"/>
                </a:solidFill>
                <a:latin typeface="Arial Narrow" pitchFamily="34" charset="0"/>
              </a:rPr>
              <a:t>now-</a:t>
            </a:r>
            <a:r>
              <a:rPr lang="tr-TR" sz="2400" b="1" dirty="0" smtClean="0">
                <a:solidFill>
                  <a:srgbClr val="152A45"/>
                </a:solidFill>
                <a:latin typeface="Arial Narrow" pitchFamily="34" charset="0"/>
              </a:rPr>
              <a:t>h</a:t>
            </a:r>
            <a:r>
              <a:rPr lang="en-US" sz="2400" b="1" dirty="0" smtClean="0">
                <a:solidFill>
                  <a:srgbClr val="152A45"/>
                </a:solidFill>
                <a:latin typeface="Arial Narrow" pitchFamily="34" charset="0"/>
              </a:rPr>
              <a:t>ow </a:t>
            </a:r>
            <a:r>
              <a:rPr lang="tr-TR" sz="2400" b="1" dirty="0" smtClean="0">
                <a:solidFill>
                  <a:srgbClr val="152A45"/>
                </a:solidFill>
                <a:latin typeface="Arial Narrow" pitchFamily="34" charset="0"/>
              </a:rPr>
              <a:t>i</a:t>
            </a:r>
            <a:r>
              <a:rPr lang="en-US" sz="2400" b="1" dirty="0" smtClean="0">
                <a:solidFill>
                  <a:srgbClr val="152A45"/>
                </a:solidFill>
                <a:latin typeface="Arial Narrow" pitchFamily="34" charset="0"/>
              </a:rPr>
              <a:t>s </a:t>
            </a:r>
            <a:r>
              <a:rPr lang="tr-TR" sz="2400" b="1" dirty="0" smtClean="0">
                <a:solidFill>
                  <a:srgbClr val="152A45"/>
                </a:solidFill>
                <a:latin typeface="Arial Narrow" pitchFamily="34" charset="0"/>
              </a:rPr>
              <a:t>i</a:t>
            </a:r>
            <a:r>
              <a:rPr lang="en-US" sz="2400" b="1" dirty="0" smtClean="0">
                <a:solidFill>
                  <a:srgbClr val="152A45"/>
                </a:solidFill>
                <a:latin typeface="Arial Narrow" pitchFamily="34" charset="0"/>
              </a:rPr>
              <a:t>n </a:t>
            </a:r>
            <a:r>
              <a:rPr lang="tr-TR" sz="2400" b="1" dirty="0" smtClean="0">
                <a:solidFill>
                  <a:srgbClr val="152A45"/>
                </a:solidFill>
                <a:latin typeface="Arial Narrow" pitchFamily="34" charset="0"/>
              </a:rPr>
              <a:t>d</a:t>
            </a:r>
            <a:r>
              <a:rPr lang="en-US" sz="2400" b="1" dirty="0" smtClean="0">
                <a:solidFill>
                  <a:srgbClr val="152A45"/>
                </a:solidFill>
                <a:latin typeface="Arial Narrow" pitchFamily="34" charset="0"/>
              </a:rPr>
              <a:t>emand </a:t>
            </a:r>
            <a:r>
              <a:rPr lang="tr-TR" sz="2400" b="1" dirty="0" smtClean="0">
                <a:solidFill>
                  <a:srgbClr val="152A45"/>
                </a:solidFill>
                <a:latin typeface="Arial Narrow" pitchFamily="34" charset="0"/>
              </a:rPr>
              <a:t>a</a:t>
            </a:r>
            <a:r>
              <a:rPr lang="en-US" sz="2400" b="1" dirty="0" smtClean="0">
                <a:solidFill>
                  <a:srgbClr val="152A45"/>
                </a:solidFill>
                <a:latin typeface="Arial Narrow" pitchFamily="34" charset="0"/>
              </a:rPr>
              <a:t>round </a:t>
            </a:r>
            <a:r>
              <a:rPr lang="tr-TR" sz="2400" b="1" dirty="0" smtClean="0">
                <a:solidFill>
                  <a:srgbClr val="152A45"/>
                </a:solidFill>
                <a:latin typeface="Arial Narrow" pitchFamily="34" charset="0"/>
              </a:rPr>
              <a:t>t</a:t>
            </a:r>
            <a:r>
              <a:rPr lang="en-US" sz="2400" b="1" dirty="0" smtClean="0">
                <a:solidFill>
                  <a:srgbClr val="152A45"/>
                </a:solidFill>
                <a:latin typeface="Arial Narrow" pitchFamily="34" charset="0"/>
              </a:rPr>
              <a:t>he </a:t>
            </a:r>
            <a:r>
              <a:rPr lang="tr-TR" sz="2400" b="1" dirty="0" smtClean="0">
                <a:solidFill>
                  <a:srgbClr val="152A45"/>
                </a:solidFill>
                <a:latin typeface="Arial Narrow" pitchFamily="34" charset="0"/>
              </a:rPr>
              <a:t>w</a:t>
            </a:r>
            <a:r>
              <a:rPr lang="en-US" sz="2400" b="1" dirty="0" smtClean="0">
                <a:solidFill>
                  <a:srgbClr val="152A45"/>
                </a:solidFill>
                <a:latin typeface="Arial Narrow" pitchFamily="34" charset="0"/>
              </a:rPr>
              <a:t>orld</a:t>
            </a:r>
            <a:r>
              <a:rPr lang="de-DE" sz="2400" b="1" dirty="0" smtClean="0">
                <a:solidFill>
                  <a:srgbClr val="152A45"/>
                </a:solidFill>
                <a:latin typeface="Arial Narrow" pitchFamily="34" charset="0"/>
              </a:rPr>
              <a:t>:</a:t>
            </a:r>
            <a:endParaRPr lang="de-DE" sz="2400" b="1" dirty="0">
              <a:solidFill>
                <a:srgbClr val="152A45"/>
              </a:solidFill>
              <a:latin typeface="Arial Narrow" pitchFamily="34" charset="0"/>
            </a:endParaRPr>
          </a:p>
        </p:txBody>
      </p:sp>
      <p:sp>
        <p:nvSpPr>
          <p:cNvPr id="17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2704" y="6328811"/>
            <a:ext cx="1905000" cy="457200"/>
          </a:xfrm>
        </p:spPr>
        <p:txBody>
          <a:bodyPr/>
          <a:lstStyle/>
          <a:p>
            <a:fld id="{4A691ECD-3C5D-4903-BA94-648BA1B5202F}" type="slidenum">
              <a:rPr lang="tr-TR" smtClean="0"/>
              <a:pPr/>
              <a:t>5</a:t>
            </a:fld>
            <a:endParaRPr lang="tr-TR" dirty="0"/>
          </a:p>
        </p:txBody>
      </p:sp>
      <p:sp>
        <p:nvSpPr>
          <p:cNvPr id="12" name="Rectangle 11"/>
          <p:cNvSpPr/>
          <p:nvPr/>
        </p:nvSpPr>
        <p:spPr>
          <a:xfrm>
            <a:off x="6327346" y="6288335"/>
            <a:ext cx="2798182" cy="5625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22" name="Group 21"/>
          <p:cNvGrpSpPr/>
          <p:nvPr/>
        </p:nvGrpSpPr>
        <p:grpSpPr>
          <a:xfrm>
            <a:off x="7756018" y="260648"/>
            <a:ext cx="1280580" cy="576064"/>
            <a:chOff x="631825" y="2185988"/>
            <a:chExt cx="3101975" cy="1395412"/>
          </a:xfrm>
        </p:grpSpPr>
        <p:sp>
          <p:nvSpPr>
            <p:cNvPr id="23" name="Rounded Rectangle 22"/>
            <p:cNvSpPr/>
            <p:nvPr/>
          </p:nvSpPr>
          <p:spPr bwMode="auto">
            <a:xfrm>
              <a:off x="631825" y="2185988"/>
              <a:ext cx="3101975" cy="1395412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152A45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tr-TR"/>
            </a:p>
          </p:txBody>
        </p:sp>
        <p:pic>
          <p:nvPicPr>
            <p:cNvPr id="24" name="Picture 22"/>
            <p:cNvPicPr>
              <a:picLocks noChangeAspect="1" noChangeArrowheads="1"/>
            </p:cNvPicPr>
            <p:nvPr/>
          </p:nvPicPr>
          <p:blipFill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8341" t="6507" r="5621" b="19686"/>
            <a:stretch/>
          </p:blipFill>
          <p:spPr bwMode="auto">
            <a:xfrm>
              <a:off x="971601" y="2274818"/>
              <a:ext cx="2362726" cy="12379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21" name="Picture 2" descr="T:\BET\BET_User\05 Beteiligungsmanagement\Peru\Lima Airport Partners (LAP)\00 Unternehmensinformationen\Fotos\2012\DSC_0833.jpg"/>
          <p:cNvPicPr>
            <a:picLocks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071" t="4658" r="3655" b="2510"/>
          <a:stretch/>
        </p:blipFill>
        <p:spPr bwMode="auto">
          <a:xfrm>
            <a:off x="1907704" y="5227337"/>
            <a:ext cx="1224136" cy="86100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6" name="Picture 25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840"/>
          <a:stretch/>
        </p:blipFill>
        <p:spPr>
          <a:xfrm>
            <a:off x="3394107" y="5213138"/>
            <a:ext cx="1304286" cy="91851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65" name="Picture 264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594" r="6345" b="9863"/>
          <a:stretch/>
        </p:blipFill>
        <p:spPr>
          <a:xfrm>
            <a:off x="395536" y="5227337"/>
            <a:ext cx="1224136" cy="86100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grpSp>
        <p:nvGrpSpPr>
          <p:cNvPr id="262" name="Gruppieren 96"/>
          <p:cNvGrpSpPr/>
          <p:nvPr/>
        </p:nvGrpSpPr>
        <p:grpSpPr>
          <a:xfrm>
            <a:off x="2123728" y="1628800"/>
            <a:ext cx="6912768" cy="4680520"/>
            <a:chOff x="1372596" y="2162872"/>
            <a:chExt cx="7514760" cy="5072073"/>
          </a:xfrm>
        </p:grpSpPr>
        <p:sp>
          <p:nvSpPr>
            <p:cNvPr id="263" name="Text Box 100"/>
            <p:cNvSpPr txBox="1">
              <a:spLocks noChangeArrowheads="1"/>
            </p:cNvSpPr>
            <p:nvPr/>
          </p:nvSpPr>
          <p:spPr bwMode="auto">
            <a:xfrm>
              <a:off x="5971540" y="6296226"/>
              <a:ext cx="2915816" cy="9387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ts val="85"/>
                </a:spcAft>
              </a:pPr>
              <a:r>
                <a:rPr lang="en-US" sz="8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            </a:t>
              </a:r>
              <a:r>
                <a:rPr lang="en-US" sz="8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	Majority </a:t>
              </a:r>
              <a:r>
                <a:rPr lang="en-US" sz="8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Stake</a:t>
              </a:r>
            </a:p>
            <a:p>
              <a:pPr>
                <a:spcAft>
                  <a:spcPts val="85"/>
                </a:spcAft>
              </a:pPr>
              <a:r>
                <a:rPr lang="en-US" sz="8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             </a:t>
              </a:r>
              <a:r>
                <a:rPr lang="en-US" sz="8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	Minority </a:t>
              </a:r>
              <a:r>
                <a:rPr lang="en-US" sz="8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Stake</a:t>
              </a:r>
            </a:p>
            <a:p>
              <a:pPr>
                <a:spcAft>
                  <a:spcPts val="85"/>
                </a:spcAft>
              </a:pPr>
              <a:r>
                <a:rPr lang="en-US" sz="8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            </a:t>
              </a:r>
              <a:r>
                <a:rPr lang="en-US" sz="8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	Management Contract</a:t>
              </a:r>
            </a:p>
            <a:p>
              <a:pPr>
                <a:spcAft>
                  <a:spcPts val="85"/>
                </a:spcAft>
              </a:pPr>
              <a:r>
                <a:rPr lang="en-US" sz="8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           	(successful termination of contracts </a:t>
              </a:r>
            </a:p>
            <a:p>
              <a:pPr>
                <a:spcAft>
                  <a:spcPts val="85"/>
                </a:spcAft>
              </a:pPr>
              <a:r>
                <a:rPr lang="en-US" sz="8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              	- CAI, JED, RUH - in 2014)</a:t>
              </a:r>
            </a:p>
            <a:p>
              <a:pPr>
                <a:spcAft>
                  <a:spcPts val="85"/>
                </a:spcAft>
              </a:pPr>
              <a:r>
                <a:rPr lang="en-US" sz="800" baseline="300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1</a:t>
              </a:r>
              <a:r>
                <a:rPr lang="en-US" sz="8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Operation at DKR and 14 Greek airports to start in 2015 </a:t>
              </a:r>
              <a:endParaRPr lang="en-US" sz="8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  <a:p>
              <a:pPr>
                <a:spcAft>
                  <a:spcPts val="85"/>
                </a:spcAft>
              </a:pPr>
              <a:endParaRPr lang="en-US" sz="8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267" name="Gruppieren 97"/>
            <p:cNvGrpSpPr/>
            <p:nvPr/>
          </p:nvGrpSpPr>
          <p:grpSpPr>
            <a:xfrm>
              <a:off x="1372596" y="2162872"/>
              <a:ext cx="6939026" cy="4557941"/>
              <a:chOff x="1372596" y="2162872"/>
              <a:chExt cx="6939026" cy="4557941"/>
            </a:xfrm>
          </p:grpSpPr>
          <p:sp>
            <p:nvSpPr>
              <p:cNvPr id="269" name="Rectangle 268"/>
              <p:cNvSpPr>
                <a:spLocks noChangeArrowheads="1"/>
              </p:cNvSpPr>
              <p:nvPr/>
            </p:nvSpPr>
            <p:spPr bwMode="auto">
              <a:xfrm>
                <a:off x="2847263" y="4789489"/>
                <a:ext cx="93663" cy="100012"/>
              </a:xfrm>
              <a:prstGeom prst="rect">
                <a:avLst/>
              </a:prstGeom>
              <a:solidFill>
                <a:srgbClr val="00009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lIns="86343" tIns="43172" rIns="86343" bIns="43172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0" name="Rectangle 269"/>
              <p:cNvSpPr>
                <a:spLocks noChangeArrowheads="1"/>
              </p:cNvSpPr>
              <p:nvPr/>
            </p:nvSpPr>
            <p:spPr bwMode="auto">
              <a:xfrm>
                <a:off x="2999661" y="4768860"/>
                <a:ext cx="452438" cy="2889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86343" tIns="43172" rIns="86343" bIns="43172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1" name="Rectangle 270"/>
              <p:cNvSpPr>
                <a:spLocks noChangeArrowheads="1"/>
              </p:cNvSpPr>
              <p:nvPr/>
            </p:nvSpPr>
            <p:spPr bwMode="auto">
              <a:xfrm>
                <a:off x="2998074" y="4751391"/>
                <a:ext cx="304571" cy="18466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1200" b="1" dirty="0">
                    <a:solidFill>
                      <a:srgbClr val="000091"/>
                    </a:solidFill>
                  </a:rPr>
                  <a:t>Lima</a:t>
                </a:r>
                <a:endParaRPr lang="en-US" sz="3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2" name="Rectangle 271"/>
              <p:cNvSpPr>
                <a:spLocks noChangeArrowheads="1"/>
              </p:cNvSpPr>
              <p:nvPr/>
            </p:nvSpPr>
            <p:spPr bwMode="auto">
              <a:xfrm>
                <a:off x="4596690" y="3432176"/>
                <a:ext cx="96838" cy="88900"/>
              </a:xfrm>
              <a:prstGeom prst="rect">
                <a:avLst/>
              </a:prstGeom>
              <a:solidFill>
                <a:srgbClr val="00009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lIns="86343" tIns="43172" rIns="86343" bIns="43172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3" name="Rectangle 272"/>
              <p:cNvSpPr>
                <a:spLocks noChangeArrowheads="1"/>
              </p:cNvSpPr>
              <p:nvPr/>
            </p:nvSpPr>
            <p:spPr bwMode="auto">
              <a:xfrm>
                <a:off x="4125205" y="3589345"/>
                <a:ext cx="1144587" cy="2778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86343" tIns="43172" rIns="86343" bIns="43172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4" name="Rectangle 273"/>
              <p:cNvSpPr>
                <a:spLocks noChangeArrowheads="1"/>
              </p:cNvSpPr>
              <p:nvPr/>
            </p:nvSpPr>
            <p:spPr bwMode="auto">
              <a:xfrm>
                <a:off x="4215691" y="3568702"/>
                <a:ext cx="769570" cy="18466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1200" b="1" dirty="0">
                    <a:solidFill>
                      <a:srgbClr val="000091"/>
                    </a:solidFill>
                  </a:rPr>
                  <a:t>FRANKFURT</a:t>
                </a:r>
                <a:endParaRPr lang="en-US" sz="3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5" name="Rectangle 274"/>
              <p:cNvSpPr>
                <a:spLocks noChangeArrowheads="1"/>
              </p:cNvSpPr>
              <p:nvPr/>
            </p:nvSpPr>
            <p:spPr bwMode="auto">
              <a:xfrm>
                <a:off x="5011029" y="3937005"/>
                <a:ext cx="104775" cy="98426"/>
              </a:xfrm>
              <a:prstGeom prst="rect">
                <a:avLst/>
              </a:prstGeom>
              <a:solidFill>
                <a:srgbClr val="00009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lIns="86343" tIns="43172" rIns="86343" bIns="43172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6" name="Rectangle 275"/>
              <p:cNvSpPr>
                <a:spLocks noChangeArrowheads="1"/>
              </p:cNvSpPr>
              <p:nvPr/>
            </p:nvSpPr>
            <p:spPr bwMode="auto">
              <a:xfrm>
                <a:off x="6397726" y="2162872"/>
                <a:ext cx="933450" cy="28733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86343" tIns="43172" rIns="86343" bIns="43172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7" name="Rectangle 276"/>
              <p:cNvSpPr>
                <a:spLocks noChangeArrowheads="1"/>
              </p:cNvSpPr>
              <p:nvPr/>
            </p:nvSpPr>
            <p:spPr bwMode="auto">
              <a:xfrm>
                <a:off x="6144498" y="3916373"/>
                <a:ext cx="461962" cy="2889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86343" tIns="43172" rIns="86343" bIns="43172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8" name="Rectangle 277"/>
              <p:cNvSpPr>
                <a:spLocks noChangeArrowheads="1"/>
              </p:cNvSpPr>
              <p:nvPr/>
            </p:nvSpPr>
            <p:spPr bwMode="auto">
              <a:xfrm>
                <a:off x="6142910" y="3895726"/>
                <a:ext cx="335028" cy="18466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1200" b="1" dirty="0">
                    <a:solidFill>
                      <a:srgbClr val="000091"/>
                    </a:solidFill>
                  </a:rPr>
                  <a:t>Delhi</a:t>
                </a:r>
                <a:endParaRPr lang="en-US" sz="3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9" name="Rectangle 278"/>
              <p:cNvSpPr>
                <a:spLocks noChangeArrowheads="1"/>
              </p:cNvSpPr>
              <p:nvPr/>
            </p:nvSpPr>
            <p:spPr bwMode="auto">
              <a:xfrm>
                <a:off x="2701217" y="3937005"/>
                <a:ext cx="104775" cy="98426"/>
              </a:xfrm>
              <a:prstGeom prst="rect">
                <a:avLst/>
              </a:prstGeom>
              <a:solidFill>
                <a:srgbClr val="00009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lIns="86343" tIns="43172" rIns="86343" bIns="43172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0" name="Rectangle 279"/>
              <p:cNvSpPr>
                <a:spLocks noChangeArrowheads="1"/>
              </p:cNvSpPr>
              <p:nvPr/>
            </p:nvSpPr>
            <p:spPr bwMode="auto">
              <a:xfrm>
                <a:off x="2855205" y="3916373"/>
                <a:ext cx="682625" cy="2889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86343" tIns="43172" rIns="86343" bIns="43172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1" name="Rectangle 280"/>
              <p:cNvSpPr>
                <a:spLocks noChangeArrowheads="1"/>
              </p:cNvSpPr>
              <p:nvPr/>
            </p:nvSpPr>
            <p:spPr bwMode="auto">
              <a:xfrm>
                <a:off x="2852026" y="3895726"/>
                <a:ext cx="522579" cy="18466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1200" b="1" dirty="0">
                    <a:solidFill>
                      <a:srgbClr val="000091"/>
                    </a:solidFill>
                  </a:rPr>
                  <a:t>Orlando</a:t>
                </a:r>
                <a:endParaRPr lang="en-US" sz="3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2" name="Rectangle 281"/>
              <p:cNvSpPr>
                <a:spLocks noChangeArrowheads="1"/>
              </p:cNvSpPr>
              <p:nvPr/>
            </p:nvSpPr>
            <p:spPr bwMode="auto">
              <a:xfrm>
                <a:off x="5990509" y="3927476"/>
                <a:ext cx="95250" cy="88900"/>
              </a:xfrm>
              <a:prstGeom prst="rect">
                <a:avLst/>
              </a:prstGeom>
              <a:solidFill>
                <a:srgbClr val="00009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lIns="86343" tIns="43172" rIns="86343" bIns="43172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3" name="Rectangle 282"/>
              <p:cNvSpPr>
                <a:spLocks noChangeArrowheads="1"/>
              </p:cNvSpPr>
              <p:nvPr/>
            </p:nvSpPr>
            <p:spPr bwMode="auto">
              <a:xfrm>
                <a:off x="4009315" y="4324350"/>
                <a:ext cx="1009651" cy="28733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86343" tIns="43172" rIns="86343" bIns="43172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4" name="Rectangle 283"/>
              <p:cNvSpPr>
                <a:spLocks noChangeArrowheads="1"/>
              </p:cNvSpPr>
              <p:nvPr/>
            </p:nvSpPr>
            <p:spPr bwMode="auto">
              <a:xfrm>
                <a:off x="4006141" y="4303713"/>
                <a:ext cx="571247" cy="18466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1200" b="1" dirty="0">
                    <a:solidFill>
                      <a:srgbClr val="000091"/>
                    </a:solidFill>
                  </a:rPr>
                  <a:t>Senegal*</a:t>
                </a:r>
                <a:endParaRPr lang="en-US" sz="3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5" name="Rectangle 284"/>
              <p:cNvSpPr>
                <a:spLocks noChangeArrowheads="1"/>
              </p:cNvSpPr>
              <p:nvPr/>
            </p:nvSpPr>
            <p:spPr bwMode="auto">
              <a:xfrm>
                <a:off x="4085516" y="4194182"/>
                <a:ext cx="106363" cy="90488"/>
              </a:xfrm>
              <a:prstGeom prst="rect">
                <a:avLst/>
              </a:prstGeom>
              <a:solidFill>
                <a:srgbClr val="00009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lIns="86343" tIns="43172" rIns="86343" bIns="43172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6" name="Rectangle 285"/>
              <p:cNvSpPr>
                <a:spLocks noChangeArrowheads="1"/>
              </p:cNvSpPr>
              <p:nvPr/>
            </p:nvSpPr>
            <p:spPr bwMode="auto">
              <a:xfrm>
                <a:off x="5163423" y="3916373"/>
                <a:ext cx="549275" cy="2889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86343" tIns="43172" rIns="86343" bIns="43172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7" name="Rectangle 286"/>
              <p:cNvSpPr>
                <a:spLocks noChangeArrowheads="1"/>
              </p:cNvSpPr>
              <p:nvPr/>
            </p:nvSpPr>
            <p:spPr bwMode="auto">
              <a:xfrm>
                <a:off x="5161834" y="3895726"/>
                <a:ext cx="332848" cy="18466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1200" b="1" dirty="0">
                    <a:solidFill>
                      <a:srgbClr val="000091"/>
                    </a:solidFill>
                  </a:rPr>
                  <a:t>Kairo</a:t>
                </a:r>
                <a:endParaRPr lang="en-US" sz="3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8" name="Rectangle 287"/>
              <p:cNvSpPr>
                <a:spLocks noChangeArrowheads="1"/>
              </p:cNvSpPr>
              <p:nvPr/>
            </p:nvSpPr>
            <p:spPr bwMode="auto">
              <a:xfrm>
                <a:off x="5557122" y="3895726"/>
                <a:ext cx="76944" cy="18466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1200" b="1" dirty="0">
                    <a:solidFill>
                      <a:srgbClr val="000091"/>
                    </a:solidFill>
                  </a:rPr>
                  <a:t>*</a:t>
                </a:r>
                <a:endParaRPr lang="en-US" sz="3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9" name="Rectangle 288"/>
              <p:cNvSpPr>
                <a:spLocks noChangeArrowheads="1"/>
              </p:cNvSpPr>
              <p:nvPr/>
            </p:nvSpPr>
            <p:spPr bwMode="auto">
              <a:xfrm>
                <a:off x="2999661" y="4768860"/>
                <a:ext cx="452438" cy="2889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86343" tIns="43172" rIns="86343" bIns="43172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0" name="Rectangle 289"/>
              <p:cNvSpPr>
                <a:spLocks noChangeArrowheads="1"/>
              </p:cNvSpPr>
              <p:nvPr/>
            </p:nvSpPr>
            <p:spPr bwMode="auto">
              <a:xfrm>
                <a:off x="4125205" y="3589345"/>
                <a:ext cx="1144587" cy="2778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86343" tIns="43172" rIns="86343" bIns="43172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1" name="Rectangle 290"/>
              <p:cNvSpPr>
                <a:spLocks noChangeArrowheads="1"/>
              </p:cNvSpPr>
              <p:nvPr/>
            </p:nvSpPr>
            <p:spPr bwMode="auto">
              <a:xfrm>
                <a:off x="6397726" y="2162872"/>
                <a:ext cx="933450" cy="28733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86343" tIns="43172" rIns="86343" bIns="43172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2" name="Rectangle 291"/>
              <p:cNvSpPr>
                <a:spLocks noChangeArrowheads="1"/>
              </p:cNvSpPr>
              <p:nvPr/>
            </p:nvSpPr>
            <p:spPr bwMode="auto">
              <a:xfrm>
                <a:off x="6144498" y="3916373"/>
                <a:ext cx="461962" cy="2889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86343" tIns="43172" rIns="86343" bIns="43172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3" name="Rectangle 292"/>
              <p:cNvSpPr>
                <a:spLocks noChangeArrowheads="1"/>
              </p:cNvSpPr>
              <p:nvPr/>
            </p:nvSpPr>
            <p:spPr bwMode="auto">
              <a:xfrm>
                <a:off x="2855205" y="3916373"/>
                <a:ext cx="682625" cy="2889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86343" tIns="43172" rIns="86343" bIns="43172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4" name="Rectangle 293"/>
              <p:cNvSpPr>
                <a:spLocks noChangeArrowheads="1"/>
              </p:cNvSpPr>
              <p:nvPr/>
            </p:nvSpPr>
            <p:spPr bwMode="auto">
              <a:xfrm>
                <a:off x="4009315" y="4324350"/>
                <a:ext cx="1009651" cy="28733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86343" tIns="43172" rIns="86343" bIns="43172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5" name="Rectangle 294"/>
              <p:cNvSpPr>
                <a:spLocks noChangeArrowheads="1"/>
              </p:cNvSpPr>
              <p:nvPr/>
            </p:nvSpPr>
            <p:spPr bwMode="auto">
              <a:xfrm>
                <a:off x="5163423" y="3916373"/>
                <a:ext cx="549275" cy="28892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86343" tIns="43172" rIns="86343" bIns="43172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6" name="AutoShape 101"/>
              <p:cNvSpPr>
                <a:spLocks noChangeAspect="1" noChangeArrowheads="1"/>
              </p:cNvSpPr>
              <p:nvPr/>
            </p:nvSpPr>
            <p:spPr bwMode="auto">
              <a:xfrm>
                <a:off x="6141710" y="6293852"/>
                <a:ext cx="90487" cy="90487"/>
              </a:xfrm>
              <a:prstGeom prst="diamond">
                <a:avLst/>
              </a:prstGeom>
              <a:solidFill>
                <a:srgbClr val="0000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lIns="86343" tIns="43172" rIns="86343" bIns="43172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7" name="AutoShape 102"/>
              <p:cNvSpPr>
                <a:spLocks noChangeAspect="1" noChangeArrowheads="1"/>
              </p:cNvSpPr>
              <p:nvPr/>
            </p:nvSpPr>
            <p:spPr bwMode="auto">
              <a:xfrm>
                <a:off x="6141710" y="6446259"/>
                <a:ext cx="90487" cy="90487"/>
              </a:xfrm>
              <a:prstGeom prst="triangle">
                <a:avLst>
                  <a:gd name="adj" fmla="val 50000"/>
                </a:avLst>
              </a:prstGeom>
              <a:solidFill>
                <a:srgbClr val="0000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lIns="86343" tIns="43172" rIns="86343" bIns="43172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8" name="Oval 297"/>
              <p:cNvSpPr>
                <a:spLocks noChangeAspect="1" noChangeArrowheads="1"/>
              </p:cNvSpPr>
              <p:nvPr/>
            </p:nvSpPr>
            <p:spPr bwMode="auto">
              <a:xfrm>
                <a:off x="6141710" y="6605004"/>
                <a:ext cx="90487" cy="90487"/>
              </a:xfrm>
              <a:prstGeom prst="ellipse">
                <a:avLst/>
              </a:prstGeom>
              <a:solidFill>
                <a:srgbClr val="000099"/>
              </a:solidFill>
              <a:ln w="9525">
                <a:noFill/>
                <a:round/>
                <a:headEnd/>
                <a:tailEnd/>
              </a:ln>
            </p:spPr>
            <p:txBody>
              <a:bodyPr wrap="none" lIns="86343" tIns="43172" rIns="86343" bIns="43172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9" name="AutoShape 104"/>
              <p:cNvSpPr>
                <a:spLocks noChangeAspect="1" noChangeArrowheads="1"/>
              </p:cNvSpPr>
              <p:nvPr/>
            </p:nvSpPr>
            <p:spPr bwMode="auto">
              <a:xfrm>
                <a:off x="6571755" y="6436734"/>
                <a:ext cx="90487" cy="90487"/>
              </a:xfrm>
              <a:prstGeom prst="triangle">
                <a:avLst>
                  <a:gd name="adj" fmla="val 50000"/>
                </a:avLst>
              </a:prstGeom>
              <a:solidFill>
                <a:schemeClr val="bg1"/>
              </a:solidFill>
              <a:ln w="3175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wrap="none" lIns="86343" tIns="43172" rIns="86343" bIns="43172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0" name="AutoShape 105"/>
              <p:cNvSpPr>
                <a:spLocks noChangeAspect="1" noChangeArrowheads="1"/>
              </p:cNvSpPr>
              <p:nvPr/>
            </p:nvSpPr>
            <p:spPr bwMode="auto">
              <a:xfrm>
                <a:off x="6571755" y="6284335"/>
                <a:ext cx="90487" cy="90487"/>
              </a:xfrm>
              <a:prstGeom prst="diamond">
                <a:avLst/>
              </a:prstGeom>
              <a:solidFill>
                <a:schemeClr val="bg1"/>
              </a:solidFill>
              <a:ln w="3175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wrap="none" lIns="86343" tIns="43172" rIns="86343" bIns="43172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1" name="Rechteck 281"/>
              <p:cNvSpPr/>
              <p:nvPr/>
            </p:nvSpPr>
            <p:spPr>
              <a:xfrm>
                <a:off x="4506200" y="5572129"/>
                <a:ext cx="174437" cy="27185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wrap="none" lIns="86343" tIns="43172" rIns="86343" bIns="43172">
                <a:sp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US" sz="1200" b="1" dirty="0">
                  <a:ln w="12700">
                    <a:solidFill>
                      <a:srgbClr val="000091">
                        <a:satMod val="155000"/>
                      </a:srgbClr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41275" dist="20320" dir="1800000" algn="tl" rotWithShape="0">
                      <a:srgbClr val="000000">
                        <a:alpha val="40000"/>
                      </a:srgbClr>
                    </a:outerShdw>
                  </a:effectLst>
                </a:endParaRPr>
              </a:p>
            </p:txBody>
          </p:sp>
          <p:cxnSp>
            <p:nvCxnSpPr>
              <p:cNvPr id="302" name="Gerade Verbindung 283"/>
              <p:cNvCxnSpPr/>
              <p:nvPr/>
            </p:nvCxnSpPr>
            <p:spPr bwMode="auto">
              <a:xfrm>
                <a:off x="5983780" y="6263613"/>
                <a:ext cx="2159000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6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03" name="Gerade Verbindung 284"/>
              <p:cNvCxnSpPr/>
              <p:nvPr/>
            </p:nvCxnSpPr>
            <p:spPr bwMode="auto">
              <a:xfrm>
                <a:off x="5983780" y="6416013"/>
                <a:ext cx="2159000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6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04" name="Gerade Verbindung 285"/>
              <p:cNvCxnSpPr/>
              <p:nvPr/>
            </p:nvCxnSpPr>
            <p:spPr bwMode="auto">
              <a:xfrm>
                <a:off x="5983780" y="6568413"/>
                <a:ext cx="2159000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6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05" name="Gerade Verbindung 286"/>
              <p:cNvCxnSpPr/>
              <p:nvPr/>
            </p:nvCxnSpPr>
            <p:spPr bwMode="auto">
              <a:xfrm>
                <a:off x="5983780" y="6720813"/>
                <a:ext cx="2159000" cy="0"/>
              </a:xfrm>
              <a:prstGeom prst="line">
                <a:avLst/>
              </a:prstGeom>
              <a:noFill/>
              <a:ln w="9525" cap="flat" cmpd="sng" algn="ctr">
                <a:solidFill>
                  <a:schemeClr val="bg1">
                    <a:lumMod val="6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grpSp>
            <p:nvGrpSpPr>
              <p:cNvPr id="306" name="Gruppieren 96"/>
              <p:cNvGrpSpPr/>
              <p:nvPr/>
            </p:nvGrpSpPr>
            <p:grpSpPr>
              <a:xfrm>
                <a:off x="1372596" y="2298815"/>
                <a:ext cx="6939026" cy="3568790"/>
                <a:chOff x="1297055" y="2172167"/>
                <a:chExt cx="6557139" cy="3372176"/>
              </a:xfrm>
            </p:grpSpPr>
            <p:pic>
              <p:nvPicPr>
                <p:cNvPr id="315" name="Picture 314"/>
                <p:cNvPicPr>
                  <a:picLocks noChangeAspect="1" noChangeArrowheads="1"/>
                </p:cNvPicPr>
                <p:nvPr/>
              </p:nvPicPr>
              <p:blipFill>
                <a:blip r:embed="rId11" cstate="print"/>
                <a:srcRect/>
                <a:stretch>
                  <a:fillRect/>
                </a:stretch>
              </p:blipFill>
              <p:spPr bwMode="auto">
                <a:xfrm>
                  <a:off x="1297055" y="2269342"/>
                  <a:ext cx="6461312" cy="327500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316" name="Rectangle 315"/>
                <p:cNvSpPr>
                  <a:spLocks noChangeArrowheads="1"/>
                </p:cNvSpPr>
                <p:nvPr/>
              </p:nvSpPr>
              <p:spPr bwMode="auto">
                <a:xfrm>
                  <a:off x="2967301" y="4617676"/>
                  <a:ext cx="287809" cy="17449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US" sz="1200" b="1" dirty="0">
                      <a:solidFill>
                        <a:srgbClr val="000099"/>
                      </a:solidFill>
                    </a:rPr>
                    <a:t>Lima</a:t>
                  </a:r>
                  <a:endParaRPr lang="en-US" sz="3600" dirty="0">
                    <a:solidFill>
                      <a:srgbClr val="000099"/>
                    </a:solidFill>
                  </a:endParaRPr>
                </a:p>
              </p:txBody>
            </p:sp>
            <p:sp>
              <p:nvSpPr>
                <p:cNvPr id="317" name="Rectangle 316"/>
                <p:cNvSpPr>
                  <a:spLocks noChangeArrowheads="1"/>
                </p:cNvSpPr>
                <p:nvPr/>
              </p:nvSpPr>
              <p:spPr bwMode="auto">
                <a:xfrm>
                  <a:off x="3993902" y="3511039"/>
                  <a:ext cx="727217" cy="17449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US" sz="1200" b="1" dirty="0">
                      <a:solidFill>
                        <a:srgbClr val="00009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</a:rPr>
                    <a:t>FRANKFURT</a:t>
                  </a:r>
                  <a:endParaRPr lang="en-US" sz="3600" dirty="0">
                    <a:solidFill>
                      <a:srgbClr val="0000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endParaRPr>
                </a:p>
              </p:txBody>
            </p:sp>
            <p:sp>
              <p:nvSpPr>
                <p:cNvPr id="318" name="Rectangle 317"/>
                <p:cNvSpPr>
                  <a:spLocks noChangeArrowheads="1"/>
                </p:cNvSpPr>
                <p:nvPr/>
              </p:nvSpPr>
              <p:spPr bwMode="auto">
                <a:xfrm>
                  <a:off x="6182604" y="3932771"/>
                  <a:ext cx="658082" cy="17449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US" sz="1200" b="1" dirty="0">
                      <a:solidFill>
                        <a:srgbClr val="000099"/>
                      </a:solidFill>
                    </a:rPr>
                    <a:t>Hong Kong</a:t>
                  </a:r>
                  <a:endParaRPr lang="en-US" sz="3600" dirty="0">
                    <a:solidFill>
                      <a:srgbClr val="000099"/>
                    </a:solidFill>
                  </a:endParaRPr>
                </a:p>
              </p:txBody>
            </p:sp>
            <p:sp>
              <p:nvSpPr>
                <p:cNvPr id="319" name="Rectangle 318"/>
                <p:cNvSpPr>
                  <a:spLocks noChangeArrowheads="1"/>
                </p:cNvSpPr>
                <p:nvPr/>
              </p:nvSpPr>
              <p:spPr bwMode="auto">
                <a:xfrm>
                  <a:off x="6288985" y="3724011"/>
                  <a:ext cx="552896" cy="17449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US" sz="1200" b="1" dirty="0">
                      <a:solidFill>
                        <a:srgbClr val="000099"/>
                      </a:solidFill>
                    </a:rPr>
                    <a:t>Shanghai</a:t>
                  </a:r>
                  <a:endParaRPr lang="en-US" sz="3600" dirty="0">
                    <a:solidFill>
                      <a:srgbClr val="000099"/>
                    </a:solidFill>
                  </a:endParaRPr>
                </a:p>
              </p:txBody>
            </p:sp>
            <p:pic>
              <p:nvPicPr>
                <p:cNvPr id="320" name="Picture 319"/>
                <p:cNvPicPr>
                  <a:picLocks noChangeAspect="1" noChangeArrowheads="1"/>
                </p:cNvPicPr>
                <p:nvPr/>
              </p:nvPicPr>
              <p:blipFill>
                <a:blip r:embed="rId12" cstate="print"/>
                <a:srcRect/>
                <a:stretch>
                  <a:fillRect/>
                </a:stretch>
              </p:blipFill>
              <p:spPr bwMode="auto">
                <a:xfrm>
                  <a:off x="5546714" y="2172167"/>
                  <a:ext cx="2295802" cy="1421467"/>
                </a:xfrm>
                <a:prstGeom prst="rect">
                  <a:avLst/>
                </a:prstGeom>
                <a:noFill/>
                <a:ln w="9525">
                  <a:solidFill>
                    <a:schemeClr val="tx2"/>
                  </a:solidFill>
                  <a:miter lim="800000"/>
                  <a:headEnd/>
                  <a:tailEnd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</p:pic>
            <p:sp>
              <p:nvSpPr>
                <p:cNvPr id="321" name="Rectangle 320"/>
                <p:cNvSpPr>
                  <a:spLocks noChangeArrowheads="1"/>
                </p:cNvSpPr>
                <p:nvPr/>
              </p:nvSpPr>
              <p:spPr bwMode="auto">
                <a:xfrm>
                  <a:off x="7267044" y="3400147"/>
                  <a:ext cx="458616" cy="17449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US" sz="1200" b="1" dirty="0">
                      <a:solidFill>
                        <a:srgbClr val="000099"/>
                      </a:solidFill>
                    </a:rPr>
                    <a:t>Antalya</a:t>
                  </a:r>
                  <a:endParaRPr lang="en-US" sz="3600" dirty="0">
                    <a:solidFill>
                      <a:srgbClr val="000099"/>
                    </a:solidFill>
                  </a:endParaRPr>
                </a:p>
              </p:txBody>
            </p:sp>
            <p:sp>
              <p:nvSpPr>
                <p:cNvPr id="322" name="Rectangle 321"/>
                <p:cNvSpPr>
                  <a:spLocks noChangeArrowheads="1"/>
                </p:cNvSpPr>
                <p:nvPr/>
              </p:nvSpPr>
              <p:spPr bwMode="auto">
                <a:xfrm>
                  <a:off x="5572239" y="3863629"/>
                  <a:ext cx="316590" cy="17449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US" sz="1200" b="1" dirty="0">
                      <a:solidFill>
                        <a:srgbClr val="000099"/>
                      </a:solidFill>
                    </a:rPr>
                    <a:t>Delhi</a:t>
                  </a:r>
                  <a:endParaRPr lang="en-US" sz="3600" dirty="0">
                    <a:solidFill>
                      <a:srgbClr val="000099"/>
                    </a:solidFill>
                  </a:endParaRPr>
                </a:p>
              </p:txBody>
            </p:sp>
            <p:sp>
              <p:nvSpPr>
                <p:cNvPr id="323" name="Rectangle 322"/>
                <p:cNvSpPr>
                  <a:spLocks noChangeArrowheads="1"/>
                </p:cNvSpPr>
                <p:nvPr/>
              </p:nvSpPr>
              <p:spPr bwMode="auto">
                <a:xfrm>
                  <a:off x="2813499" y="3874862"/>
                  <a:ext cx="493819" cy="17449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US" sz="1200" b="1" dirty="0">
                      <a:solidFill>
                        <a:srgbClr val="000099"/>
                      </a:solidFill>
                    </a:rPr>
                    <a:t>Orlando</a:t>
                  </a:r>
                  <a:endParaRPr lang="en-US" sz="3600" dirty="0">
                    <a:solidFill>
                      <a:srgbClr val="000099"/>
                    </a:solidFill>
                  </a:endParaRPr>
                </a:p>
              </p:txBody>
            </p:sp>
            <p:sp>
              <p:nvSpPr>
                <p:cNvPr id="324" name="Rectangle 323"/>
                <p:cNvSpPr>
                  <a:spLocks noChangeArrowheads="1"/>
                </p:cNvSpPr>
                <p:nvPr/>
              </p:nvSpPr>
              <p:spPr bwMode="auto">
                <a:xfrm>
                  <a:off x="3815185" y="4073712"/>
                  <a:ext cx="402689" cy="17449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US" sz="1200" b="1" baseline="30000" dirty="0" smtClean="0">
                      <a:solidFill>
                        <a:srgbClr val="000099"/>
                      </a:solidFill>
                    </a:rPr>
                    <a:t>1</a:t>
                  </a:r>
                  <a:r>
                    <a:rPr lang="en-US" sz="1200" b="1" dirty="0" smtClean="0">
                      <a:solidFill>
                        <a:srgbClr val="000099"/>
                      </a:solidFill>
                    </a:rPr>
                    <a:t>Dakar</a:t>
                  </a:r>
                  <a:endParaRPr lang="en-US" sz="3600" dirty="0">
                    <a:solidFill>
                      <a:srgbClr val="000099"/>
                    </a:solidFill>
                  </a:endParaRPr>
                </a:p>
              </p:txBody>
            </p:sp>
            <p:sp>
              <p:nvSpPr>
                <p:cNvPr id="325" name="Rectangle 324"/>
                <p:cNvSpPr>
                  <a:spLocks noChangeArrowheads="1"/>
                </p:cNvSpPr>
                <p:nvPr/>
              </p:nvSpPr>
              <p:spPr bwMode="auto">
                <a:xfrm>
                  <a:off x="5891382" y="3608329"/>
                  <a:ext cx="300352" cy="17449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US" sz="1200" b="1" dirty="0">
                      <a:solidFill>
                        <a:srgbClr val="000099"/>
                      </a:solidFill>
                    </a:rPr>
                    <a:t>Xi‘an</a:t>
                  </a:r>
                  <a:endParaRPr lang="en-US" sz="3600" dirty="0">
                    <a:solidFill>
                      <a:srgbClr val="000099"/>
                    </a:solidFill>
                  </a:endParaRPr>
                </a:p>
              </p:txBody>
            </p:sp>
            <p:sp>
              <p:nvSpPr>
                <p:cNvPr id="326" name="Rectangle 325"/>
                <p:cNvSpPr>
                  <a:spLocks noChangeArrowheads="1"/>
                </p:cNvSpPr>
                <p:nvPr/>
              </p:nvSpPr>
              <p:spPr bwMode="auto">
                <a:xfrm>
                  <a:off x="6590191" y="2462723"/>
                  <a:ext cx="511754" cy="17449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US" sz="1200" b="1" dirty="0">
                      <a:solidFill>
                        <a:srgbClr val="000099"/>
                      </a:solidFill>
                    </a:rPr>
                    <a:t>Hanover</a:t>
                  </a:r>
                  <a:endParaRPr lang="en-US" sz="3600" dirty="0">
                    <a:solidFill>
                      <a:srgbClr val="000099"/>
                    </a:solidFill>
                  </a:endParaRPr>
                </a:p>
              </p:txBody>
            </p:sp>
            <p:sp>
              <p:nvSpPr>
                <p:cNvPr id="327" name="Rectangle 326"/>
                <p:cNvSpPr>
                  <a:spLocks noChangeArrowheads="1"/>
                </p:cNvSpPr>
                <p:nvPr/>
              </p:nvSpPr>
              <p:spPr bwMode="auto">
                <a:xfrm>
                  <a:off x="7333532" y="2929440"/>
                  <a:ext cx="520662" cy="17449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US" sz="1200" b="1" dirty="0">
                      <a:solidFill>
                        <a:srgbClr val="000099"/>
                      </a:solidFill>
                    </a:rPr>
                    <a:t>Varna &amp; </a:t>
                  </a:r>
                  <a:endParaRPr lang="en-US" sz="3600" dirty="0">
                    <a:solidFill>
                      <a:srgbClr val="000099"/>
                    </a:solidFill>
                  </a:endParaRPr>
                </a:p>
              </p:txBody>
            </p:sp>
            <p:sp>
              <p:nvSpPr>
                <p:cNvPr id="328" name="Rectangle 327"/>
                <p:cNvSpPr>
                  <a:spLocks noChangeArrowheads="1"/>
                </p:cNvSpPr>
                <p:nvPr/>
              </p:nvSpPr>
              <p:spPr bwMode="auto">
                <a:xfrm>
                  <a:off x="7345796" y="3057089"/>
                  <a:ext cx="406326" cy="17449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US" sz="1200" b="1" dirty="0">
                      <a:solidFill>
                        <a:srgbClr val="000099"/>
                      </a:solidFill>
                    </a:rPr>
                    <a:t>Burgas</a:t>
                  </a:r>
                  <a:endParaRPr lang="en-US" sz="3600" dirty="0">
                    <a:solidFill>
                      <a:srgbClr val="000099"/>
                    </a:solidFill>
                  </a:endParaRPr>
                </a:p>
              </p:txBody>
            </p:sp>
            <p:sp>
              <p:nvSpPr>
                <p:cNvPr id="329" name="Text Box 95"/>
                <p:cNvSpPr txBox="1">
                  <a:spLocks noChangeArrowheads="1"/>
                </p:cNvSpPr>
                <p:nvPr/>
              </p:nvSpPr>
              <p:spPr bwMode="auto">
                <a:xfrm>
                  <a:off x="4329804" y="3846932"/>
                  <a:ext cx="313318" cy="17449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US" sz="1200" b="1" dirty="0">
                      <a:solidFill>
                        <a:srgbClr val="000099"/>
                      </a:solidFill>
                    </a:rPr>
                    <a:t>Cairo</a:t>
                  </a:r>
                </a:p>
              </p:txBody>
            </p:sp>
            <p:sp>
              <p:nvSpPr>
                <p:cNvPr id="330" name="Text Box 96"/>
                <p:cNvSpPr txBox="1">
                  <a:spLocks noChangeArrowheads="1"/>
                </p:cNvSpPr>
                <p:nvPr/>
              </p:nvSpPr>
              <p:spPr bwMode="auto">
                <a:xfrm>
                  <a:off x="5000004" y="3998810"/>
                  <a:ext cx="412869" cy="17449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US" sz="1200" b="1" dirty="0">
                      <a:solidFill>
                        <a:srgbClr val="000099"/>
                      </a:solidFill>
                    </a:rPr>
                    <a:t>Riyadh</a:t>
                  </a:r>
                </a:p>
              </p:txBody>
            </p:sp>
            <p:sp>
              <p:nvSpPr>
                <p:cNvPr id="331" name="Text Box 97"/>
                <p:cNvSpPr txBox="1">
                  <a:spLocks noChangeArrowheads="1"/>
                </p:cNvSpPr>
                <p:nvPr/>
              </p:nvSpPr>
              <p:spPr bwMode="auto">
                <a:xfrm>
                  <a:off x="4455685" y="4040031"/>
                  <a:ext cx="428684" cy="17449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US" sz="1200" b="1" dirty="0">
                      <a:solidFill>
                        <a:srgbClr val="000099"/>
                      </a:solidFill>
                    </a:rPr>
                    <a:t>Jeddah</a:t>
                  </a:r>
                </a:p>
              </p:txBody>
            </p:sp>
            <p:sp>
              <p:nvSpPr>
                <p:cNvPr id="332" name="AutoShape 107"/>
                <p:cNvSpPr>
                  <a:spLocks noChangeAspect="1" noChangeArrowheads="1"/>
                </p:cNvSpPr>
                <p:nvPr/>
              </p:nvSpPr>
              <p:spPr bwMode="auto">
                <a:xfrm>
                  <a:off x="4296996" y="3416855"/>
                  <a:ext cx="95402" cy="95396"/>
                </a:xfrm>
                <a:prstGeom prst="diamond">
                  <a:avLst/>
                </a:prstGeom>
                <a:solidFill>
                  <a:srgbClr val="00009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86343" tIns="43172" rIns="86343" bIns="43172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33" name="AutoShape 108"/>
                <p:cNvSpPr>
                  <a:spLocks noChangeAspect="1" noChangeArrowheads="1"/>
                </p:cNvSpPr>
                <p:nvPr/>
              </p:nvSpPr>
              <p:spPr bwMode="auto">
                <a:xfrm>
                  <a:off x="6502425" y="2546495"/>
                  <a:ext cx="75797" cy="75792"/>
                </a:xfrm>
                <a:prstGeom prst="triangle">
                  <a:avLst>
                    <a:gd name="adj" fmla="val 50000"/>
                  </a:avLst>
                </a:prstGeom>
                <a:solidFill>
                  <a:srgbClr val="00009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86343" tIns="43172" rIns="86343" bIns="43172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34" name="Oval 333"/>
                <p:cNvSpPr>
                  <a:spLocks noChangeAspect="1" noChangeArrowheads="1"/>
                </p:cNvSpPr>
                <p:nvPr/>
              </p:nvSpPr>
              <p:spPr bwMode="auto">
                <a:xfrm>
                  <a:off x="4961878" y="3948729"/>
                  <a:ext cx="75797" cy="75792"/>
                </a:xfrm>
                <a:prstGeom prst="ellipse">
                  <a:avLst/>
                </a:prstGeom>
                <a:solidFill>
                  <a:srgbClr val="00009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none" lIns="86343" tIns="43172" rIns="86343" bIns="43172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35" name="AutoShape 110"/>
                <p:cNvSpPr>
                  <a:spLocks noChangeAspect="1" noChangeArrowheads="1"/>
                </p:cNvSpPr>
                <p:nvPr/>
              </p:nvSpPr>
              <p:spPr bwMode="auto">
                <a:xfrm>
                  <a:off x="6185258" y="3789169"/>
                  <a:ext cx="75797" cy="75792"/>
                </a:xfrm>
                <a:prstGeom prst="diamond">
                  <a:avLst/>
                </a:prstGeom>
                <a:solidFill>
                  <a:schemeClr val="bg1"/>
                </a:solidFill>
                <a:ln w="3175">
                  <a:solidFill>
                    <a:schemeClr val="tx2"/>
                  </a:solidFill>
                  <a:miter lim="800000"/>
                  <a:headEnd/>
                  <a:tailEnd/>
                </a:ln>
              </p:spPr>
              <p:txBody>
                <a:bodyPr wrap="none" lIns="86343" tIns="43172" rIns="86343" bIns="43172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36" name="AutoShape 111"/>
                <p:cNvSpPr>
                  <a:spLocks noChangeAspect="1" noChangeArrowheads="1"/>
                </p:cNvSpPr>
                <p:nvPr/>
              </p:nvSpPr>
              <p:spPr bwMode="auto">
                <a:xfrm>
                  <a:off x="7220497" y="3019857"/>
                  <a:ext cx="75797" cy="75792"/>
                </a:xfrm>
                <a:prstGeom prst="diamond">
                  <a:avLst/>
                </a:prstGeom>
                <a:solidFill>
                  <a:srgbClr val="00009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86343" tIns="43172" rIns="86343" bIns="43172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37" name="AutoShape 112"/>
                <p:cNvSpPr>
                  <a:spLocks noChangeAspect="1" noChangeArrowheads="1"/>
                </p:cNvSpPr>
                <p:nvPr/>
              </p:nvSpPr>
              <p:spPr bwMode="auto">
                <a:xfrm>
                  <a:off x="5440888" y="3892290"/>
                  <a:ext cx="75797" cy="75792"/>
                </a:xfrm>
                <a:prstGeom prst="triangle">
                  <a:avLst>
                    <a:gd name="adj" fmla="val 50000"/>
                  </a:avLst>
                </a:prstGeom>
                <a:solidFill>
                  <a:srgbClr val="00009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86343" tIns="43172" rIns="86343" bIns="43172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38" name="Oval 337"/>
                <p:cNvSpPr>
                  <a:spLocks noChangeAspect="1" noChangeArrowheads="1"/>
                </p:cNvSpPr>
                <p:nvPr/>
              </p:nvSpPr>
              <p:spPr bwMode="auto">
                <a:xfrm>
                  <a:off x="4679968" y="3852993"/>
                  <a:ext cx="75797" cy="75792"/>
                </a:xfrm>
                <a:prstGeom prst="ellipse">
                  <a:avLst/>
                </a:prstGeom>
                <a:solidFill>
                  <a:srgbClr val="00009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none" lIns="86343" tIns="43172" rIns="86343" bIns="43172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39" name="AutoShape 114"/>
                <p:cNvSpPr>
                  <a:spLocks noChangeAspect="1" noChangeArrowheads="1"/>
                </p:cNvSpPr>
                <p:nvPr/>
              </p:nvSpPr>
              <p:spPr bwMode="auto">
                <a:xfrm>
                  <a:off x="6020368" y="3927458"/>
                  <a:ext cx="75797" cy="75792"/>
                </a:xfrm>
                <a:prstGeom prst="triangle">
                  <a:avLst>
                    <a:gd name="adj" fmla="val 50000"/>
                  </a:avLst>
                </a:prstGeom>
                <a:solidFill>
                  <a:schemeClr val="bg1"/>
                </a:solidFill>
                <a:ln w="3175">
                  <a:solidFill>
                    <a:schemeClr val="tx2"/>
                  </a:solidFill>
                  <a:miter lim="800000"/>
                  <a:headEnd/>
                  <a:tailEnd/>
                </a:ln>
              </p:spPr>
              <p:txBody>
                <a:bodyPr wrap="none" lIns="86343" tIns="43172" rIns="86343" bIns="43172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40" name="AutoShape 115"/>
                <p:cNvSpPr>
                  <a:spLocks noChangeAspect="1" noChangeArrowheads="1"/>
                </p:cNvSpPr>
                <p:nvPr/>
              </p:nvSpPr>
              <p:spPr bwMode="auto">
                <a:xfrm>
                  <a:off x="6079172" y="3927458"/>
                  <a:ext cx="75797" cy="75792"/>
                </a:xfrm>
                <a:prstGeom prst="diamond">
                  <a:avLst/>
                </a:prstGeom>
                <a:solidFill>
                  <a:schemeClr val="bg1"/>
                </a:solidFill>
                <a:ln w="3175">
                  <a:solidFill>
                    <a:schemeClr val="tx2"/>
                  </a:solidFill>
                  <a:miter lim="800000"/>
                  <a:headEnd/>
                  <a:tailEnd/>
                </a:ln>
              </p:spPr>
              <p:txBody>
                <a:bodyPr wrap="none" lIns="86343" tIns="43172" rIns="86343" bIns="43172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41" name="AutoShape 117"/>
                <p:cNvSpPr>
                  <a:spLocks noChangeAspect="1" noChangeArrowheads="1"/>
                </p:cNvSpPr>
                <p:nvPr/>
              </p:nvSpPr>
              <p:spPr bwMode="auto">
                <a:xfrm>
                  <a:off x="2884204" y="4625986"/>
                  <a:ext cx="75797" cy="75792"/>
                </a:xfrm>
                <a:prstGeom prst="diamond">
                  <a:avLst/>
                </a:prstGeom>
                <a:solidFill>
                  <a:srgbClr val="00009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86343" tIns="43172" rIns="86343" bIns="43172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42" name="Oval 341"/>
                <p:cNvSpPr>
                  <a:spLocks noChangeAspect="1" noChangeArrowheads="1"/>
                </p:cNvSpPr>
                <p:nvPr/>
              </p:nvSpPr>
              <p:spPr bwMode="auto">
                <a:xfrm>
                  <a:off x="4871453" y="3991282"/>
                  <a:ext cx="75797" cy="75792"/>
                </a:xfrm>
                <a:prstGeom prst="ellipse">
                  <a:avLst/>
                </a:prstGeom>
                <a:solidFill>
                  <a:srgbClr val="000099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none" lIns="86343" tIns="43172" rIns="86343" bIns="43172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43" name="AutoShape 121"/>
                <p:cNvSpPr>
                  <a:spLocks noChangeAspect="1" noChangeArrowheads="1"/>
                </p:cNvSpPr>
                <p:nvPr/>
              </p:nvSpPr>
              <p:spPr bwMode="auto">
                <a:xfrm>
                  <a:off x="6012692" y="3767891"/>
                  <a:ext cx="75797" cy="75792"/>
                </a:xfrm>
                <a:prstGeom prst="triangle">
                  <a:avLst>
                    <a:gd name="adj" fmla="val 50000"/>
                  </a:avLst>
                </a:prstGeom>
                <a:solidFill>
                  <a:srgbClr val="00009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86343" tIns="43172" rIns="86343" bIns="43172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44" name="AutoShape 123"/>
                <p:cNvSpPr>
                  <a:spLocks noChangeAspect="1" noChangeArrowheads="1"/>
                </p:cNvSpPr>
                <p:nvPr/>
              </p:nvSpPr>
              <p:spPr bwMode="auto">
                <a:xfrm>
                  <a:off x="7332195" y="3349617"/>
                  <a:ext cx="75797" cy="75792"/>
                </a:xfrm>
                <a:prstGeom prst="diamond">
                  <a:avLst/>
                </a:prstGeom>
                <a:solidFill>
                  <a:srgbClr val="00009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86343" tIns="43172" rIns="86343" bIns="43172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45" name="AutoShape 125"/>
                <p:cNvSpPr>
                  <a:spLocks noChangeAspect="1" noChangeArrowheads="1"/>
                </p:cNvSpPr>
                <p:nvPr/>
              </p:nvSpPr>
              <p:spPr bwMode="auto">
                <a:xfrm>
                  <a:off x="2919072" y="4583148"/>
                  <a:ext cx="75797" cy="75792"/>
                </a:xfrm>
                <a:prstGeom prst="diamond">
                  <a:avLst/>
                </a:prstGeom>
                <a:solidFill>
                  <a:schemeClr val="bg1"/>
                </a:solidFill>
                <a:ln w="3175">
                  <a:solidFill>
                    <a:schemeClr val="tx2"/>
                  </a:solidFill>
                  <a:miter lim="800000"/>
                  <a:headEnd/>
                  <a:tailEnd/>
                </a:ln>
              </p:spPr>
              <p:txBody>
                <a:bodyPr wrap="none" lIns="86343" tIns="43172" rIns="86343" bIns="43172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46" name="AutoShape 126"/>
                <p:cNvSpPr>
                  <a:spLocks noChangeAspect="1" noChangeArrowheads="1"/>
                </p:cNvSpPr>
                <p:nvPr/>
              </p:nvSpPr>
              <p:spPr bwMode="auto">
                <a:xfrm>
                  <a:off x="5006790" y="3920358"/>
                  <a:ext cx="75797" cy="75792"/>
                </a:xfrm>
                <a:prstGeom prst="diamond">
                  <a:avLst/>
                </a:prstGeom>
                <a:solidFill>
                  <a:schemeClr val="bg1"/>
                </a:solidFill>
                <a:ln w="3175">
                  <a:solidFill>
                    <a:schemeClr val="tx2"/>
                  </a:solidFill>
                  <a:miter lim="800000"/>
                  <a:headEnd/>
                  <a:tailEnd/>
                </a:ln>
              </p:spPr>
              <p:txBody>
                <a:bodyPr wrap="none" lIns="86343" tIns="43172" rIns="86343" bIns="43172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47" name="AutoShape 127"/>
                <p:cNvSpPr>
                  <a:spLocks noChangeAspect="1" noChangeArrowheads="1"/>
                </p:cNvSpPr>
                <p:nvPr/>
              </p:nvSpPr>
              <p:spPr bwMode="auto">
                <a:xfrm>
                  <a:off x="5492597" y="3888144"/>
                  <a:ext cx="75797" cy="75792"/>
                </a:xfrm>
                <a:prstGeom prst="diamond">
                  <a:avLst/>
                </a:prstGeom>
                <a:solidFill>
                  <a:schemeClr val="bg1"/>
                </a:solidFill>
                <a:ln w="3175">
                  <a:solidFill>
                    <a:schemeClr val="tx2"/>
                  </a:solidFill>
                  <a:miter lim="800000"/>
                  <a:headEnd/>
                  <a:tailEnd/>
                </a:ln>
              </p:spPr>
              <p:txBody>
                <a:bodyPr wrap="none" lIns="86343" tIns="43172" rIns="86343" bIns="43172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48" name="AutoShape 128"/>
                <p:cNvSpPr>
                  <a:spLocks noChangeAspect="1" noChangeArrowheads="1"/>
                </p:cNvSpPr>
                <p:nvPr/>
              </p:nvSpPr>
              <p:spPr bwMode="auto">
                <a:xfrm>
                  <a:off x="6665672" y="3307850"/>
                  <a:ext cx="75797" cy="75792"/>
                </a:xfrm>
                <a:prstGeom prst="diamond">
                  <a:avLst/>
                </a:prstGeom>
                <a:solidFill>
                  <a:schemeClr val="bg1"/>
                </a:solidFill>
                <a:ln w="3175">
                  <a:solidFill>
                    <a:schemeClr val="tx2"/>
                  </a:solidFill>
                  <a:miter lim="800000"/>
                  <a:headEnd/>
                  <a:tailEnd/>
                </a:ln>
              </p:spPr>
              <p:txBody>
                <a:bodyPr wrap="none" lIns="86343" tIns="43172" rIns="86343" bIns="43172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49" name="Rectangle 348"/>
                <p:cNvSpPr>
                  <a:spLocks noChangeArrowheads="1"/>
                </p:cNvSpPr>
                <p:nvPr/>
              </p:nvSpPr>
              <p:spPr bwMode="auto">
                <a:xfrm>
                  <a:off x="6445681" y="3368138"/>
                  <a:ext cx="354580" cy="17449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US" sz="1200" b="1" dirty="0">
                      <a:solidFill>
                        <a:srgbClr val="000099"/>
                      </a:solidFill>
                    </a:rPr>
                    <a:t>Malta</a:t>
                  </a:r>
                  <a:endParaRPr lang="en-US" sz="3600" dirty="0">
                    <a:solidFill>
                      <a:srgbClr val="000099"/>
                    </a:solidFill>
                  </a:endParaRPr>
                </a:p>
              </p:txBody>
            </p:sp>
            <p:sp>
              <p:nvSpPr>
                <p:cNvPr id="350" name="AutoShape 130"/>
                <p:cNvSpPr>
                  <a:spLocks noChangeAspect="1" noChangeArrowheads="1"/>
                </p:cNvSpPr>
                <p:nvPr/>
              </p:nvSpPr>
              <p:spPr bwMode="auto">
                <a:xfrm>
                  <a:off x="2741175" y="3863628"/>
                  <a:ext cx="75797" cy="75792"/>
                </a:xfrm>
                <a:prstGeom prst="diamond">
                  <a:avLst/>
                </a:prstGeom>
                <a:solidFill>
                  <a:schemeClr val="bg1"/>
                </a:solidFill>
                <a:ln w="3175">
                  <a:solidFill>
                    <a:schemeClr val="tx2"/>
                  </a:solidFill>
                  <a:miter lim="800000"/>
                  <a:headEnd/>
                  <a:tailEnd/>
                </a:ln>
              </p:spPr>
              <p:txBody>
                <a:bodyPr wrap="none" lIns="86343" tIns="43172" rIns="86343" bIns="43172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cxnSp>
              <p:nvCxnSpPr>
                <p:cNvPr id="351" name="Gerade Verbindung 288"/>
                <p:cNvCxnSpPr>
                  <a:stCxn id="320" idx="1"/>
                </p:cNvCxnSpPr>
                <p:nvPr/>
              </p:nvCxnSpPr>
              <p:spPr>
                <a:xfrm flipH="1">
                  <a:off x="4888746" y="2882901"/>
                  <a:ext cx="657968" cy="606392"/>
                </a:xfrm>
                <a:prstGeom prst="line">
                  <a:avLst/>
                </a:prstGeom>
                <a:ln>
                  <a:solidFill>
                    <a:schemeClr val="tx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52" name="AutoShape 108"/>
                <p:cNvSpPr>
                  <a:spLocks noChangeAspect="1" noChangeArrowheads="1"/>
                </p:cNvSpPr>
                <p:nvPr/>
              </p:nvSpPr>
              <p:spPr bwMode="auto">
                <a:xfrm>
                  <a:off x="4702399" y="3125105"/>
                  <a:ext cx="75797" cy="75792"/>
                </a:xfrm>
                <a:prstGeom prst="triangle">
                  <a:avLst>
                    <a:gd name="adj" fmla="val 50000"/>
                  </a:avLst>
                </a:prstGeom>
                <a:solidFill>
                  <a:srgbClr val="000099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86343" tIns="43172" rIns="86343" bIns="43172" anchor="ctr"/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53" name="Rectangle 352"/>
                <p:cNvSpPr>
                  <a:spLocks noChangeArrowheads="1"/>
                </p:cNvSpPr>
                <p:nvPr/>
              </p:nvSpPr>
              <p:spPr bwMode="auto">
                <a:xfrm>
                  <a:off x="4443469" y="2963276"/>
                  <a:ext cx="842764" cy="17449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>
                  <a:defPPr>
                    <a:defRPr lang="de-DE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US" sz="1200" b="1" dirty="0">
                      <a:solidFill>
                        <a:srgbClr val="000099"/>
                      </a:solidFill>
                    </a:rPr>
                    <a:t>St. Petersburg</a:t>
                  </a:r>
                  <a:endParaRPr lang="en-US" sz="3600" dirty="0">
                    <a:solidFill>
                      <a:srgbClr val="000099"/>
                    </a:solidFill>
                  </a:endParaRPr>
                </a:p>
              </p:txBody>
            </p:sp>
          </p:grpSp>
          <p:sp>
            <p:nvSpPr>
              <p:cNvPr id="307" name="Textfeld 139"/>
              <p:cNvSpPr txBox="1">
                <a:spLocks noChangeArrowheads="1"/>
              </p:cNvSpPr>
              <p:nvPr/>
            </p:nvSpPr>
            <p:spPr bwMode="auto">
              <a:xfrm>
                <a:off x="5989306" y="6085917"/>
                <a:ext cx="2242562" cy="12311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lIns="0" tIns="0" rIns="0" bIns="0">
                <a:sp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800" dirty="0" smtClean="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rPr>
                  <a:t>Airports     Other Operations</a:t>
                </a:r>
                <a:endParaRPr lang="en-US" sz="800" dirty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08" name="AutoShape 117"/>
              <p:cNvSpPr>
                <a:spLocks noChangeAspect="1" noChangeArrowheads="1"/>
              </p:cNvSpPr>
              <p:nvPr/>
            </p:nvSpPr>
            <p:spPr bwMode="auto">
              <a:xfrm>
                <a:off x="4110780" y="4267271"/>
                <a:ext cx="80211" cy="80211"/>
              </a:xfrm>
              <a:prstGeom prst="diamond">
                <a:avLst/>
              </a:prstGeom>
              <a:solidFill>
                <a:srgbClr val="0000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lIns="86343" tIns="43172" rIns="86343" bIns="43172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9" name="AutoShape 123"/>
              <p:cNvSpPr>
                <a:spLocks noChangeAspect="1" noChangeArrowheads="1"/>
              </p:cNvSpPr>
              <p:nvPr/>
            </p:nvSpPr>
            <p:spPr bwMode="auto">
              <a:xfrm>
                <a:off x="7042355" y="3037334"/>
                <a:ext cx="80211" cy="80211"/>
              </a:xfrm>
              <a:prstGeom prst="diamond">
                <a:avLst/>
              </a:prstGeom>
              <a:solidFill>
                <a:srgbClr val="0000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lIns="86343" tIns="43172" rIns="86343" bIns="43172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0" name="AutoShape 123"/>
              <p:cNvSpPr>
                <a:spLocks noChangeAspect="1" noChangeArrowheads="1"/>
              </p:cNvSpPr>
              <p:nvPr/>
            </p:nvSpPr>
            <p:spPr bwMode="auto">
              <a:xfrm>
                <a:off x="7455264" y="3418366"/>
                <a:ext cx="80211" cy="80211"/>
              </a:xfrm>
              <a:prstGeom prst="diamond">
                <a:avLst/>
              </a:prstGeom>
              <a:solidFill>
                <a:srgbClr val="0000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lIns="86343" tIns="43172" rIns="86343" bIns="43172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1" name="Rectangle 310"/>
              <p:cNvSpPr>
                <a:spLocks noChangeArrowheads="1"/>
              </p:cNvSpPr>
              <p:nvPr/>
            </p:nvSpPr>
            <p:spPr bwMode="auto">
              <a:xfrm>
                <a:off x="6368942" y="2929226"/>
                <a:ext cx="585097" cy="18466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1200" b="1" dirty="0">
                    <a:solidFill>
                      <a:srgbClr val="000099"/>
                    </a:solidFill>
                  </a:rPr>
                  <a:t>Ljubljana</a:t>
                </a:r>
                <a:endParaRPr lang="en-US" sz="3600" dirty="0">
                  <a:solidFill>
                    <a:srgbClr val="000099"/>
                  </a:solidFill>
                </a:endParaRPr>
              </a:p>
            </p:txBody>
          </p:sp>
          <p:sp>
            <p:nvSpPr>
              <p:cNvPr id="312" name="Rectangle 311"/>
              <p:cNvSpPr>
                <a:spLocks noChangeArrowheads="1"/>
              </p:cNvSpPr>
              <p:nvPr/>
            </p:nvSpPr>
            <p:spPr bwMode="auto">
              <a:xfrm>
                <a:off x="6547929" y="3263850"/>
                <a:ext cx="1045992" cy="18466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1200" b="1" baseline="30000" dirty="0" smtClean="0">
                    <a:solidFill>
                      <a:srgbClr val="000099"/>
                    </a:solidFill>
                  </a:rPr>
                  <a:t>1</a:t>
                </a:r>
                <a:r>
                  <a:rPr lang="en-US" sz="1200" b="1" dirty="0" smtClean="0">
                    <a:solidFill>
                      <a:srgbClr val="000099"/>
                    </a:solidFill>
                  </a:rPr>
                  <a:t>Greek </a:t>
                </a:r>
                <a:r>
                  <a:rPr lang="en-US" sz="1200" b="1" dirty="0">
                    <a:solidFill>
                      <a:srgbClr val="000099"/>
                    </a:solidFill>
                  </a:rPr>
                  <a:t>Regional</a:t>
                </a:r>
                <a:endParaRPr lang="en-US" sz="3600" dirty="0">
                  <a:solidFill>
                    <a:srgbClr val="000099"/>
                  </a:solidFill>
                </a:endParaRPr>
              </a:p>
            </p:txBody>
          </p:sp>
          <p:sp>
            <p:nvSpPr>
              <p:cNvPr id="313" name="AutoShape 130"/>
              <p:cNvSpPr>
                <a:spLocks noChangeAspect="1" noChangeArrowheads="1"/>
              </p:cNvSpPr>
              <p:nvPr/>
            </p:nvSpPr>
            <p:spPr bwMode="auto">
              <a:xfrm>
                <a:off x="2932778" y="3876626"/>
                <a:ext cx="80211" cy="80211"/>
              </a:xfrm>
              <a:prstGeom prst="diamond">
                <a:avLst/>
              </a:prstGeom>
              <a:solidFill>
                <a:schemeClr val="bg1"/>
              </a:solidFill>
              <a:ln w="3175">
                <a:solidFill>
                  <a:schemeClr val="tx2"/>
                </a:solidFill>
                <a:miter lim="800000"/>
                <a:headEnd/>
                <a:tailEnd/>
              </a:ln>
            </p:spPr>
            <p:txBody>
              <a:bodyPr wrap="none" lIns="86343" tIns="43172" rIns="86343" bIns="43172" anchor="ctr"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4" name="Rectangle 313"/>
              <p:cNvSpPr>
                <a:spLocks noChangeArrowheads="1"/>
              </p:cNvSpPr>
              <p:nvPr/>
            </p:nvSpPr>
            <p:spPr bwMode="auto">
              <a:xfrm>
                <a:off x="3019613" y="3880914"/>
                <a:ext cx="661656" cy="18466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1200" b="1" dirty="0">
                    <a:solidFill>
                      <a:srgbClr val="000099"/>
                    </a:solidFill>
                  </a:rPr>
                  <a:t>Pittsburgh</a:t>
                </a:r>
                <a:endParaRPr lang="en-US" sz="3600" dirty="0">
                  <a:solidFill>
                    <a:srgbClr val="000099"/>
                  </a:solidFill>
                </a:endParaRPr>
              </a:p>
            </p:txBody>
          </p:sp>
        </p:grpSp>
      </p:grpSp>
      <p:pic>
        <p:nvPicPr>
          <p:cNvPr id="355" name="Picture 354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334" r="3605" b="7230"/>
          <a:stretch/>
        </p:blipFill>
        <p:spPr>
          <a:xfrm>
            <a:off x="5004048" y="5199087"/>
            <a:ext cx="1296144" cy="91249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graphicFrame>
        <p:nvGraphicFramePr>
          <p:cNvPr id="356" name="Tabelle 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0954593"/>
              </p:ext>
            </p:extLst>
          </p:nvPr>
        </p:nvGraphicFramePr>
        <p:xfrm>
          <a:off x="395536" y="1850692"/>
          <a:ext cx="1490307" cy="3186370"/>
        </p:xfrm>
        <a:graphic>
          <a:graphicData uri="http://schemas.openxmlformats.org/drawingml/2006/table">
            <a:tbl>
              <a:tblPr firstRow="1" lastCol="1" bandRow="1">
                <a:tableStyleId>{5C22544A-7EE6-4342-B048-85BDC9FD1C3A}</a:tableStyleId>
              </a:tblPr>
              <a:tblGrid>
                <a:gridCol w="1130267"/>
                <a:gridCol w="360040"/>
              </a:tblGrid>
              <a:tr h="195482">
                <a:tc gridSpan="2">
                  <a:txBody>
                    <a:bodyPr/>
                    <a:lstStyle/>
                    <a:p>
                      <a:r>
                        <a:rPr lang="en-US" sz="1400" b="1" kern="1200" dirty="0" smtClean="0">
                          <a:solidFill>
                            <a:srgbClr val="152A45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PAX 2014 (</a:t>
                      </a:r>
                      <a:r>
                        <a:rPr lang="tr-TR" sz="1400" b="1" kern="1200" dirty="0" smtClean="0">
                          <a:solidFill>
                            <a:srgbClr val="152A45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in mn.</a:t>
                      </a:r>
                      <a:r>
                        <a:rPr lang="en-US" sz="1400" b="1" kern="1200" dirty="0" smtClean="0">
                          <a:solidFill>
                            <a:srgbClr val="152A45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)</a:t>
                      </a:r>
                      <a:endParaRPr lang="en-US" sz="1400" b="1" kern="1200" dirty="0">
                        <a:solidFill>
                          <a:srgbClr val="152A45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de-DE" sz="8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0841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kern="1200" dirty="0" smtClean="0">
                          <a:solidFill>
                            <a:srgbClr val="152A45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Frankfurt</a:t>
                      </a:r>
                    </a:p>
                  </a:txBody>
                  <a:tcPr marL="0" marR="10080" marT="100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kern="1200" dirty="0" smtClean="0">
                          <a:solidFill>
                            <a:srgbClr val="152A45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59</a:t>
                      </a:r>
                      <a:r>
                        <a:rPr lang="tr-TR" sz="1200" b="0" kern="1200" dirty="0" smtClean="0">
                          <a:solidFill>
                            <a:srgbClr val="152A45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,</a:t>
                      </a:r>
                      <a:r>
                        <a:rPr lang="en-US" sz="1200" b="0" kern="1200" dirty="0" smtClean="0">
                          <a:solidFill>
                            <a:srgbClr val="152A45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6</a:t>
                      </a:r>
                      <a:endParaRPr lang="en-US" sz="1200" b="0" kern="1200" dirty="0">
                        <a:solidFill>
                          <a:srgbClr val="152A45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 marL="10080" marR="10080" marT="100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0841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kern="1200" dirty="0" smtClean="0">
                          <a:solidFill>
                            <a:srgbClr val="152A45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Delhi</a:t>
                      </a:r>
                    </a:p>
                  </a:txBody>
                  <a:tcPr marL="0" marR="10080" marT="100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kern="1200" dirty="0" smtClean="0">
                          <a:solidFill>
                            <a:srgbClr val="152A45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39</a:t>
                      </a:r>
                      <a:r>
                        <a:rPr lang="tr-TR" sz="1200" b="0" kern="1200" dirty="0" smtClean="0">
                          <a:solidFill>
                            <a:srgbClr val="152A45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,</a:t>
                      </a:r>
                      <a:r>
                        <a:rPr lang="en-US" sz="1200" b="0" kern="1200" dirty="0" smtClean="0">
                          <a:solidFill>
                            <a:srgbClr val="152A45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8</a:t>
                      </a:r>
                      <a:endParaRPr lang="en-US" sz="1200" b="0" kern="1200" dirty="0">
                        <a:solidFill>
                          <a:srgbClr val="152A45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 marL="10080" marR="10080" marT="100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0841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kern="1200" dirty="0" smtClean="0">
                          <a:solidFill>
                            <a:srgbClr val="152A45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Xi'an</a:t>
                      </a:r>
                    </a:p>
                  </a:txBody>
                  <a:tcPr marL="0" marR="10080" marT="100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kern="1200" dirty="0" smtClean="0">
                          <a:solidFill>
                            <a:srgbClr val="152A45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29</a:t>
                      </a:r>
                      <a:r>
                        <a:rPr lang="tr-TR" sz="1200" b="0" kern="1200" dirty="0" smtClean="0">
                          <a:solidFill>
                            <a:srgbClr val="152A45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,</a:t>
                      </a:r>
                      <a:r>
                        <a:rPr lang="en-US" sz="1200" b="0" kern="1200" dirty="0" smtClean="0">
                          <a:solidFill>
                            <a:srgbClr val="152A45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2</a:t>
                      </a:r>
                      <a:endParaRPr lang="en-US" sz="1200" b="0" kern="1200" dirty="0">
                        <a:solidFill>
                          <a:srgbClr val="152A45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 marL="10080" marR="10080" marT="100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0841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kern="1200" dirty="0" smtClean="0">
                          <a:solidFill>
                            <a:srgbClr val="152A45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Antalya</a:t>
                      </a:r>
                    </a:p>
                  </a:txBody>
                  <a:tcPr marL="0" marR="10080" marT="100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kern="1200" dirty="0" smtClean="0">
                          <a:solidFill>
                            <a:srgbClr val="152A45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28</a:t>
                      </a:r>
                      <a:r>
                        <a:rPr lang="tr-TR" sz="1200" b="0" kern="1200" dirty="0" smtClean="0">
                          <a:solidFill>
                            <a:srgbClr val="152A45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,</a:t>
                      </a:r>
                      <a:r>
                        <a:rPr lang="en-US" sz="1200" b="0" kern="1200" dirty="0" smtClean="0">
                          <a:solidFill>
                            <a:srgbClr val="152A45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0</a:t>
                      </a:r>
                      <a:endParaRPr lang="en-US" sz="1200" b="0" kern="1200" dirty="0">
                        <a:solidFill>
                          <a:srgbClr val="152A45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 marL="10080" marR="10080" marT="100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0841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kern="1200" dirty="0" smtClean="0">
                          <a:solidFill>
                            <a:srgbClr val="152A45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Lima</a:t>
                      </a:r>
                    </a:p>
                  </a:txBody>
                  <a:tcPr marL="0" marR="10080" marT="100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kern="1200" dirty="0" smtClean="0">
                          <a:solidFill>
                            <a:srgbClr val="152A45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15</a:t>
                      </a:r>
                      <a:r>
                        <a:rPr lang="tr-TR" sz="1200" b="0" kern="1200" dirty="0" smtClean="0">
                          <a:solidFill>
                            <a:srgbClr val="152A45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,</a:t>
                      </a:r>
                      <a:r>
                        <a:rPr lang="en-US" sz="1200" b="0" kern="1200" dirty="0" smtClean="0">
                          <a:solidFill>
                            <a:srgbClr val="152A45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7</a:t>
                      </a:r>
                      <a:endParaRPr lang="en-US" sz="1200" b="0" kern="1200" dirty="0">
                        <a:solidFill>
                          <a:srgbClr val="152A45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 marL="10080" marR="10080" marT="100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0841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kern="1200" dirty="0" smtClean="0">
                          <a:solidFill>
                            <a:srgbClr val="152A45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St. Petersburg</a:t>
                      </a:r>
                    </a:p>
                  </a:txBody>
                  <a:tcPr marL="0" marR="10080" marT="100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kern="1200" dirty="0" smtClean="0">
                          <a:solidFill>
                            <a:srgbClr val="152A45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14</a:t>
                      </a:r>
                      <a:r>
                        <a:rPr lang="tr-TR" sz="1200" b="0" kern="1200" dirty="0" smtClean="0">
                          <a:solidFill>
                            <a:srgbClr val="152A45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,</a:t>
                      </a:r>
                      <a:r>
                        <a:rPr lang="en-US" sz="1200" b="0" kern="1200" dirty="0" smtClean="0">
                          <a:solidFill>
                            <a:srgbClr val="152A45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3</a:t>
                      </a:r>
                      <a:endParaRPr lang="en-US" sz="1200" b="0" kern="1200" dirty="0">
                        <a:solidFill>
                          <a:srgbClr val="152A45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 marL="10080" marR="10080" marT="100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0841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kern="1200" dirty="0" smtClean="0">
                          <a:solidFill>
                            <a:srgbClr val="152A45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Hanover</a:t>
                      </a:r>
                    </a:p>
                  </a:txBody>
                  <a:tcPr marL="0" marR="10080" marT="100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kern="1200" dirty="0" smtClean="0">
                          <a:solidFill>
                            <a:srgbClr val="152A45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5</a:t>
                      </a:r>
                      <a:r>
                        <a:rPr lang="tr-TR" sz="1200" b="0" kern="1200" dirty="0" smtClean="0">
                          <a:solidFill>
                            <a:srgbClr val="152A45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,</a:t>
                      </a:r>
                      <a:r>
                        <a:rPr lang="en-US" sz="1200" b="0" kern="1200" dirty="0" smtClean="0">
                          <a:solidFill>
                            <a:srgbClr val="152A45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3</a:t>
                      </a:r>
                      <a:endParaRPr lang="en-US" sz="1200" b="0" kern="1200" dirty="0">
                        <a:solidFill>
                          <a:srgbClr val="152A45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 marL="10080" marR="10080" marT="100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0841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kern="1200" dirty="0" smtClean="0">
                          <a:solidFill>
                            <a:srgbClr val="152A45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Bourgas</a:t>
                      </a:r>
                    </a:p>
                  </a:txBody>
                  <a:tcPr marL="0" marR="10080" marT="100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kern="1200" dirty="0" smtClean="0">
                          <a:solidFill>
                            <a:srgbClr val="152A45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2</a:t>
                      </a:r>
                      <a:r>
                        <a:rPr lang="tr-TR" sz="1200" b="0" kern="1200" dirty="0" smtClean="0">
                          <a:solidFill>
                            <a:srgbClr val="152A45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,</a:t>
                      </a:r>
                      <a:r>
                        <a:rPr lang="en-US" sz="1200" b="0" kern="1200" dirty="0" smtClean="0">
                          <a:solidFill>
                            <a:srgbClr val="152A45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5</a:t>
                      </a:r>
                      <a:endParaRPr lang="en-US" sz="1200" b="0" kern="1200" dirty="0">
                        <a:solidFill>
                          <a:srgbClr val="152A45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 marL="10080" marR="10080" marT="100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0841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kern="1200" dirty="0" smtClean="0">
                          <a:solidFill>
                            <a:srgbClr val="152A45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Varna</a:t>
                      </a:r>
                    </a:p>
                  </a:txBody>
                  <a:tcPr marL="0" marR="10080" marT="100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kern="1200" dirty="0" smtClean="0">
                          <a:solidFill>
                            <a:srgbClr val="152A45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1</a:t>
                      </a:r>
                      <a:r>
                        <a:rPr lang="tr-TR" sz="1200" b="0" kern="1200" dirty="0" smtClean="0">
                          <a:solidFill>
                            <a:srgbClr val="152A45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,</a:t>
                      </a:r>
                      <a:r>
                        <a:rPr lang="en-US" sz="1200" b="0" kern="1200" dirty="0" smtClean="0">
                          <a:solidFill>
                            <a:srgbClr val="152A45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4</a:t>
                      </a:r>
                      <a:endParaRPr lang="en-US" sz="1200" b="0" kern="1200" dirty="0">
                        <a:solidFill>
                          <a:srgbClr val="152A45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 marL="10080" marR="10080" marT="100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0841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kern="1200" dirty="0" smtClean="0">
                          <a:solidFill>
                            <a:srgbClr val="152A45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Ljubljana</a:t>
                      </a:r>
                    </a:p>
                  </a:txBody>
                  <a:tcPr marL="0" marR="10080" marT="100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kern="1200" dirty="0" smtClean="0">
                          <a:solidFill>
                            <a:srgbClr val="152A45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1</a:t>
                      </a:r>
                      <a:r>
                        <a:rPr lang="tr-TR" sz="1200" b="0" kern="1200" dirty="0" smtClean="0">
                          <a:solidFill>
                            <a:srgbClr val="152A45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,</a:t>
                      </a:r>
                      <a:r>
                        <a:rPr lang="en-US" sz="1200" b="0" kern="1200" dirty="0" smtClean="0">
                          <a:solidFill>
                            <a:srgbClr val="152A45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3</a:t>
                      </a:r>
                      <a:endParaRPr lang="en-US" sz="1200" b="0" kern="1200" dirty="0">
                        <a:solidFill>
                          <a:srgbClr val="152A45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 marL="10080" marR="10080" marT="100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366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kern="1200" dirty="0" smtClean="0">
                          <a:solidFill>
                            <a:srgbClr val="152A45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Jeddah (06/2014)</a:t>
                      </a:r>
                    </a:p>
                  </a:txBody>
                  <a:tcPr marL="0" marR="10080" marT="100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kern="1200" dirty="0" smtClean="0">
                          <a:solidFill>
                            <a:srgbClr val="152A45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15</a:t>
                      </a:r>
                      <a:r>
                        <a:rPr lang="tr-TR" sz="1200" b="0" kern="1200" dirty="0" smtClean="0">
                          <a:solidFill>
                            <a:srgbClr val="152A45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,</a:t>
                      </a:r>
                      <a:r>
                        <a:rPr lang="en-US" sz="1200" b="0" kern="1200" dirty="0" smtClean="0">
                          <a:solidFill>
                            <a:srgbClr val="152A45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4</a:t>
                      </a:r>
                      <a:endParaRPr lang="en-US" sz="1200" b="0" kern="1200" dirty="0">
                        <a:solidFill>
                          <a:srgbClr val="152A45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 marL="10080" marR="10080" marT="100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0841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kern="1200" dirty="0" smtClean="0">
                          <a:solidFill>
                            <a:srgbClr val="152A45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Riyadh (06/2014)</a:t>
                      </a:r>
                    </a:p>
                  </a:txBody>
                  <a:tcPr marL="0" marR="10080" marT="100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b="0" kern="1200" dirty="0" smtClean="0">
                          <a:solidFill>
                            <a:srgbClr val="152A45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10</a:t>
                      </a:r>
                      <a:r>
                        <a:rPr lang="tr-TR" sz="1200" b="0" kern="1200" dirty="0" smtClean="0">
                          <a:solidFill>
                            <a:srgbClr val="152A45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,</a:t>
                      </a:r>
                      <a:r>
                        <a:rPr lang="en-US" sz="1200" b="0" kern="1200" dirty="0" smtClean="0">
                          <a:solidFill>
                            <a:srgbClr val="152A45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4</a:t>
                      </a:r>
                      <a:endParaRPr lang="en-US" sz="1200" b="0" kern="1200" dirty="0">
                        <a:solidFill>
                          <a:srgbClr val="152A45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 marL="10080" marR="10080" marT="100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08411">
                <a:tc>
                  <a:txBody>
                    <a:bodyPr/>
                    <a:lstStyle/>
                    <a:p>
                      <a:pPr marL="0" algn="l" defTabSz="864017" rtl="0" eaLnBrk="1" fontAlgn="ctr" latinLnBrk="0" hangingPunct="1"/>
                      <a:r>
                        <a:rPr lang="en-US" sz="1200" b="1" kern="1200" dirty="0" smtClean="0">
                          <a:solidFill>
                            <a:srgbClr val="152A45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Total</a:t>
                      </a:r>
                      <a:endParaRPr lang="en-US" sz="1200" b="1" kern="1200" dirty="0">
                        <a:solidFill>
                          <a:srgbClr val="152A45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b="1" kern="1200" dirty="0" smtClean="0">
                          <a:solidFill>
                            <a:srgbClr val="152A45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222</a:t>
                      </a:r>
                      <a:r>
                        <a:rPr lang="tr-TR" sz="1200" b="1" kern="1200" dirty="0" smtClean="0">
                          <a:solidFill>
                            <a:srgbClr val="152A45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,</a:t>
                      </a:r>
                      <a:r>
                        <a:rPr lang="en-US" sz="1200" b="1" kern="1200" dirty="0" smtClean="0">
                          <a:solidFill>
                            <a:srgbClr val="152A45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9</a:t>
                      </a:r>
                      <a:endParaRPr lang="en-US" sz="1200" b="1" kern="1200" dirty="0">
                        <a:solidFill>
                          <a:srgbClr val="152A45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 marL="10080" marR="10080" marT="100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08411">
                <a:tc>
                  <a:txBody>
                    <a:bodyPr/>
                    <a:lstStyle/>
                    <a:p>
                      <a:pPr algn="l"/>
                      <a:r>
                        <a:rPr lang="en-US" sz="1200" b="0" i="1" kern="1200" dirty="0" smtClean="0">
                          <a:solidFill>
                            <a:srgbClr val="152A45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ex Frankfurt</a:t>
                      </a:r>
                      <a:endParaRPr lang="en-US" sz="1200" b="0" i="1" kern="1200" dirty="0">
                        <a:solidFill>
                          <a:srgbClr val="152A45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864017" rtl="0" eaLnBrk="1" fontAlgn="ctr" latinLnBrk="0" hangingPunct="1"/>
                      <a:r>
                        <a:rPr lang="en-US" sz="1200" b="0" i="1" kern="1200" dirty="0" smtClean="0">
                          <a:solidFill>
                            <a:srgbClr val="152A45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163</a:t>
                      </a:r>
                      <a:r>
                        <a:rPr lang="tr-TR" sz="1200" b="0" i="1" kern="1200" dirty="0" smtClean="0">
                          <a:solidFill>
                            <a:srgbClr val="152A45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,</a:t>
                      </a:r>
                      <a:r>
                        <a:rPr lang="en-US" sz="1200" b="0" i="1" kern="1200" dirty="0" smtClean="0">
                          <a:solidFill>
                            <a:srgbClr val="152A45"/>
                          </a:solidFill>
                          <a:latin typeface="Arial Narrow" pitchFamily="34" charset="0"/>
                          <a:ea typeface="+mn-ea"/>
                          <a:cs typeface="+mn-cs"/>
                        </a:rPr>
                        <a:t>3</a:t>
                      </a:r>
                      <a:endParaRPr lang="en-US" sz="1200" b="0" i="1" kern="1200" dirty="0">
                        <a:solidFill>
                          <a:srgbClr val="152A45"/>
                        </a:solidFill>
                        <a:latin typeface="Arial Narrow" pitchFamily="34" charset="0"/>
                        <a:ea typeface="+mn-ea"/>
                        <a:cs typeface="+mn-cs"/>
                      </a:endParaRPr>
                    </a:p>
                  </a:txBody>
                  <a:tcPr marL="10080" marR="10080" marT="1008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324205" y="4797152"/>
            <a:ext cx="1943539" cy="24622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r>
              <a:rPr lang="tr-TR" sz="1000" dirty="0" smtClean="0"/>
              <a:t>+ 14 Greek Reagional Airports</a:t>
            </a:r>
            <a:endParaRPr lang="en-US" sz="1000" dirty="0"/>
          </a:p>
        </p:txBody>
      </p:sp>
      <p:sp>
        <p:nvSpPr>
          <p:cNvPr id="105" name="Title 6"/>
          <p:cNvSpPr>
            <a:spLocks noGrp="1"/>
          </p:cNvSpPr>
          <p:nvPr>
            <p:ph type="title"/>
          </p:nvPr>
        </p:nvSpPr>
        <p:spPr>
          <a:xfrm>
            <a:off x="5004048" y="28159"/>
            <a:ext cx="2691330" cy="848141"/>
          </a:xfrm>
        </p:spPr>
        <p:txBody>
          <a:bodyPr/>
          <a:lstStyle/>
          <a:p>
            <a:pPr algn="r"/>
            <a:r>
              <a:rPr lang="tr-TR" dirty="0" smtClean="0"/>
              <a:t>Fraport</a:t>
            </a:r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3625003496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88551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44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13"/>
          <p:cNvSpPr>
            <a:spLocks noChangeArrowheads="1"/>
          </p:cNvSpPr>
          <p:nvPr/>
        </p:nvSpPr>
        <p:spPr bwMode="auto">
          <a:xfrm>
            <a:off x="217488" y="1125538"/>
            <a:ext cx="8697912" cy="5111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/>
          <a:lstStyle/>
          <a:p>
            <a:pPr eaLnBrk="0" hangingPunct="0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</a:pPr>
            <a:r>
              <a:rPr lang="en-GB" sz="2200" b="1" dirty="0">
                <a:solidFill>
                  <a:srgbClr val="152A45"/>
                </a:solidFill>
                <a:latin typeface="Arial Narrow" pitchFamily="34" charset="0"/>
              </a:rPr>
              <a:t>IC İçtaş has 40 years experience in construction, energy, infrastructure, tourism, industry and  real estate </a:t>
            </a:r>
            <a:r>
              <a:rPr lang="en-GB" sz="2200" b="1" dirty="0" smtClean="0">
                <a:solidFill>
                  <a:srgbClr val="152A45"/>
                </a:solidFill>
                <a:latin typeface="Arial Narrow" pitchFamily="34" charset="0"/>
              </a:rPr>
              <a:t>development</a:t>
            </a:r>
            <a:r>
              <a:rPr lang="tr-TR" sz="2200" b="1" dirty="0" smtClean="0">
                <a:solidFill>
                  <a:srgbClr val="152A45"/>
                </a:solidFill>
                <a:latin typeface="Arial Narrow" pitchFamily="34" charset="0"/>
              </a:rPr>
              <a:t>:</a:t>
            </a:r>
            <a:endParaRPr lang="en-GB" sz="2200" b="1" dirty="0">
              <a:solidFill>
                <a:srgbClr val="152A45"/>
              </a:solidFill>
              <a:latin typeface="Arial Narrow" pitchFamily="34" charset="0"/>
            </a:endParaRPr>
          </a:p>
          <a:p>
            <a:pPr marL="342900" indent="-342900" eaLnBrk="0" hangingPunct="0">
              <a:lnSpc>
                <a:spcPct val="80000"/>
              </a:lnSpc>
              <a:spcBef>
                <a:spcPts val="600"/>
              </a:spcBef>
              <a:spcAft>
                <a:spcPts val="300"/>
              </a:spcAft>
              <a:buFont typeface="Wingdings" pitchFamily="2" charset="2"/>
              <a:buChar char="Ø"/>
            </a:pPr>
            <a:r>
              <a:rPr lang="tr-TR" b="1" dirty="0" smtClean="0">
                <a:solidFill>
                  <a:srgbClr val="152A45"/>
                </a:solidFill>
                <a:latin typeface="Arial Narrow" pitchFamily="34" charset="0"/>
                <a:cs typeface="Arial" pitchFamily="34" charset="0"/>
              </a:rPr>
              <a:t>Airports (Turkey):</a:t>
            </a:r>
          </a:p>
          <a:p>
            <a:pPr marL="714375" lvl="1" indent="-257175" eaLnBrk="0" hangingPunct="0">
              <a:lnSpc>
                <a:spcPct val="80000"/>
              </a:lnSpc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</a:pPr>
            <a:r>
              <a:rPr lang="tr-TR" sz="1400" b="1" dirty="0" smtClean="0">
                <a:solidFill>
                  <a:srgbClr val="152A45"/>
                </a:solidFill>
                <a:latin typeface="Arial Narrow" pitchFamily="34" charset="0"/>
                <a:cs typeface="Arial" pitchFamily="34" charset="0"/>
              </a:rPr>
              <a:t>AYT – </a:t>
            </a:r>
            <a:r>
              <a:rPr lang="tr-TR" sz="1400" b="1" dirty="0">
                <a:solidFill>
                  <a:srgbClr val="152A45"/>
                </a:solidFill>
                <a:latin typeface="Arial Narrow" pitchFamily="34" charset="0"/>
                <a:cs typeface="Arial" pitchFamily="34" charset="0"/>
              </a:rPr>
              <a:t>2nd </a:t>
            </a:r>
            <a:r>
              <a:rPr lang="tr-TR" sz="1400" b="1" dirty="0" smtClean="0">
                <a:solidFill>
                  <a:srgbClr val="152A45"/>
                </a:solidFill>
                <a:latin typeface="Arial Narrow" pitchFamily="34" charset="0"/>
                <a:cs typeface="Arial" pitchFamily="34" charset="0"/>
              </a:rPr>
              <a:t>Runway &amp; </a:t>
            </a:r>
            <a:r>
              <a:rPr lang="tr-TR" sz="1400" b="1" dirty="0">
                <a:solidFill>
                  <a:srgbClr val="152A45"/>
                </a:solidFill>
                <a:latin typeface="Arial Narrow" pitchFamily="34" charset="0"/>
                <a:cs typeface="Arial" pitchFamily="34" charset="0"/>
              </a:rPr>
              <a:t>a</a:t>
            </a:r>
            <a:r>
              <a:rPr lang="tr-TR" sz="1400" b="1" dirty="0" smtClean="0">
                <a:solidFill>
                  <a:srgbClr val="152A45"/>
                </a:solidFill>
                <a:latin typeface="Arial Narrow" pitchFamily="34" charset="0"/>
                <a:cs typeface="Arial" pitchFamily="34" charset="0"/>
              </a:rPr>
              <a:t>pron </a:t>
            </a:r>
            <a:r>
              <a:rPr lang="tr-TR" sz="1400" b="1" dirty="0">
                <a:solidFill>
                  <a:srgbClr val="152A45"/>
                </a:solidFill>
                <a:latin typeface="Arial Narrow" pitchFamily="34" charset="0"/>
                <a:cs typeface="Arial" pitchFamily="34" charset="0"/>
              </a:rPr>
              <a:t>w</a:t>
            </a:r>
            <a:r>
              <a:rPr lang="tr-TR" sz="1400" b="1" dirty="0" smtClean="0">
                <a:solidFill>
                  <a:srgbClr val="152A45"/>
                </a:solidFill>
                <a:latin typeface="Arial Narrow" pitchFamily="34" charset="0"/>
                <a:cs typeface="Arial" pitchFamily="34" charset="0"/>
              </a:rPr>
              <a:t>orks</a:t>
            </a:r>
            <a:r>
              <a:rPr lang="tr-TR" sz="1400" b="1" dirty="0">
                <a:solidFill>
                  <a:srgbClr val="152A45"/>
                </a:solidFill>
                <a:latin typeface="Arial Narrow" pitchFamily="34" charset="0"/>
                <a:cs typeface="Arial" pitchFamily="34" charset="0"/>
              </a:rPr>
              <a:t>, T2 &amp; New Domestic </a:t>
            </a:r>
            <a:r>
              <a:rPr lang="tr-TR" sz="1400" b="1" dirty="0" smtClean="0">
                <a:solidFill>
                  <a:srgbClr val="152A45"/>
                </a:solidFill>
                <a:latin typeface="Arial Narrow" pitchFamily="34" charset="0"/>
                <a:cs typeface="Arial" pitchFamily="34" charset="0"/>
              </a:rPr>
              <a:t>Terminal</a:t>
            </a:r>
            <a:endParaRPr lang="tr-TR" sz="1400" b="1" dirty="0">
              <a:solidFill>
                <a:srgbClr val="152A45"/>
              </a:solidFill>
              <a:latin typeface="Arial Narrow" pitchFamily="34" charset="0"/>
              <a:cs typeface="Arial" pitchFamily="34" charset="0"/>
            </a:endParaRPr>
          </a:p>
          <a:p>
            <a:pPr marL="714375" lvl="1" indent="-257175" eaLnBrk="0" hangingPunct="0">
              <a:lnSpc>
                <a:spcPct val="80000"/>
              </a:lnSpc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</a:pPr>
            <a:r>
              <a:rPr lang="tr-TR" sz="1400" b="1" dirty="0">
                <a:solidFill>
                  <a:srgbClr val="152A45"/>
                </a:solidFill>
                <a:latin typeface="Arial Narrow" pitchFamily="34" charset="0"/>
                <a:cs typeface="Arial" pitchFamily="34" charset="0"/>
              </a:rPr>
              <a:t>İzmir Airport (ADB) – New International Terminal</a:t>
            </a:r>
          </a:p>
          <a:p>
            <a:pPr marL="714375" lvl="1" indent="-257175" eaLnBrk="0" hangingPunct="0">
              <a:lnSpc>
                <a:spcPct val="80000"/>
              </a:lnSpc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</a:pPr>
            <a:r>
              <a:rPr lang="tr-TR" sz="1400" b="1" dirty="0" smtClean="0">
                <a:solidFill>
                  <a:srgbClr val="152A45"/>
                </a:solidFill>
                <a:latin typeface="Arial Narrow" pitchFamily="34" charset="0"/>
                <a:cs typeface="Arial" pitchFamily="34" charset="0"/>
              </a:rPr>
              <a:t>Or-Gi Airport (OGU), Ordu-Giresun</a:t>
            </a:r>
            <a:endParaRPr lang="tr-TR" sz="1400" b="1" dirty="0">
              <a:solidFill>
                <a:srgbClr val="152A45"/>
              </a:solidFill>
              <a:latin typeface="Arial Narrow" pitchFamily="34" charset="0"/>
              <a:cs typeface="Arial" pitchFamily="34" charset="0"/>
            </a:endParaRPr>
          </a:p>
          <a:p>
            <a:pPr marL="714375" lvl="1" indent="-257175" eaLnBrk="0" hangingPunct="0">
              <a:lnSpc>
                <a:spcPct val="80000"/>
              </a:lnSpc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</a:pPr>
            <a:r>
              <a:rPr lang="tr-TR" sz="1400" b="1" dirty="0">
                <a:solidFill>
                  <a:srgbClr val="152A45"/>
                </a:solidFill>
                <a:latin typeface="Arial Narrow" pitchFamily="34" charset="0"/>
                <a:cs typeface="Arial" pitchFamily="34" charset="0"/>
              </a:rPr>
              <a:t>Zafer International </a:t>
            </a:r>
            <a:r>
              <a:rPr lang="tr-TR" sz="1400" b="1" dirty="0" smtClean="0">
                <a:solidFill>
                  <a:srgbClr val="152A45"/>
                </a:solidFill>
                <a:latin typeface="Arial Narrow" pitchFamily="34" charset="0"/>
                <a:cs typeface="Arial" pitchFamily="34" charset="0"/>
              </a:rPr>
              <a:t>Airport (KZR), Afyon-Kütahya-Uşak</a:t>
            </a:r>
            <a:endParaRPr lang="tr-TR" sz="1400" b="1" dirty="0">
              <a:solidFill>
                <a:srgbClr val="152A45"/>
              </a:solidFill>
              <a:latin typeface="Arial Narrow" pitchFamily="34" charset="0"/>
              <a:cs typeface="Arial" pitchFamily="34" charset="0"/>
            </a:endParaRPr>
          </a:p>
          <a:p>
            <a:pPr marL="342900" indent="-342900" eaLnBrk="0" hangingPunct="0"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</a:pPr>
            <a:r>
              <a:rPr lang="tr-TR" b="1" dirty="0" smtClean="0">
                <a:solidFill>
                  <a:srgbClr val="152A45"/>
                </a:solidFill>
                <a:latin typeface="Arial Narrow" pitchFamily="34" charset="0"/>
                <a:cs typeface="Arial" pitchFamily="34" charset="0"/>
              </a:rPr>
              <a:t>Hotels (Turkey): </a:t>
            </a:r>
          </a:p>
          <a:p>
            <a:pPr marL="714375" lvl="1" indent="-257175" eaLnBrk="0" hangingPunct="0">
              <a:lnSpc>
                <a:spcPct val="80000"/>
              </a:lnSpc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</a:pPr>
            <a:r>
              <a:rPr lang="tr-TR" sz="1400" b="1" dirty="0">
                <a:solidFill>
                  <a:srgbClr val="152A45"/>
                </a:solidFill>
                <a:latin typeface="Arial Narrow" pitchFamily="34" charset="0"/>
                <a:cs typeface="Arial" pitchFamily="34" charset="0"/>
              </a:rPr>
              <a:t>IC Green Palace, IC Santai, IC Airport, Antalya</a:t>
            </a:r>
          </a:p>
          <a:p>
            <a:pPr marL="714375" lvl="1" indent="-257175" eaLnBrk="0" hangingPunct="0">
              <a:lnSpc>
                <a:spcPct val="80000"/>
              </a:lnSpc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</a:pPr>
            <a:r>
              <a:rPr lang="tr-TR" sz="1400" b="1" dirty="0">
                <a:solidFill>
                  <a:srgbClr val="152A45"/>
                </a:solidFill>
                <a:latin typeface="Arial Narrow" pitchFamily="34" charset="0"/>
                <a:cs typeface="Arial" pitchFamily="34" charset="0"/>
              </a:rPr>
              <a:t>Bomonti Hilton Hotel Project, </a:t>
            </a:r>
            <a:r>
              <a:rPr lang="tr-TR" sz="1400" b="1" dirty="0" smtClean="0">
                <a:solidFill>
                  <a:srgbClr val="152A45"/>
                </a:solidFill>
                <a:latin typeface="Arial Narrow" pitchFamily="34" charset="0"/>
                <a:cs typeface="Arial" pitchFamily="34" charset="0"/>
              </a:rPr>
              <a:t>İstanbul</a:t>
            </a:r>
          </a:p>
          <a:p>
            <a:pPr marL="342900" indent="-342900" eaLnBrk="0" hangingPunct="0">
              <a:lnSpc>
                <a:spcPct val="80000"/>
              </a:lnSpc>
              <a:spcBef>
                <a:spcPts val="600"/>
              </a:spcBef>
              <a:spcAft>
                <a:spcPts val="300"/>
              </a:spcAft>
              <a:buFont typeface="Wingdings" pitchFamily="2" charset="2"/>
              <a:buChar char="Ø"/>
            </a:pPr>
            <a:r>
              <a:rPr lang="tr-TR" b="1" dirty="0" smtClean="0">
                <a:solidFill>
                  <a:srgbClr val="152A45"/>
                </a:solidFill>
                <a:latin typeface="Arial Narrow" pitchFamily="34" charset="0"/>
                <a:cs typeface="Arial" pitchFamily="34" charset="0"/>
              </a:rPr>
              <a:t>Ports, Bridges, Railway &amp; Energy (Turkey &amp; Russia):</a:t>
            </a:r>
          </a:p>
          <a:p>
            <a:pPr marL="714375" lvl="1" indent="-257175" eaLnBrk="0" hangingPunct="0">
              <a:lnSpc>
                <a:spcPct val="80000"/>
              </a:lnSpc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</a:pPr>
            <a:r>
              <a:rPr lang="tr-TR" sz="1400" b="1" dirty="0" smtClean="0">
                <a:solidFill>
                  <a:srgbClr val="152A45"/>
                </a:solidFill>
                <a:latin typeface="Arial Narrow" pitchFamily="34" charset="0"/>
                <a:cs typeface="Arial" pitchFamily="34" charset="0"/>
              </a:rPr>
              <a:t>Sea </a:t>
            </a:r>
            <a:r>
              <a:rPr lang="tr-TR" sz="1400" b="1" dirty="0">
                <a:solidFill>
                  <a:srgbClr val="152A45"/>
                </a:solidFill>
                <a:latin typeface="Arial Narrow" pitchFamily="34" charset="0"/>
                <a:cs typeface="Arial" pitchFamily="34" charset="0"/>
              </a:rPr>
              <a:t>Port in Güllük, </a:t>
            </a:r>
            <a:r>
              <a:rPr lang="tr-TR" sz="1400" b="1" dirty="0" smtClean="0">
                <a:solidFill>
                  <a:srgbClr val="152A45"/>
                </a:solidFill>
                <a:latin typeface="Arial Narrow" pitchFamily="34" charset="0"/>
                <a:cs typeface="Arial" pitchFamily="34" charset="0"/>
              </a:rPr>
              <a:t>Bodrum </a:t>
            </a:r>
            <a:r>
              <a:rPr lang="tr-TR" sz="1400" b="1" dirty="0">
                <a:solidFill>
                  <a:srgbClr val="152A45"/>
                </a:solidFill>
                <a:latin typeface="Arial Narrow" pitchFamily="34" charset="0"/>
                <a:cs typeface="Arial" pitchFamily="34" charset="0"/>
              </a:rPr>
              <a:t>&amp; Karasu Port, Sakarya (Turkey)</a:t>
            </a:r>
          </a:p>
          <a:p>
            <a:pPr marL="714375" lvl="1" indent="-257175" eaLnBrk="0" hangingPunct="0">
              <a:lnSpc>
                <a:spcPct val="80000"/>
              </a:lnSpc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</a:pPr>
            <a:r>
              <a:rPr lang="tr-TR" sz="1400" b="1" dirty="0" smtClean="0">
                <a:solidFill>
                  <a:srgbClr val="152A45"/>
                </a:solidFill>
                <a:latin typeface="Arial Narrow" pitchFamily="34" charset="0"/>
                <a:cs typeface="Arial" pitchFamily="34" charset="0"/>
              </a:rPr>
              <a:t>Çeşme </a:t>
            </a:r>
            <a:r>
              <a:rPr lang="tr-TR" sz="1400" b="1" dirty="0">
                <a:solidFill>
                  <a:srgbClr val="152A45"/>
                </a:solidFill>
                <a:latin typeface="Arial Narrow" pitchFamily="34" charset="0"/>
                <a:cs typeface="Arial" pitchFamily="34" charset="0"/>
              </a:rPr>
              <a:t>Marina, </a:t>
            </a:r>
            <a:r>
              <a:rPr lang="tr-TR" sz="1400" b="1" dirty="0" smtClean="0">
                <a:solidFill>
                  <a:srgbClr val="152A45"/>
                </a:solidFill>
                <a:latin typeface="Arial Narrow" pitchFamily="34" charset="0"/>
                <a:cs typeface="Arial" pitchFamily="34" charset="0"/>
              </a:rPr>
              <a:t>Izmir </a:t>
            </a:r>
            <a:r>
              <a:rPr lang="tr-TR" sz="1400" b="1" dirty="0">
                <a:solidFill>
                  <a:srgbClr val="152A45"/>
                </a:solidFill>
                <a:latin typeface="Arial Narrow" pitchFamily="34" charset="0"/>
                <a:cs typeface="Arial" pitchFamily="34" charset="0"/>
              </a:rPr>
              <a:t>(Turkey</a:t>
            </a:r>
            <a:r>
              <a:rPr lang="tr-TR" sz="1400" b="1" dirty="0" smtClean="0">
                <a:solidFill>
                  <a:srgbClr val="152A45"/>
                </a:solidFill>
                <a:latin typeface="Arial Narrow" pitchFamily="34" charset="0"/>
                <a:cs typeface="Arial" pitchFamily="34" charset="0"/>
              </a:rPr>
              <a:t>)</a:t>
            </a:r>
          </a:p>
          <a:p>
            <a:pPr marL="714375" lvl="1" indent="-257175" eaLnBrk="0" hangingPunct="0">
              <a:lnSpc>
                <a:spcPct val="80000"/>
              </a:lnSpc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</a:pPr>
            <a:r>
              <a:rPr lang="en-GB" sz="1400" b="1" dirty="0" smtClean="0">
                <a:solidFill>
                  <a:srgbClr val="152A45"/>
                </a:solidFill>
                <a:latin typeface="Arial Narrow" pitchFamily="34" charset="0"/>
                <a:cs typeface="Arial" pitchFamily="34" charset="0"/>
              </a:rPr>
              <a:t>Ankara-</a:t>
            </a:r>
            <a:r>
              <a:rPr lang="tr-TR" sz="1400" b="1" dirty="0" smtClean="0">
                <a:solidFill>
                  <a:srgbClr val="152A45"/>
                </a:solidFill>
                <a:latin typeface="Arial Narrow" pitchFamily="34" charset="0"/>
                <a:cs typeface="Arial" pitchFamily="34" charset="0"/>
              </a:rPr>
              <a:t>I</a:t>
            </a:r>
            <a:r>
              <a:rPr lang="en-GB" sz="1400" b="1" dirty="0" smtClean="0">
                <a:solidFill>
                  <a:srgbClr val="152A45"/>
                </a:solidFill>
                <a:latin typeface="Arial Narrow" pitchFamily="34" charset="0"/>
                <a:cs typeface="Arial" pitchFamily="34" charset="0"/>
              </a:rPr>
              <a:t>Istanbul </a:t>
            </a:r>
            <a:r>
              <a:rPr lang="en-GB" sz="1400" b="1" dirty="0">
                <a:solidFill>
                  <a:srgbClr val="152A45"/>
                </a:solidFill>
                <a:latin typeface="Arial Narrow" pitchFamily="34" charset="0"/>
                <a:cs typeface="Arial" pitchFamily="34" charset="0"/>
              </a:rPr>
              <a:t>High Speed Railway Project (Turkey)</a:t>
            </a:r>
          </a:p>
          <a:p>
            <a:pPr marL="714375" lvl="1" indent="-257175" eaLnBrk="0" hangingPunct="0">
              <a:lnSpc>
                <a:spcPct val="80000"/>
              </a:lnSpc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</a:pPr>
            <a:r>
              <a:rPr lang="tr-TR" sz="1400" b="1" dirty="0">
                <a:solidFill>
                  <a:srgbClr val="152A45"/>
                </a:solidFill>
                <a:latin typeface="Arial Narrow" pitchFamily="34" charset="0"/>
                <a:cs typeface="Arial" pitchFamily="34" charset="0"/>
              </a:rPr>
              <a:t>Istanbul </a:t>
            </a:r>
            <a:r>
              <a:rPr lang="tr-TR" sz="1400" b="1" dirty="0" smtClean="0">
                <a:solidFill>
                  <a:srgbClr val="152A45"/>
                </a:solidFill>
                <a:latin typeface="Arial Narrow" pitchFamily="34" charset="0"/>
                <a:cs typeface="Arial" pitchFamily="34" charset="0"/>
              </a:rPr>
              <a:t>3</a:t>
            </a:r>
            <a:r>
              <a:rPr lang="tr-TR" sz="1400" b="1" baseline="30000" dirty="0" smtClean="0">
                <a:solidFill>
                  <a:srgbClr val="152A45"/>
                </a:solidFill>
                <a:latin typeface="Arial Narrow" pitchFamily="34" charset="0"/>
                <a:cs typeface="Arial" pitchFamily="34" charset="0"/>
              </a:rPr>
              <a:t>rd</a:t>
            </a:r>
            <a:r>
              <a:rPr lang="tr-TR" sz="1400" b="1" dirty="0" smtClean="0">
                <a:solidFill>
                  <a:srgbClr val="152A45"/>
                </a:solidFill>
                <a:latin typeface="Arial Narrow" pitchFamily="34" charset="0"/>
                <a:cs typeface="Arial" pitchFamily="34" charset="0"/>
              </a:rPr>
              <a:t> </a:t>
            </a:r>
            <a:r>
              <a:rPr lang="tr-TR" sz="1400" b="1" dirty="0">
                <a:solidFill>
                  <a:srgbClr val="152A45"/>
                </a:solidFill>
                <a:latin typeface="Arial Narrow" pitchFamily="34" charset="0"/>
                <a:cs typeface="Arial" pitchFamily="34" charset="0"/>
              </a:rPr>
              <a:t>Bridge (Turkey)</a:t>
            </a:r>
          </a:p>
          <a:p>
            <a:pPr marL="714375" lvl="1" indent="-257175" eaLnBrk="0" hangingPunct="0">
              <a:lnSpc>
                <a:spcPct val="80000"/>
              </a:lnSpc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</a:pPr>
            <a:r>
              <a:rPr lang="tr-TR" sz="1400" b="1" dirty="0">
                <a:solidFill>
                  <a:srgbClr val="152A45"/>
                </a:solidFill>
                <a:latin typeface="Arial Narrow" pitchFamily="34" charset="0"/>
                <a:cs typeface="Arial" pitchFamily="34" charset="0"/>
              </a:rPr>
              <a:t>12 HEPP (Hydroelectric Power Plant) Projects (Turkey</a:t>
            </a:r>
            <a:r>
              <a:rPr lang="tr-TR" sz="1400" b="1" dirty="0" smtClean="0">
                <a:solidFill>
                  <a:srgbClr val="152A45"/>
                </a:solidFill>
                <a:latin typeface="Arial Narrow" pitchFamily="34" charset="0"/>
                <a:cs typeface="Arial" pitchFamily="34" charset="0"/>
              </a:rPr>
              <a:t>)</a:t>
            </a:r>
          </a:p>
          <a:p>
            <a:pPr marL="714375" lvl="1" indent="-257175" eaLnBrk="0" hangingPunct="0">
              <a:lnSpc>
                <a:spcPct val="80000"/>
              </a:lnSpc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</a:pPr>
            <a:r>
              <a:rPr lang="tr-TR" sz="1400" b="1" dirty="0" smtClean="0">
                <a:solidFill>
                  <a:srgbClr val="152A45"/>
                </a:solidFill>
                <a:latin typeface="Arial Narrow" pitchFamily="34" charset="0"/>
                <a:cs typeface="Arial" pitchFamily="34" charset="0"/>
              </a:rPr>
              <a:t>2 Thermal Power Plants in Muğla, Turkey</a:t>
            </a:r>
            <a:endParaRPr lang="tr-TR" sz="1400" b="1" dirty="0">
              <a:solidFill>
                <a:srgbClr val="152A45"/>
              </a:solidFill>
              <a:latin typeface="Arial Narrow" pitchFamily="34" charset="0"/>
              <a:cs typeface="Arial" pitchFamily="34" charset="0"/>
            </a:endParaRPr>
          </a:p>
          <a:p>
            <a:pPr marL="714375" lvl="1" indent="-257175" eaLnBrk="0" hangingPunct="0">
              <a:lnSpc>
                <a:spcPct val="80000"/>
              </a:lnSpc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</a:pPr>
            <a:r>
              <a:rPr lang="tr-TR" sz="1400" b="1" dirty="0" smtClean="0">
                <a:solidFill>
                  <a:srgbClr val="152A45"/>
                </a:solidFill>
                <a:latin typeface="Arial Narrow" pitchFamily="34" charset="0"/>
                <a:cs typeface="Arial" pitchFamily="34" charset="0"/>
              </a:rPr>
              <a:t>Northern </a:t>
            </a:r>
            <a:r>
              <a:rPr lang="tr-TR" sz="1400" b="1" dirty="0">
                <a:solidFill>
                  <a:srgbClr val="152A45"/>
                </a:solidFill>
                <a:latin typeface="Arial Narrow" pitchFamily="34" charset="0"/>
                <a:cs typeface="Arial" pitchFamily="34" charset="0"/>
              </a:rPr>
              <a:t>Highway </a:t>
            </a:r>
            <a:r>
              <a:rPr lang="tr-TR" sz="1400" b="1" dirty="0" smtClean="0">
                <a:solidFill>
                  <a:srgbClr val="152A45"/>
                </a:solidFill>
                <a:latin typeface="Arial Narrow" pitchFamily="34" charset="0"/>
                <a:cs typeface="Arial" pitchFamily="34" charset="0"/>
              </a:rPr>
              <a:t>(Russia)</a:t>
            </a:r>
          </a:p>
          <a:p>
            <a:pPr marL="342900" indent="-342900" eaLnBrk="0" hangingPunct="0">
              <a:lnSpc>
                <a:spcPct val="80000"/>
              </a:lnSpc>
              <a:spcBef>
                <a:spcPts val="600"/>
              </a:spcBef>
              <a:spcAft>
                <a:spcPts val="300"/>
              </a:spcAft>
              <a:buFont typeface="Wingdings" pitchFamily="2" charset="2"/>
              <a:buChar char="Ø"/>
            </a:pPr>
            <a:r>
              <a:rPr lang="tr-TR" b="1" dirty="0" smtClean="0">
                <a:solidFill>
                  <a:srgbClr val="152A45"/>
                </a:solidFill>
                <a:latin typeface="Arial Narrow" pitchFamily="34" charset="0"/>
                <a:cs typeface="Arial" pitchFamily="34" charset="0"/>
              </a:rPr>
              <a:t>Real Estate Development (Turkey &amp; Azerbaijan):</a:t>
            </a:r>
          </a:p>
          <a:p>
            <a:pPr marL="714375" lvl="1" indent="-257175" eaLnBrk="0" hangingPunct="0">
              <a:lnSpc>
                <a:spcPct val="80000"/>
              </a:lnSpc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</a:pPr>
            <a:r>
              <a:rPr lang="tr-TR" sz="1400" b="1" dirty="0" smtClean="0">
                <a:solidFill>
                  <a:srgbClr val="152A45"/>
                </a:solidFill>
                <a:latin typeface="Arial Narrow" pitchFamily="34" charset="0"/>
                <a:cs typeface="Arial" pitchFamily="34" charset="0"/>
              </a:rPr>
              <a:t>Bilkent </a:t>
            </a:r>
            <a:r>
              <a:rPr lang="tr-TR" sz="1400" b="1" dirty="0">
                <a:solidFill>
                  <a:srgbClr val="152A45"/>
                </a:solidFill>
                <a:latin typeface="Arial Narrow" pitchFamily="34" charset="0"/>
                <a:cs typeface="Arial" pitchFamily="34" charset="0"/>
              </a:rPr>
              <a:t>Integrated Health Campus, Ankara (Turkey)</a:t>
            </a:r>
          </a:p>
          <a:p>
            <a:pPr marL="714375" lvl="1" indent="-257175" eaLnBrk="0" hangingPunct="0">
              <a:lnSpc>
                <a:spcPct val="80000"/>
              </a:lnSpc>
              <a:spcBef>
                <a:spcPts val="100"/>
              </a:spcBef>
              <a:spcAft>
                <a:spcPts val="100"/>
              </a:spcAft>
              <a:buFont typeface="Wingdings" panose="05000000000000000000" pitchFamily="2" charset="2"/>
              <a:buChar char="§"/>
            </a:pPr>
            <a:r>
              <a:rPr lang="tr-TR" sz="1400" b="1" dirty="0" smtClean="0">
                <a:solidFill>
                  <a:srgbClr val="152A45"/>
                </a:solidFill>
                <a:latin typeface="Arial Narrow" pitchFamily="34" charset="0"/>
                <a:cs typeface="Arial" pitchFamily="34" charset="0"/>
              </a:rPr>
              <a:t>Haydar </a:t>
            </a:r>
            <a:r>
              <a:rPr lang="tr-TR" sz="1400" b="1" dirty="0">
                <a:solidFill>
                  <a:srgbClr val="152A45"/>
                </a:solidFill>
                <a:latin typeface="Arial Narrow" pitchFamily="34" charset="0"/>
                <a:cs typeface="Arial" pitchFamily="34" charset="0"/>
              </a:rPr>
              <a:t>Aliyev Business Center, Baku (Azerbaijan)</a:t>
            </a:r>
          </a:p>
          <a:p>
            <a:pPr marL="714375" lvl="1" indent="-257175" eaLnBrk="0" hangingPunct="0">
              <a:lnSpc>
                <a:spcPct val="80000"/>
              </a:lnSpc>
              <a:spcBef>
                <a:spcPts val="100"/>
              </a:spcBef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tr-TR" sz="1400" b="1" dirty="0">
                <a:solidFill>
                  <a:srgbClr val="152A45"/>
                </a:solidFill>
                <a:latin typeface="Arial Narrow" pitchFamily="34" charset="0"/>
                <a:cs typeface="Arial" pitchFamily="34" charset="0"/>
              </a:rPr>
              <a:t>Flame Towers, Baku (Azerbaijan</a:t>
            </a:r>
            <a:r>
              <a:rPr lang="tr-TR" sz="1400" b="1" dirty="0" smtClean="0">
                <a:solidFill>
                  <a:srgbClr val="152A45"/>
                </a:solidFill>
                <a:latin typeface="Arial Narrow" pitchFamily="34" charset="0"/>
                <a:cs typeface="Arial" pitchFamily="34" charset="0"/>
              </a:rPr>
              <a:t>)</a:t>
            </a:r>
            <a:endParaRPr lang="tr-TR" sz="1400" b="1" dirty="0">
              <a:solidFill>
                <a:srgbClr val="152A45"/>
              </a:solidFill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17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91ECD-3C5D-4903-BA94-648BA1B5202F}" type="slidenum">
              <a:rPr lang="tr-TR" smtClean="0"/>
              <a:pPr/>
              <a:t>6</a:t>
            </a:fld>
            <a:endParaRPr lang="tr-TR" dirty="0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070"/>
          <a:stretch/>
        </p:blipFill>
        <p:spPr>
          <a:xfrm>
            <a:off x="6152462" y="1812005"/>
            <a:ext cx="1347483" cy="94908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1" name="Picture 14" descr="http://cms.ukintpress.com/UserFiles/Zafer%20airport.jpg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070"/>
          <a:stretch/>
        </p:blipFill>
        <p:spPr bwMode="auto">
          <a:xfrm>
            <a:off x="7564046" y="1812005"/>
            <a:ext cx="1347484" cy="94908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22" name="Picture 10" descr="http://static.panoramio.com/photos/large/4834740.jpg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070"/>
          <a:stretch/>
        </p:blipFill>
        <p:spPr bwMode="auto">
          <a:xfrm>
            <a:off x="6152461" y="2828523"/>
            <a:ext cx="1347483" cy="97766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23" name="Picture 16" descr="IC_HOTELS_SANTAI_FAMILY_RESORT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070"/>
          <a:stretch/>
        </p:blipFill>
        <p:spPr bwMode="auto">
          <a:xfrm>
            <a:off x="7564046" y="2828523"/>
            <a:ext cx="1347484" cy="97766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24" name="Picture 6" descr="The bridge will have eight road lanes as well as two rail tracks. The third bridge is expected to be about 1.4 kilometers in length and 59 meters in width.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247" r="3822"/>
          <a:stretch/>
        </p:blipFill>
        <p:spPr bwMode="auto">
          <a:xfrm>
            <a:off x="6152462" y="3873612"/>
            <a:ext cx="1347482" cy="98714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25" name="Picture 12" descr="http://admin.worldmarineguide.com/marinas/resources/49911BD1-118F-4533-BC7F-3FF570F445B3/Cesme_Arial.jpg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063"/>
          <a:stretch/>
        </p:blipFill>
        <p:spPr bwMode="auto">
          <a:xfrm>
            <a:off x="7562849" y="3873612"/>
            <a:ext cx="1348681" cy="98714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26" name="Picture 2" descr="http://news.hilton.com/assets/HILT/properties/International/HiltonInstanbulBomonti/1Picture1_FP.jpg"/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070"/>
          <a:stretch/>
        </p:blipFill>
        <p:spPr bwMode="auto">
          <a:xfrm>
            <a:off x="7530002" y="4928184"/>
            <a:ext cx="1347483" cy="949088"/>
          </a:xfrm>
          <a:prstGeom prst="roundRect">
            <a:avLst>
              <a:gd name="adj" fmla="val 8594"/>
            </a:avLst>
          </a:prstGeom>
          <a:solidFill>
            <a:schemeClr val="bg1"/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27" name="Picture 8" descr="Baku - Flame Towers"/>
          <p:cNvPicPr>
            <a:picLocks noChangeAspect="1" noChangeArrowheads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070"/>
          <a:stretch/>
        </p:blipFill>
        <p:spPr bwMode="auto">
          <a:xfrm>
            <a:off x="6152461" y="4928184"/>
            <a:ext cx="1347483" cy="94908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grpSp>
        <p:nvGrpSpPr>
          <p:cNvPr id="36" name="Group 35"/>
          <p:cNvGrpSpPr/>
          <p:nvPr/>
        </p:nvGrpSpPr>
        <p:grpSpPr>
          <a:xfrm>
            <a:off x="7774966" y="260648"/>
            <a:ext cx="1280580" cy="576064"/>
            <a:chOff x="5584825" y="2149475"/>
            <a:chExt cx="3101975" cy="1395413"/>
          </a:xfrm>
        </p:grpSpPr>
        <p:sp>
          <p:nvSpPr>
            <p:cNvPr id="37" name="Rounded Rectangle 36"/>
            <p:cNvSpPr/>
            <p:nvPr/>
          </p:nvSpPr>
          <p:spPr bwMode="auto">
            <a:xfrm>
              <a:off x="5584825" y="2149475"/>
              <a:ext cx="3101975" cy="1395413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152A45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tr-TR"/>
            </a:p>
          </p:txBody>
        </p:sp>
        <p:pic>
          <p:nvPicPr>
            <p:cNvPr id="38" name="Picture 5" descr="New Picture"/>
            <p:cNvPicPr>
              <a:picLocks noChangeAspect="1" noChangeArrowheads="1"/>
            </p:cNvPicPr>
            <p:nvPr/>
          </p:nvPicPr>
          <p:blipFill rotWithShape="1">
            <a:blip r:embed="rId15" cstate="print"/>
            <a:srcRect l="2871" t="13270" b="5738"/>
            <a:stretch/>
          </p:blipFill>
          <p:spPr bwMode="auto">
            <a:xfrm>
              <a:off x="5947507" y="2438399"/>
              <a:ext cx="2307973" cy="942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8" name="Rectangle 17"/>
          <p:cNvSpPr/>
          <p:nvPr/>
        </p:nvSpPr>
        <p:spPr>
          <a:xfrm>
            <a:off x="6327346" y="6309320"/>
            <a:ext cx="2798182" cy="5625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9" name="Title 6"/>
          <p:cNvSpPr>
            <a:spLocks noGrp="1"/>
          </p:cNvSpPr>
          <p:nvPr>
            <p:ph type="title"/>
          </p:nvPr>
        </p:nvSpPr>
        <p:spPr>
          <a:xfrm>
            <a:off x="5004048" y="28159"/>
            <a:ext cx="2691330" cy="848141"/>
          </a:xfrm>
        </p:spPr>
        <p:txBody>
          <a:bodyPr/>
          <a:lstStyle/>
          <a:p>
            <a:pPr algn="r"/>
            <a:r>
              <a:rPr lang="tr-TR" dirty="0" smtClean="0"/>
              <a:t>IC İctaş</a:t>
            </a:r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411577620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51520" y="1447800"/>
            <a:ext cx="8640960" cy="44294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971550" lvl="3" indent="-514350">
              <a:lnSpc>
                <a:spcPct val="200000"/>
              </a:lnSpc>
              <a:buClr>
                <a:srgbClr val="C00000"/>
              </a:buClr>
              <a:buFont typeface="+mj-lt"/>
              <a:buAutoNum type="romanUcPeriod"/>
              <a:defRPr/>
            </a:pPr>
            <a:r>
              <a:rPr lang="tr-TR" sz="2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cs typeface="Arial" charset="0"/>
              </a:rPr>
              <a:t>ICF Airports in brief</a:t>
            </a:r>
          </a:p>
          <a:p>
            <a:pPr marL="971550" lvl="3" indent="-514350">
              <a:lnSpc>
                <a:spcPct val="200000"/>
              </a:lnSpc>
              <a:buClr>
                <a:srgbClr val="C00000"/>
              </a:buClr>
              <a:buFont typeface="+mj-lt"/>
              <a:buAutoNum type="romanUcPeriod"/>
              <a:defRPr/>
            </a:pPr>
            <a:r>
              <a:rPr lang="tr-TR" sz="2200" b="1" dirty="0">
                <a:solidFill>
                  <a:srgbClr val="152A45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  <a:cs typeface="Arial" charset="0"/>
              </a:rPr>
              <a:t>Tourism &amp; Aviation </a:t>
            </a:r>
            <a:r>
              <a:rPr lang="tr-TR" sz="2200" b="1" dirty="0" smtClean="0">
                <a:solidFill>
                  <a:srgbClr val="152A45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  <a:cs typeface="Arial" charset="0"/>
              </a:rPr>
              <a:t>Relationship </a:t>
            </a:r>
            <a:endParaRPr lang="tr-TR" sz="2200" b="1" dirty="0">
              <a:solidFill>
                <a:srgbClr val="152A45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charset="0"/>
              <a:cs typeface="Arial" charset="0"/>
            </a:endParaRPr>
          </a:p>
          <a:p>
            <a:pPr marL="971550" lvl="3" indent="-514350">
              <a:lnSpc>
                <a:spcPct val="200000"/>
              </a:lnSpc>
              <a:buClr>
                <a:srgbClr val="C00000"/>
              </a:buClr>
              <a:buFont typeface="+mj-lt"/>
              <a:buAutoNum type="romanUcPeriod"/>
              <a:defRPr/>
            </a:pPr>
            <a:r>
              <a:rPr lang="tr-TR" sz="2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cs typeface="Arial" charset="0"/>
              </a:rPr>
              <a:t>ICF Airports contribution to Antalya Tourism</a:t>
            </a:r>
            <a:endParaRPr lang="tr-TR" sz="2200" dirty="0">
              <a:solidFill>
                <a:schemeClr val="tx1">
                  <a:lumMod val="65000"/>
                  <a:lumOff val="35000"/>
                </a:schemeClr>
              </a:solidFill>
              <a:latin typeface="Arial" charset="0"/>
              <a:cs typeface="Arial" charset="0"/>
            </a:endParaRPr>
          </a:p>
          <a:p>
            <a:pPr marL="971550" lvl="3" indent="-514350">
              <a:lnSpc>
                <a:spcPct val="200000"/>
              </a:lnSpc>
              <a:buClr>
                <a:srgbClr val="C00000"/>
              </a:buClr>
              <a:buFont typeface="+mj-lt"/>
              <a:buAutoNum type="romanUcPeriod"/>
              <a:defRPr/>
            </a:pPr>
            <a:r>
              <a:rPr lang="tr-TR" sz="2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cs typeface="Arial" charset="0"/>
              </a:rPr>
              <a:t>Conclusion</a:t>
            </a:r>
            <a:endParaRPr lang="tr-TR" sz="2200" dirty="0">
              <a:solidFill>
                <a:schemeClr val="tx1">
                  <a:lumMod val="65000"/>
                  <a:lumOff val="35000"/>
                </a:schemeClr>
              </a:solidFill>
              <a:latin typeface="Arial" charset="0"/>
              <a:cs typeface="Arial" charset="0"/>
            </a:endParaRPr>
          </a:p>
          <a:p>
            <a:pPr lvl="1">
              <a:lnSpc>
                <a:spcPct val="125000"/>
              </a:lnSpc>
              <a:buClr>
                <a:srgbClr val="D9D9D9"/>
              </a:buClr>
              <a:buFontTx/>
              <a:buAutoNum type="arabicPeriod"/>
              <a:defRPr/>
            </a:pPr>
            <a:endParaRPr lang="en-US" sz="2400" dirty="0">
              <a:solidFill>
                <a:srgbClr val="D9D9D9"/>
              </a:solidFill>
              <a:latin typeface="Arial Narrow" pitchFamily="34" charset="0"/>
              <a:cs typeface="Arial" charset="0"/>
            </a:endParaRPr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91ECD-3C5D-4903-BA94-648BA1B5202F}" type="slidenum">
              <a:rPr lang="tr-TR" smtClean="0"/>
              <a:pPr/>
              <a:t>7</a:t>
            </a:fld>
            <a:endParaRPr lang="tr-TR" dirty="0"/>
          </a:p>
        </p:txBody>
      </p:sp>
      <p:pic>
        <p:nvPicPr>
          <p:cNvPr id="8" name="Picture 126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367"/>
          <a:stretch/>
        </p:blipFill>
        <p:spPr bwMode="auto">
          <a:xfrm>
            <a:off x="2962296" y="179496"/>
            <a:ext cx="6056908" cy="5852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01348656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A691ECD-3C5D-4903-BA94-648BA1B5202F}" type="slidenum">
              <a:rPr lang="tr-TR" smtClean="0"/>
              <a:pPr>
                <a:defRPr/>
              </a:pPr>
              <a:t>8</a:t>
            </a:fld>
            <a:endParaRPr lang="tr-TR" dirty="0"/>
          </a:p>
        </p:txBody>
      </p:sp>
      <p:sp>
        <p:nvSpPr>
          <p:cNvPr id="4" name="TextBox 3"/>
          <p:cNvSpPr txBox="1"/>
          <p:nvPr/>
        </p:nvSpPr>
        <p:spPr>
          <a:xfrm>
            <a:off x="971600" y="1339082"/>
            <a:ext cx="756084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2400" b="1" dirty="0" smtClean="0">
                <a:solidFill>
                  <a:srgbClr val="002060"/>
                </a:solidFill>
              </a:rPr>
              <a:t>Air transport is the dominant travel mode              in international tourism - a reciprocal relationship</a:t>
            </a:r>
            <a:endParaRPr lang="en-US" sz="2400" b="1" dirty="0">
              <a:solidFill>
                <a:srgbClr val="002060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347864" y="2984049"/>
            <a:ext cx="648071" cy="13438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3347864" y="4355159"/>
            <a:ext cx="648071" cy="1340921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5400000" scaled="0"/>
          </a:gradFill>
          <a:ln>
            <a:solidFill>
              <a:srgbClr val="0052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Picture 3" descr="C:\Users\melihd\AppData\Local\Microsoft\Windows\Temporary Internet Files\Content.IE5\1XTPOYYE\plane-310501_640[1]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6400" y="4380373"/>
            <a:ext cx="443880" cy="2939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4" descr="C:\Users\melihd\AppData\Local\Microsoft\Windows\Temporary Internet Files\Content.IE5\J5OEOGRY\720px-Bus_aus_Zusatzzeichen_1024-14.svg[1]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9907" y="3360005"/>
            <a:ext cx="371548" cy="185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8473" y="3031785"/>
            <a:ext cx="194416" cy="2927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" name="Picture 6" descr="C:\Users\melihd\AppData\Local\Microsoft\Windows\Temporary Internet Files\Content.IE5\W22D9IYG\5697748009_28d268d571_z[1]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1880" y="3615319"/>
            <a:ext cx="387602" cy="181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3298211" y="2595120"/>
            <a:ext cx="7473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600" dirty="0" smtClean="0"/>
              <a:t>1.1 b</a:t>
            </a:r>
            <a:r>
              <a:rPr lang="tr-TR" dirty="0" smtClean="0"/>
              <a:t> </a:t>
            </a:r>
            <a:endParaRPr lang="en-US" dirty="0"/>
          </a:p>
        </p:txBody>
      </p:sp>
      <p:sp>
        <p:nvSpPr>
          <p:cNvPr id="23" name="Rectangle 22"/>
          <p:cNvSpPr/>
          <p:nvPr/>
        </p:nvSpPr>
        <p:spPr>
          <a:xfrm>
            <a:off x="4427985" y="3014369"/>
            <a:ext cx="648071" cy="65526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Rectangle 23"/>
          <p:cNvSpPr/>
          <p:nvPr/>
        </p:nvSpPr>
        <p:spPr>
          <a:xfrm>
            <a:off x="4427985" y="3686897"/>
            <a:ext cx="648071" cy="2012207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5400000" scaled="0"/>
          </a:gradFill>
          <a:ln>
            <a:solidFill>
              <a:srgbClr val="0052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5" name="Picture 3" descr="C:\Users\melihd\AppData\Local\Microsoft\Windows\Temporary Internet Files\Content.IE5\1XTPOYYE\plane-310501_640[1]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6521" y="3673941"/>
            <a:ext cx="443880" cy="2939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Rectangle 28"/>
          <p:cNvSpPr/>
          <p:nvPr/>
        </p:nvSpPr>
        <p:spPr>
          <a:xfrm>
            <a:off x="5428561" y="3002993"/>
            <a:ext cx="648071" cy="824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Rectangle 29"/>
          <p:cNvSpPr/>
          <p:nvPr/>
        </p:nvSpPr>
        <p:spPr>
          <a:xfrm>
            <a:off x="5428561" y="3085409"/>
            <a:ext cx="648071" cy="2615967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5400000" scaled="0"/>
          </a:gradFill>
          <a:ln>
            <a:solidFill>
              <a:srgbClr val="0052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1" name="Picture 3" descr="C:\Users\melihd\AppData\Local\Microsoft\Windows\Temporary Internet Files\Content.IE5\1XTPOYYE\plane-310501_640[1]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7097" y="3103793"/>
            <a:ext cx="443880" cy="2939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5500568" y="3546874"/>
            <a:ext cx="5760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1400" b="1" dirty="0" smtClean="0"/>
              <a:t>98%</a:t>
            </a:r>
            <a:endParaRPr lang="en-US" sz="1400" b="1" dirty="0"/>
          </a:p>
        </p:txBody>
      </p:sp>
      <p:sp>
        <p:nvSpPr>
          <p:cNvPr id="36" name="TextBox 35"/>
          <p:cNvSpPr txBox="1"/>
          <p:nvPr/>
        </p:nvSpPr>
        <p:spPr>
          <a:xfrm>
            <a:off x="4499992" y="4122938"/>
            <a:ext cx="5760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1400" b="1" dirty="0" smtClean="0"/>
              <a:t>73%</a:t>
            </a:r>
            <a:endParaRPr lang="en-US" sz="1400" b="1" dirty="0"/>
          </a:p>
        </p:txBody>
      </p:sp>
      <p:sp>
        <p:nvSpPr>
          <p:cNvPr id="37" name="TextBox 36"/>
          <p:cNvSpPr txBox="1"/>
          <p:nvPr/>
        </p:nvSpPr>
        <p:spPr>
          <a:xfrm>
            <a:off x="3342924" y="4771010"/>
            <a:ext cx="6530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400" b="1" dirty="0" smtClean="0"/>
              <a:t>&gt;50%</a:t>
            </a:r>
            <a:endParaRPr lang="en-US" sz="1400" b="1" dirty="0"/>
          </a:p>
        </p:txBody>
      </p:sp>
      <p:sp>
        <p:nvSpPr>
          <p:cNvPr id="16" name="TextBox 15"/>
          <p:cNvSpPr txBox="1"/>
          <p:nvPr/>
        </p:nvSpPr>
        <p:spPr>
          <a:xfrm>
            <a:off x="3442228" y="5703639"/>
            <a:ext cx="4680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2400" b="1" dirty="0" smtClean="0"/>
              <a:t>W</a:t>
            </a:r>
            <a:endParaRPr lang="en-US" sz="2400" b="1" dirty="0"/>
          </a:p>
        </p:txBody>
      </p:sp>
      <p:sp>
        <p:nvSpPr>
          <p:cNvPr id="39" name="TextBox 38"/>
          <p:cNvSpPr txBox="1"/>
          <p:nvPr/>
        </p:nvSpPr>
        <p:spPr>
          <a:xfrm>
            <a:off x="4427984" y="5703639"/>
            <a:ext cx="7200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2400" b="1" dirty="0" smtClean="0"/>
              <a:t>TR</a:t>
            </a:r>
            <a:endParaRPr lang="en-US" sz="2400" b="1" dirty="0"/>
          </a:p>
        </p:txBody>
      </p:sp>
      <p:sp>
        <p:nvSpPr>
          <p:cNvPr id="40" name="TextBox 39"/>
          <p:cNvSpPr txBox="1"/>
          <p:nvPr/>
        </p:nvSpPr>
        <p:spPr>
          <a:xfrm>
            <a:off x="5414912" y="5680505"/>
            <a:ext cx="10081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2400" b="1" dirty="0" smtClean="0"/>
              <a:t>AYT</a:t>
            </a:r>
            <a:endParaRPr lang="en-US" sz="2400" b="1" dirty="0"/>
          </a:p>
        </p:txBody>
      </p:sp>
      <p:cxnSp>
        <p:nvCxnSpPr>
          <p:cNvPr id="18" name="Straight Arrow Connector 17"/>
          <p:cNvCxnSpPr/>
          <p:nvPr/>
        </p:nvCxnSpPr>
        <p:spPr>
          <a:xfrm flipV="1">
            <a:off x="1943709" y="5694569"/>
            <a:ext cx="6408712" cy="453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41"/>
          <p:cNvCxnSpPr/>
          <p:nvPr/>
        </p:nvCxnSpPr>
        <p:spPr>
          <a:xfrm flipV="1">
            <a:off x="2843808" y="2176981"/>
            <a:ext cx="0" cy="373435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/>
        </p:nvSpPr>
        <p:spPr>
          <a:xfrm>
            <a:off x="1943709" y="2372861"/>
            <a:ext cx="720080" cy="89255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tr-TR" sz="1400" dirty="0" smtClean="0"/>
              <a:t> </a:t>
            </a:r>
            <a:r>
              <a:rPr lang="tr-TR" sz="1200" b="1" dirty="0" smtClean="0"/>
              <a:t>Marketshare %</a:t>
            </a:r>
            <a:endParaRPr lang="en-US" sz="1200" b="1" dirty="0"/>
          </a:p>
        </p:txBody>
      </p:sp>
      <p:pic>
        <p:nvPicPr>
          <p:cNvPr id="52" name="Picture 4" descr="C:\Users\melihd\AppData\Local\Microsoft\Windows\Temporary Internet Files\Content.IE5\J5OEOGRY\720px-Bus_aus_Zusatzzeichen_1024-14.svg[1]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9777" y="3266760"/>
            <a:ext cx="278956" cy="1394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9288" y="3031785"/>
            <a:ext cx="145966" cy="2198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4" name="Picture 6" descr="C:\Users\melihd\AppData\Local\Microsoft\Windows\Temporary Internet Files\Content.IE5\W22D9IYG\5697748009_28d268d571_z[1]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2956" y="3445646"/>
            <a:ext cx="291009" cy="136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6" descr="C:\Users\melihd\AppData\Local\Microsoft\Windows\Temporary Internet Files\Content.IE5\W22D9IYG\5697748009_28d268d571_z[1]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7542" y="3014423"/>
            <a:ext cx="129500" cy="607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" name="TextBox 55"/>
          <p:cNvSpPr txBox="1"/>
          <p:nvPr/>
        </p:nvSpPr>
        <p:spPr>
          <a:xfrm>
            <a:off x="4387041" y="2646792"/>
            <a:ext cx="7473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600" dirty="0" smtClean="0"/>
              <a:t>37 m</a:t>
            </a:r>
            <a:endParaRPr lang="en-US" dirty="0"/>
          </a:p>
        </p:txBody>
      </p:sp>
      <p:sp>
        <p:nvSpPr>
          <p:cNvPr id="57" name="TextBox 56"/>
          <p:cNvSpPr txBox="1"/>
          <p:nvPr/>
        </p:nvSpPr>
        <p:spPr>
          <a:xfrm>
            <a:off x="5414913" y="2636912"/>
            <a:ext cx="8330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600" dirty="0" smtClean="0"/>
              <a:t>12 m</a:t>
            </a:r>
            <a:r>
              <a:rPr lang="tr-TR" dirty="0" smtClean="0"/>
              <a:t> </a:t>
            </a:r>
            <a:endParaRPr lang="en-US" dirty="0"/>
          </a:p>
        </p:txBody>
      </p:sp>
      <p:sp>
        <p:nvSpPr>
          <p:cNvPr id="58" name="Title 2"/>
          <p:cNvSpPr>
            <a:spLocks noGrp="1"/>
          </p:cNvSpPr>
          <p:nvPr>
            <p:ph type="title"/>
          </p:nvPr>
        </p:nvSpPr>
        <p:spPr>
          <a:xfrm>
            <a:off x="5004048" y="28159"/>
            <a:ext cx="4114800" cy="848141"/>
          </a:xfrm>
        </p:spPr>
        <p:txBody>
          <a:bodyPr/>
          <a:lstStyle/>
          <a:p>
            <a:pPr algn="r"/>
            <a:r>
              <a:rPr lang="tr-TR" dirty="0" smtClean="0"/>
              <a:t>Air Transport Mode</a:t>
            </a:r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8175511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8" grpId="0" animBg="1"/>
      <p:bldP spid="13" grpId="0"/>
      <p:bldP spid="23" grpId="0" animBg="1"/>
      <p:bldP spid="24" grpId="0" animBg="1"/>
      <p:bldP spid="29" grpId="0" animBg="1"/>
      <p:bldP spid="30" grpId="0" animBg="1"/>
      <p:bldP spid="14" grpId="0"/>
      <p:bldP spid="36" grpId="0"/>
      <p:bldP spid="37" grpId="0"/>
      <p:bldP spid="16" grpId="0"/>
      <p:bldP spid="39" grpId="0"/>
      <p:bldP spid="40" grpId="0"/>
      <p:bldP spid="44" grpId="0"/>
      <p:bldP spid="56" grpId="0"/>
      <p:bldP spid="57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47798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288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91ECD-3C5D-4903-BA94-648BA1B5202F}" type="slidenum">
              <a:rPr lang="tr-TR" smtClean="0"/>
              <a:pPr/>
              <a:t>9</a:t>
            </a:fld>
            <a:endParaRPr lang="tr-TR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smtClean="0"/>
              <a:t>Passenger Growth in AYT</a:t>
            </a:r>
            <a:endParaRPr lang="tr-TR" dirty="0"/>
          </a:p>
        </p:txBody>
      </p:sp>
      <p:pic>
        <p:nvPicPr>
          <p:cNvPr id="9" name="Picture 1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4418" y="1989460"/>
            <a:ext cx="17145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0318" y="1989460"/>
            <a:ext cx="180975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tangle 14"/>
          <p:cNvSpPr/>
          <p:nvPr/>
        </p:nvSpPr>
        <p:spPr>
          <a:xfrm rot="16200000">
            <a:off x="-659533" y="3483298"/>
            <a:ext cx="2016125" cy="3238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tr-TR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mPPA</a:t>
            </a:r>
          </a:p>
        </p:txBody>
      </p:sp>
      <p:sp>
        <p:nvSpPr>
          <p:cNvPr id="17" name="Rectangle 16"/>
          <p:cNvSpPr/>
          <p:nvPr/>
        </p:nvSpPr>
        <p:spPr>
          <a:xfrm>
            <a:off x="6372200" y="2230887"/>
            <a:ext cx="2520950" cy="11525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tr-TR" sz="2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Double digit        annual </a:t>
            </a:r>
            <a:r>
              <a:rPr lang="tr-TR" sz="2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growth rate </a:t>
            </a:r>
            <a:r>
              <a:rPr lang="tr-TR" sz="20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1999-2014</a:t>
            </a:r>
            <a:endParaRPr lang="tr-TR" sz="20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9" name="Chart 18"/>
          <p:cNvGraphicFramePr/>
          <p:nvPr>
            <p:extLst>
              <p:ext uri="{D42A27DB-BD31-4B8C-83A1-F6EECF244321}">
                <p14:modId xmlns:p14="http://schemas.microsoft.com/office/powerpoint/2010/main" val="3027987779"/>
              </p:ext>
            </p:extLst>
          </p:nvPr>
        </p:nvGraphicFramePr>
        <p:xfrm>
          <a:off x="510133" y="1844824"/>
          <a:ext cx="5934075" cy="42767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cxnSp>
        <p:nvCxnSpPr>
          <p:cNvPr id="5" name="Straight Connector 4"/>
          <p:cNvCxnSpPr/>
          <p:nvPr/>
        </p:nvCxnSpPr>
        <p:spPr>
          <a:xfrm flipV="1">
            <a:off x="4020646" y="1844824"/>
            <a:ext cx="0" cy="427672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/>
          <p:cNvSpPr/>
          <p:nvPr/>
        </p:nvSpPr>
        <p:spPr>
          <a:xfrm>
            <a:off x="6552381" y="3435584"/>
            <a:ext cx="2160587" cy="14407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tr-TR" sz="1800" dirty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Int</a:t>
            </a:r>
            <a:r>
              <a:rPr lang="tr-TR" altLang="en-US" sz="1800" dirty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’</a:t>
            </a:r>
            <a:r>
              <a:rPr lang="tr-TR" sz="1800" dirty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l    </a:t>
            </a:r>
            <a:r>
              <a:rPr lang="tr-TR" sz="1800" dirty="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% 11,8</a:t>
            </a:r>
            <a:endParaRPr lang="tr-TR" sz="1800" dirty="0">
              <a:solidFill>
                <a:schemeClr val="tx1"/>
              </a:solidFill>
              <a:latin typeface="Arial" pitchFamily="34" charset="0"/>
              <a:ea typeface="ＭＳ Ｐゴシック" charset="-128"/>
              <a:cs typeface="Arial" pitchFamily="34" charset="0"/>
            </a:endParaRPr>
          </a:p>
          <a:p>
            <a:pPr algn="ctr">
              <a:defRPr/>
            </a:pPr>
            <a:endParaRPr lang="tr-TR" sz="100" dirty="0">
              <a:solidFill>
                <a:schemeClr val="tx1"/>
              </a:solidFill>
              <a:latin typeface="Arial" pitchFamily="34" charset="0"/>
              <a:ea typeface="ＭＳ Ｐゴシック" charset="-128"/>
              <a:cs typeface="Arial" pitchFamily="34" charset="0"/>
            </a:endParaRPr>
          </a:p>
          <a:p>
            <a:pPr algn="ctr">
              <a:defRPr/>
            </a:pPr>
            <a:r>
              <a:rPr lang="tr-TR" sz="1800" dirty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Dom  </a:t>
            </a:r>
            <a:r>
              <a:rPr lang="tr-TR" sz="1800" dirty="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% 15,4</a:t>
            </a:r>
            <a:endParaRPr lang="tr-TR" sz="1800" dirty="0">
              <a:solidFill>
                <a:schemeClr val="tx1"/>
              </a:solidFill>
              <a:latin typeface="Arial" pitchFamily="34" charset="0"/>
              <a:ea typeface="ＭＳ Ｐゴシック" charset="-128"/>
              <a:cs typeface="Arial" pitchFamily="34" charset="0"/>
            </a:endParaRPr>
          </a:p>
          <a:p>
            <a:pPr algn="ctr">
              <a:defRPr/>
            </a:pPr>
            <a:endParaRPr lang="tr-TR" sz="1000" dirty="0">
              <a:solidFill>
                <a:schemeClr val="tx1"/>
              </a:solidFill>
              <a:latin typeface="Arial" pitchFamily="34" charset="0"/>
              <a:ea typeface="ＭＳ Ｐゴシック" charset="-128"/>
              <a:cs typeface="Arial" pitchFamily="34" charset="0"/>
            </a:endParaRPr>
          </a:p>
          <a:p>
            <a:pPr algn="ctr">
              <a:defRPr/>
            </a:pPr>
            <a:r>
              <a:rPr lang="tr-TR" sz="1800" b="1" dirty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Total  </a:t>
            </a:r>
            <a:r>
              <a:rPr lang="tr-TR" sz="1800" b="1" dirty="0" smtClean="0">
                <a:solidFill>
                  <a:schemeClr val="tx1"/>
                </a:solidFill>
                <a:latin typeface="Arial" pitchFamily="34" charset="0"/>
                <a:ea typeface="ＭＳ Ｐゴシック" charset="-128"/>
                <a:cs typeface="Arial" pitchFamily="34" charset="0"/>
              </a:rPr>
              <a:t>% 12,4</a:t>
            </a:r>
            <a:endParaRPr lang="tr-TR" sz="1800" b="1" dirty="0">
              <a:solidFill>
                <a:schemeClr val="tx1"/>
              </a:solidFill>
              <a:latin typeface="Arial" pitchFamily="34" charset="0"/>
              <a:ea typeface="ＭＳ Ｐゴシック" charset="-128"/>
              <a:cs typeface="Arial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734418" y="2003108"/>
            <a:ext cx="396875" cy="381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3" name="Straight Connector 12"/>
          <p:cNvCxnSpPr/>
          <p:nvPr/>
        </p:nvCxnSpPr>
        <p:spPr>
          <a:xfrm flipV="1">
            <a:off x="683568" y="3397060"/>
            <a:ext cx="5688632" cy="5217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21341217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unum Formatı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unum Formatı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unum Formatı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unum Formatı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unum Formatı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unum Formatı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unum Formatı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unum Formatı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Sunum Formatı 2">
    <a:dk1>
      <a:srgbClr val="000000"/>
    </a:dk1>
    <a:lt1>
      <a:srgbClr val="FFFFFF"/>
    </a:lt1>
    <a:dk2>
      <a:srgbClr val="000000"/>
    </a:dk2>
    <a:lt2>
      <a:srgbClr val="808080"/>
    </a:lt2>
    <a:accent1>
      <a:srgbClr val="00CC99"/>
    </a:accent1>
    <a:accent2>
      <a:srgbClr val="3333CC"/>
    </a:accent2>
    <a:accent3>
      <a:srgbClr val="FFFFFF"/>
    </a:accent3>
    <a:accent4>
      <a:srgbClr val="000000"/>
    </a:accent4>
    <a:accent5>
      <a:srgbClr val="AAE2CA"/>
    </a:accent5>
    <a:accent6>
      <a:srgbClr val="2D2DB9"/>
    </a:accent6>
    <a:hlink>
      <a:srgbClr val="CCCCFF"/>
    </a:hlink>
    <a:folHlink>
      <a:srgbClr val="B2B2B2"/>
    </a:folHlink>
  </a:clrScheme>
  <a:fontScheme name="Sunum Formatı">
    <a:majorFont>
      <a:latin typeface="Times New Roman"/>
      <a:ea typeface=""/>
      <a:cs typeface=""/>
    </a:majorFont>
    <a:minorFont>
      <a:latin typeface="Times New Roman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1A717D3C2ABD24BB77AEAE402F3884E" ma:contentTypeVersion="0" ma:contentTypeDescription="Create a new document." ma:contentTypeScope="" ma:versionID="c80854913a2040e40291b3972f7c4513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3F7FECB-E1ED-478C-8465-4D4EB2EB2906}"/>
</file>

<file path=customXml/itemProps2.xml><?xml version="1.0" encoding="utf-8"?>
<ds:datastoreItem xmlns:ds="http://schemas.openxmlformats.org/officeDocument/2006/customXml" ds:itemID="{9AC4890C-2BE3-4D4E-95C4-B7A49307DDFD}"/>
</file>

<file path=customXml/itemProps3.xml><?xml version="1.0" encoding="utf-8"?>
<ds:datastoreItem xmlns:ds="http://schemas.openxmlformats.org/officeDocument/2006/customXml" ds:itemID="{18DF7B38-9247-4F42-8062-B7956736A33C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8800</TotalTime>
  <Words>1135</Words>
  <Application>Microsoft Office PowerPoint</Application>
  <PresentationFormat>On-screen Show (4:3)</PresentationFormat>
  <Paragraphs>341</Paragraphs>
  <Slides>26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4" baseType="lpstr">
      <vt:lpstr>Arial</vt:lpstr>
      <vt:lpstr>ＭＳ Ｐゴシック</vt:lpstr>
      <vt:lpstr>Calibri</vt:lpstr>
      <vt:lpstr>Arial Narrow</vt:lpstr>
      <vt:lpstr>Wingdings</vt:lpstr>
      <vt:lpstr>Times New Roman</vt:lpstr>
      <vt:lpstr>Sunum Formatı</vt:lpstr>
      <vt:lpstr>think-cell Slide</vt:lpstr>
      <vt:lpstr>PowerPoint Presentation</vt:lpstr>
      <vt:lpstr>PowerPoint Presentation</vt:lpstr>
      <vt:lpstr>Antalya Airport privatization</vt:lpstr>
      <vt:lpstr>ICF Airports shareholding </vt:lpstr>
      <vt:lpstr>Fraport</vt:lpstr>
      <vt:lpstr>IC İctaş</vt:lpstr>
      <vt:lpstr>PowerPoint Presentation</vt:lpstr>
      <vt:lpstr>Air Transport Mode</vt:lpstr>
      <vt:lpstr>Passenger Growth in AYT</vt:lpstr>
      <vt:lpstr>Antalya Airport  Range</vt:lpstr>
      <vt:lpstr>From Antalya Airport... </vt:lpstr>
      <vt:lpstr>Major Airports in Turkey</vt:lpstr>
      <vt:lpstr>Antalya Airport in Europe</vt:lpstr>
      <vt:lpstr>Antalya Airport in the World</vt:lpstr>
      <vt:lpstr>PowerPoint Presentation</vt:lpstr>
      <vt:lpstr>Route Development</vt:lpstr>
      <vt:lpstr>Route Development</vt:lpstr>
      <vt:lpstr>Promotion of Antalya Destination</vt:lpstr>
      <vt:lpstr>Promotion of Antalya Destination</vt:lpstr>
      <vt:lpstr>Promotion of Antalya Destination</vt:lpstr>
      <vt:lpstr>Bridging Aviation and Tourism Sectors</vt:lpstr>
      <vt:lpstr>Environment Friendly Airport</vt:lpstr>
      <vt:lpstr>Best Airport in Europe</vt:lpstr>
      <vt:lpstr>PowerPoint Presentation</vt:lpstr>
      <vt:lpstr>Conclus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irport.Yasar.Dongel</dc:title>
  <dc:creator>Yücel Ecer</dc:creator>
  <cp:lastModifiedBy>melihd</cp:lastModifiedBy>
  <cp:revision>1287</cp:revision>
  <cp:lastPrinted>2015-10-16T08:05:15Z</cp:lastPrinted>
  <dcterms:created xsi:type="dcterms:W3CDTF">2010-11-04T09:15:18Z</dcterms:created>
  <dcterms:modified xsi:type="dcterms:W3CDTF">2015-10-16T14:29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1A717D3C2ABD24BB77AEAE402F3884E</vt:lpwstr>
  </property>
</Properties>
</file>